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6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32" r:id="rId3"/>
  </p:sldMasterIdLst>
  <p:notesMasterIdLst>
    <p:notesMasterId r:id="rId19"/>
  </p:notesMasterIdLst>
  <p:sldIdLst>
    <p:sldId id="257" r:id="rId4"/>
    <p:sldId id="284" r:id="rId5"/>
    <p:sldId id="286" r:id="rId6"/>
    <p:sldId id="283" r:id="rId7"/>
    <p:sldId id="274" r:id="rId8"/>
    <p:sldId id="279" r:id="rId9"/>
    <p:sldId id="280" r:id="rId10"/>
    <p:sldId id="281" r:id="rId11"/>
    <p:sldId id="282" r:id="rId12"/>
    <p:sldId id="285" r:id="rId13"/>
    <p:sldId id="287" r:id="rId14"/>
    <p:sldId id="262" r:id="rId15"/>
    <p:sldId id="265" r:id="rId16"/>
    <p:sldId id="266" r:id="rId17"/>
    <p:sldId id="268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74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3F3F3"/>
    <a:srgbClr val="9D9DA4"/>
    <a:srgbClr val="1A1E2A"/>
    <a:srgbClr val="969696"/>
    <a:srgbClr val="DBDBDB"/>
    <a:srgbClr val="E81D30"/>
    <a:srgbClr val="A6A7AB"/>
    <a:srgbClr val="E5E1D5"/>
    <a:srgbClr val="7576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31" autoAdjust="0"/>
    <p:restoredTop sz="94660"/>
  </p:normalViewPr>
  <p:slideViewPr>
    <p:cSldViewPr snapToGrid="0">
      <p:cViewPr>
        <p:scale>
          <a:sx n="99" d="100"/>
          <a:sy n="99" d="100"/>
        </p:scale>
        <p:origin x="101" y="-518"/>
      </p:cViewPr>
      <p:guideLst>
        <p:guide pos="474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057803468208095E-2"/>
          <c:y val="3.0057803468208095E-2"/>
          <c:w val="0.93988439306358385"/>
          <c:h val="0.939884393063583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6B4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FA5-442B-8F2F-69803908F932}"/>
              </c:ext>
            </c:extLst>
          </c:dPt>
          <c:dPt>
            <c:idx val="1"/>
            <c:bubble3D val="0"/>
            <c:spPr>
              <a:solidFill>
                <a:srgbClr val="5F57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FA5-442B-8F2F-69803908F932}"/>
              </c:ext>
            </c:extLst>
          </c:dPt>
          <c:dLbls>
            <c:dLbl>
              <c:idx val="0"/>
              <c:layout>
                <c:manualLayout>
                  <c:x val="1.1560693641618498E-3"/>
                  <c:y val="-2.89017341040462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FA5-442B-8F2F-69803908F932}"/>
                </c:ext>
              </c:extLst>
            </c:dLbl>
            <c:dLbl>
              <c:idx val="1"/>
              <c:layout>
                <c:manualLayout>
                  <c:x val="-1.1560693641618498E-3"/>
                  <c:y val="-5.7803468208092489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FA5-442B-8F2F-69803908F9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A5-442B-8F2F-69803908F9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057803468208095E-2"/>
          <c:y val="3.0057803468208095E-2"/>
          <c:w val="0.93988439306358385"/>
          <c:h val="0.939884393063583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6B4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9CF-430F-BC41-CCE28E91AB6B}"/>
              </c:ext>
            </c:extLst>
          </c:dPt>
          <c:dPt>
            <c:idx val="1"/>
            <c:bubble3D val="0"/>
            <c:spPr>
              <a:solidFill>
                <a:srgbClr val="5F57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CF-430F-BC41-CCE28E91AB6B}"/>
              </c:ext>
            </c:extLst>
          </c:dPt>
          <c:dLbls>
            <c:dLbl>
              <c:idx val="0"/>
              <c:layout>
                <c:manualLayout>
                  <c:x val="1.1560693641618498E-3"/>
                  <c:y val="-2.89017341040462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59CF-430F-BC41-CCE28E91AB6B}"/>
                </c:ext>
              </c:extLst>
            </c:dLbl>
            <c:dLbl>
              <c:idx val="1"/>
              <c:layout>
                <c:manualLayout>
                  <c:x val="-1.1560693641618498E-3"/>
                  <c:y val="-5.7803468208092489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59CF-430F-BC41-CCE28E91AB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CF-430F-BC41-CCE28E91A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057803468208095E-2"/>
          <c:y val="3.0057803468208095E-2"/>
          <c:w val="0.93988439306358385"/>
          <c:h val="0.939884393063583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6B4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FA9-456B-BD3B-4CDB689F1F2D}"/>
              </c:ext>
            </c:extLst>
          </c:dPt>
          <c:dPt>
            <c:idx val="1"/>
            <c:bubble3D val="0"/>
            <c:spPr>
              <a:solidFill>
                <a:srgbClr val="5F57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FA9-456B-BD3B-4CDB689F1F2D}"/>
              </c:ext>
            </c:extLst>
          </c:dPt>
          <c:dLbls>
            <c:dLbl>
              <c:idx val="0"/>
              <c:layout>
                <c:manualLayout>
                  <c:x val="0"/>
                  <c:y val="-1.734104046242774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FA9-456B-BD3B-4CDB689F1F2D}"/>
                </c:ext>
              </c:extLst>
            </c:dLbl>
            <c:dLbl>
              <c:idx val="1"/>
              <c:layout>
                <c:manualLayout>
                  <c:x val="0"/>
                  <c:y val="-1.734104046242774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FA9-456B-BD3B-4CDB689F1F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A9-456B-BD3B-4CDB689F1F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057803468208095E-2"/>
          <c:y val="3.0057803468208095E-2"/>
          <c:w val="0.93988439306358385"/>
          <c:h val="0.939884393063583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6B4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8FB-43A3-BCED-4AC963E5222A}"/>
              </c:ext>
            </c:extLst>
          </c:dPt>
          <c:dPt>
            <c:idx val="1"/>
            <c:bubble3D val="0"/>
            <c:spPr>
              <a:solidFill>
                <a:srgbClr val="5F57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8FB-43A3-BCED-4AC963E5222A}"/>
              </c:ext>
            </c:extLst>
          </c:dPt>
          <c:dLbls>
            <c:dLbl>
              <c:idx val="0"/>
              <c:layout>
                <c:manualLayout>
                  <c:x val="0"/>
                  <c:y val="-1.734104046242774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8FB-43A3-BCED-4AC963E5222A}"/>
                </c:ext>
              </c:extLst>
            </c:dLbl>
            <c:dLbl>
              <c:idx val="1"/>
              <c:layout>
                <c:manualLayout>
                  <c:x val="0"/>
                  <c:y val="-1.734104046242774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8FB-43A3-BCED-4AC963E522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FB-43A3-BCED-4AC963E522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39077340569877E-2"/>
          <c:y val="2.3930050621260929E-2"/>
          <c:w val="0.96472184531886018"/>
          <c:h val="0.9521398987574781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81D30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7</c:v>
                </c:pt>
                <c:pt idx="1">
                  <c:v>15.5</c:v>
                </c:pt>
                <c:pt idx="2">
                  <c:v>11</c:v>
                </c:pt>
                <c:pt idx="3">
                  <c:v>14.5</c:v>
                </c:pt>
                <c:pt idx="4">
                  <c:v>12</c:v>
                </c:pt>
                <c:pt idx="5">
                  <c:v>14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B-43DA-A824-70D311ADD78E}"/>
            </c:ext>
          </c:extLst>
        </c:ser>
        <c:ser>
          <c:idx val="1"/>
          <c:order val="1"/>
          <c:spPr>
            <a:solidFill>
              <a:srgbClr val="F3F3F5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-2</c:v>
                </c:pt>
                <c:pt idx="1">
                  <c:v>3</c:v>
                </c:pt>
                <c:pt idx="2">
                  <c:v>5.5</c:v>
                </c:pt>
                <c:pt idx="3">
                  <c:v>4.5</c:v>
                </c:pt>
                <c:pt idx="4">
                  <c:v>5</c:v>
                </c:pt>
                <c:pt idx="5">
                  <c:v>5.7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B-43DA-A824-70D311ADD78E}"/>
            </c:ext>
          </c:extLst>
        </c:ser>
        <c:ser>
          <c:idx val="2"/>
          <c:order val="2"/>
          <c:spPr>
            <a:solidFill>
              <a:srgbClr val="75767A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21</c:v>
                </c:pt>
                <c:pt idx="1">
                  <c:v>17</c:v>
                </c:pt>
                <c:pt idx="2">
                  <c:v>13</c:v>
                </c:pt>
                <c:pt idx="3">
                  <c:v>8</c:v>
                </c:pt>
                <c:pt idx="4">
                  <c:v>5.3</c:v>
                </c:pt>
                <c:pt idx="5">
                  <c:v>8</c:v>
                </c:pt>
                <c:pt idx="6">
                  <c:v>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B-43DA-A824-70D311ADD78E}"/>
            </c:ext>
          </c:extLst>
        </c:ser>
        <c:ser>
          <c:idx val="3"/>
          <c:order val="3"/>
          <c:spPr>
            <a:solidFill>
              <a:srgbClr val="A6A7AB"/>
            </a:solidFill>
            <a:ln>
              <a:noFill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0">
                  <c:v>18.5</c:v>
                </c:pt>
                <c:pt idx="1">
                  <c:v>16.5</c:v>
                </c:pt>
                <c:pt idx="2">
                  <c:v>10</c:v>
                </c:pt>
                <c:pt idx="3">
                  <c:v>7.8</c:v>
                </c:pt>
                <c:pt idx="4">
                  <c:v>5.2</c:v>
                </c:pt>
                <c:pt idx="5">
                  <c:v>8.8000000000000007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B-43DA-A824-70D311ADD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08774624"/>
        <c:axId val="1"/>
      </c:barChart>
      <c:catAx>
        <c:axId val="1908774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908774624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640849897189859E-2"/>
          <c:y val="3.5640849897189859E-2"/>
          <c:w val="0.92871830020562041"/>
          <c:h val="0.9287183002056204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A1E2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A8B-4A19-A1C4-9A7DC16789B7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A8B-4A19-A1C4-9A7DC16789B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8B-4A19-A1C4-9A7DC16789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640849897189859E-2"/>
          <c:y val="3.5640849897189859E-2"/>
          <c:w val="0.92871830020562041"/>
          <c:h val="0.9287183002056204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E81D3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415-42F9-A36A-80BBB49FD50F}"/>
              </c:ext>
            </c:extLst>
          </c:dPt>
          <c:dPt>
            <c:idx val="1"/>
            <c:bubble3D val="0"/>
            <c:spPr>
              <a:solidFill>
                <a:srgbClr val="1A1E2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415-42F9-A36A-80BBB49FD50F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15-42F9-A36A-80BBB49FD5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66429468396818E-2"/>
          <c:y val="2.1766429468396818E-2"/>
          <c:w val="0.95646714106320641"/>
          <c:h val="0.9564671410632064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58585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1E2-41CA-965D-A01134963F1C}"/>
              </c:ext>
            </c:extLst>
          </c:dPt>
          <c:dPt>
            <c:idx val="1"/>
            <c:bubble3D val="0"/>
            <c:spPr>
              <a:solidFill>
                <a:srgbClr val="F3F3F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E2-41CA-965D-A01134963F1C}"/>
              </c:ext>
            </c:extLst>
          </c:dPt>
          <c:dPt>
            <c:idx val="2"/>
            <c:bubble3D val="0"/>
            <c:spPr>
              <a:solidFill>
                <a:srgbClr val="E2E3E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1E2-41CA-965D-A01134963F1C}"/>
              </c:ext>
            </c:extLst>
          </c:dPt>
          <c:dPt>
            <c:idx val="3"/>
            <c:bubble3D val="0"/>
            <c:spPr>
              <a:solidFill>
                <a:srgbClr val="A6A7A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1E2-41CA-965D-A01134963F1C}"/>
              </c:ext>
            </c:extLst>
          </c:dPt>
          <c:dPt>
            <c:idx val="4"/>
            <c:bubble3D val="0"/>
            <c:spPr>
              <a:solidFill>
                <a:srgbClr val="75767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1E2-41CA-965D-A01134963F1C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42</c:v>
                </c:pt>
                <c:pt idx="1">
                  <c:v>31</c:v>
                </c:pt>
                <c:pt idx="2">
                  <c:v>14.000000000000002</c:v>
                </c:pt>
                <c:pt idx="3">
                  <c:v>8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E2-41CA-965D-A01134963F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764272559852662E-3"/>
          <c:y val="2.7310924369747899E-2"/>
          <c:w val="0.9808471454880294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BDBDB"/>
            </a:solidFill>
            <a:ln>
              <a:noFill/>
            </a:ln>
          </c:spPr>
          <c:invertIfNegative val="0"/>
          <c:val>
            <c:numRef>
              <c:f>Sheet1!$A$1:$V$1</c:f>
              <c:numCache>
                <c:formatCode>General</c:formatCode>
                <c:ptCount val="22"/>
                <c:pt idx="0">
                  <c:v>2.2000000000000002</c:v>
                </c:pt>
                <c:pt idx="1">
                  <c:v>3.1</c:v>
                </c:pt>
                <c:pt idx="2">
                  <c:v>3.2</c:v>
                </c:pt>
                <c:pt idx="3">
                  <c:v>1.8</c:v>
                </c:pt>
                <c:pt idx="4">
                  <c:v>1.2</c:v>
                </c:pt>
                <c:pt idx="5">
                  <c:v>1.25</c:v>
                </c:pt>
                <c:pt idx="6">
                  <c:v>1.7</c:v>
                </c:pt>
                <c:pt idx="7">
                  <c:v>2.5</c:v>
                </c:pt>
                <c:pt idx="8">
                  <c:v>3</c:v>
                </c:pt>
                <c:pt idx="9">
                  <c:v>3.7</c:v>
                </c:pt>
                <c:pt idx="10">
                  <c:v>2.9</c:v>
                </c:pt>
                <c:pt idx="11">
                  <c:v>2.1</c:v>
                </c:pt>
                <c:pt idx="12">
                  <c:v>2.4</c:v>
                </c:pt>
                <c:pt idx="13">
                  <c:v>2.38</c:v>
                </c:pt>
                <c:pt idx="14">
                  <c:v>2.35</c:v>
                </c:pt>
                <c:pt idx="15">
                  <c:v>2.4</c:v>
                </c:pt>
                <c:pt idx="16">
                  <c:v>3</c:v>
                </c:pt>
                <c:pt idx="17">
                  <c:v>3.8</c:v>
                </c:pt>
                <c:pt idx="18">
                  <c:v>3.2</c:v>
                </c:pt>
                <c:pt idx="19">
                  <c:v>2.9</c:v>
                </c:pt>
                <c:pt idx="20">
                  <c:v>3.4</c:v>
                </c:pt>
                <c:pt idx="21">
                  <c:v>3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6A-4A2F-9C21-4B1F440F8F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15326560"/>
        <c:axId val="1"/>
      </c:barChart>
      <c:lineChart>
        <c:grouping val="standard"/>
        <c:varyColors val="0"/>
        <c:ser>
          <c:idx val="1"/>
          <c:order val="1"/>
          <c:spPr>
            <a:ln w="38100" algn="ctr">
              <a:solidFill>
                <a:srgbClr val="C4111A"/>
              </a:solidFill>
              <a:prstDash val="solid"/>
            </a:ln>
          </c:spPr>
          <c:marker>
            <c:symbol val="none"/>
          </c:marker>
          <c:val>
            <c:numRef>
              <c:f>Sheet1!$A$2:$V$2</c:f>
              <c:numCache>
                <c:formatCode>General</c:formatCode>
                <c:ptCount val="22"/>
                <c:pt idx="0">
                  <c:v>21000</c:v>
                </c:pt>
                <c:pt idx="1">
                  <c:v>25000</c:v>
                </c:pt>
                <c:pt idx="2">
                  <c:v>30000</c:v>
                </c:pt>
                <c:pt idx="3">
                  <c:v>23500</c:v>
                </c:pt>
                <c:pt idx="4">
                  <c:v>21000</c:v>
                </c:pt>
                <c:pt idx="5">
                  <c:v>20000</c:v>
                </c:pt>
                <c:pt idx="6">
                  <c:v>22000</c:v>
                </c:pt>
                <c:pt idx="7">
                  <c:v>32000</c:v>
                </c:pt>
                <c:pt idx="8">
                  <c:v>34000</c:v>
                </c:pt>
                <c:pt idx="9">
                  <c:v>38000</c:v>
                </c:pt>
                <c:pt idx="10">
                  <c:v>38500</c:v>
                </c:pt>
                <c:pt idx="11">
                  <c:v>34500</c:v>
                </c:pt>
                <c:pt idx="12">
                  <c:v>38500</c:v>
                </c:pt>
                <c:pt idx="13">
                  <c:v>40000</c:v>
                </c:pt>
                <c:pt idx="14">
                  <c:v>39000</c:v>
                </c:pt>
                <c:pt idx="15">
                  <c:v>34300</c:v>
                </c:pt>
                <c:pt idx="16">
                  <c:v>36000</c:v>
                </c:pt>
                <c:pt idx="17">
                  <c:v>35000</c:v>
                </c:pt>
                <c:pt idx="18">
                  <c:v>34700</c:v>
                </c:pt>
                <c:pt idx="19">
                  <c:v>36000</c:v>
                </c:pt>
                <c:pt idx="20">
                  <c:v>31000</c:v>
                </c:pt>
                <c:pt idx="21">
                  <c:v>30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6A-4A2F-9C21-4B1F440F8F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815326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8100" algn="ctr">
            <a:solidFill>
              <a:srgbClr val="A6A7AB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815326560"/>
        <c:crosses val="min"/>
        <c:crossBetween val="between"/>
        <c:majorUnit val="0.5"/>
      </c:valAx>
      <c:valAx>
        <c:axId val="2"/>
        <c:scaling>
          <c:orientation val="minMax"/>
          <c:max val="5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3"/>
        <c:crosses val="max"/>
        <c:crossBetween val="between"/>
        <c:majorUnit val="50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61654948620878E-2"/>
          <c:y val="2.4186046511627909E-2"/>
          <c:w val="0.97187669010275834"/>
          <c:h val="0.951627906976744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BDBDB"/>
            </a:solidFill>
            <a:ln>
              <a:noFill/>
            </a:ln>
          </c:spPr>
          <c:invertIfNegative val="0"/>
          <c:val>
            <c:numRef>
              <c:f>Sheet1!$A$1:$V$1</c:f>
              <c:numCache>
                <c:formatCode>General</c:formatCode>
                <c:ptCount val="22"/>
                <c:pt idx="0">
                  <c:v>2.2000000000000002</c:v>
                </c:pt>
                <c:pt idx="1">
                  <c:v>3.1</c:v>
                </c:pt>
                <c:pt idx="2">
                  <c:v>3.2</c:v>
                </c:pt>
                <c:pt idx="3">
                  <c:v>1.8</c:v>
                </c:pt>
                <c:pt idx="4">
                  <c:v>1.2</c:v>
                </c:pt>
                <c:pt idx="5">
                  <c:v>1.25</c:v>
                </c:pt>
                <c:pt idx="6">
                  <c:v>1.7</c:v>
                </c:pt>
                <c:pt idx="7">
                  <c:v>2.5</c:v>
                </c:pt>
                <c:pt idx="8">
                  <c:v>3</c:v>
                </c:pt>
                <c:pt idx="9">
                  <c:v>3.7</c:v>
                </c:pt>
                <c:pt idx="10">
                  <c:v>2.9</c:v>
                </c:pt>
                <c:pt idx="11">
                  <c:v>2.1</c:v>
                </c:pt>
                <c:pt idx="12">
                  <c:v>2.4</c:v>
                </c:pt>
                <c:pt idx="13">
                  <c:v>2.38</c:v>
                </c:pt>
                <c:pt idx="14">
                  <c:v>2.35</c:v>
                </c:pt>
                <c:pt idx="15">
                  <c:v>2.4</c:v>
                </c:pt>
                <c:pt idx="16">
                  <c:v>3</c:v>
                </c:pt>
                <c:pt idx="17">
                  <c:v>3.8</c:v>
                </c:pt>
                <c:pt idx="18">
                  <c:v>3.2</c:v>
                </c:pt>
                <c:pt idx="19">
                  <c:v>2.9</c:v>
                </c:pt>
                <c:pt idx="20">
                  <c:v>3.4</c:v>
                </c:pt>
                <c:pt idx="21">
                  <c:v>3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F0-411A-BC89-D3B2602F17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353552"/>
        <c:axId val="1"/>
      </c:barChart>
      <c:lineChart>
        <c:grouping val="standard"/>
        <c:varyColors val="0"/>
        <c:ser>
          <c:idx val="1"/>
          <c:order val="1"/>
          <c:spPr>
            <a:ln w="38100" algn="ctr">
              <a:solidFill>
                <a:srgbClr val="C4111A"/>
              </a:solidFill>
              <a:prstDash val="solid"/>
            </a:ln>
          </c:spPr>
          <c:marker>
            <c:symbol val="none"/>
          </c:marker>
          <c:val>
            <c:numRef>
              <c:f>Sheet1!$A$2:$V$2</c:f>
              <c:numCache>
                <c:formatCode>General</c:formatCode>
                <c:ptCount val="22"/>
                <c:pt idx="0">
                  <c:v>21000</c:v>
                </c:pt>
                <c:pt idx="1">
                  <c:v>25000</c:v>
                </c:pt>
                <c:pt idx="2">
                  <c:v>30000</c:v>
                </c:pt>
                <c:pt idx="3">
                  <c:v>23500</c:v>
                </c:pt>
                <c:pt idx="4">
                  <c:v>21000</c:v>
                </c:pt>
                <c:pt idx="5">
                  <c:v>20000</c:v>
                </c:pt>
                <c:pt idx="6">
                  <c:v>22000</c:v>
                </c:pt>
                <c:pt idx="7">
                  <c:v>32000</c:v>
                </c:pt>
                <c:pt idx="8">
                  <c:v>34000</c:v>
                </c:pt>
                <c:pt idx="9">
                  <c:v>38000</c:v>
                </c:pt>
                <c:pt idx="10">
                  <c:v>38500</c:v>
                </c:pt>
                <c:pt idx="11">
                  <c:v>34500</c:v>
                </c:pt>
                <c:pt idx="12">
                  <c:v>38500</c:v>
                </c:pt>
                <c:pt idx="13">
                  <c:v>40000</c:v>
                </c:pt>
                <c:pt idx="14">
                  <c:v>39000</c:v>
                </c:pt>
                <c:pt idx="15">
                  <c:v>34300</c:v>
                </c:pt>
                <c:pt idx="16">
                  <c:v>36000</c:v>
                </c:pt>
                <c:pt idx="17">
                  <c:v>35000</c:v>
                </c:pt>
                <c:pt idx="18">
                  <c:v>34700</c:v>
                </c:pt>
                <c:pt idx="19">
                  <c:v>36000</c:v>
                </c:pt>
                <c:pt idx="20">
                  <c:v>31000</c:v>
                </c:pt>
                <c:pt idx="21">
                  <c:v>30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F0-411A-BC89-D3B2602F17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63353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8100" algn="ctr">
            <a:solidFill>
              <a:srgbClr val="A6A7AB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3353552"/>
        <c:crosses val="min"/>
        <c:crossBetween val="between"/>
        <c:majorUnit val="0.5"/>
      </c:valAx>
      <c:valAx>
        <c:axId val="2"/>
        <c:scaling>
          <c:orientation val="minMax"/>
          <c:max val="5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3"/>
        <c:crosses val="max"/>
        <c:crossBetween val="between"/>
        <c:majorUnit val="50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091319618665326E-2"/>
          <c:y val="2.1241830065359478E-2"/>
          <c:w val="0.94781736076266931"/>
          <c:h val="0.957516339869281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BDBDB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00.9</c:v>
                </c:pt>
                <c:pt idx="1">
                  <c:v>79</c:v>
                </c:pt>
                <c:pt idx="2">
                  <c:v>51.8</c:v>
                </c:pt>
                <c:pt idx="3">
                  <c:v>64.8</c:v>
                </c:pt>
                <c:pt idx="4">
                  <c:v>55.3</c:v>
                </c:pt>
                <c:pt idx="5">
                  <c:v>51.7</c:v>
                </c:pt>
                <c:pt idx="6">
                  <c:v>6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E-4DDA-9A28-93033E6E6FAB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14.400000000000006</c:v>
                </c:pt>
                <c:pt idx="3">
                  <c:v>11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EE-4DDA-9A28-93033E6E6F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15564128"/>
        <c:axId val="1"/>
      </c:barChart>
      <c:lineChart>
        <c:grouping val="standard"/>
        <c:varyColors val="0"/>
        <c:ser>
          <c:idx val="2"/>
          <c:order val="2"/>
          <c:spPr>
            <a:ln w="38100" algn="ctr">
              <a:solidFill>
                <a:srgbClr val="E81D30"/>
              </a:solidFill>
              <a:prstDash val="solid"/>
            </a:ln>
          </c:spPr>
          <c:marker>
            <c:symbol val="none"/>
          </c:marker>
          <c:val>
            <c:numRef>
              <c:f>Sheet1!$A$3:$G$3</c:f>
              <c:numCache>
                <c:formatCode>General</c:formatCode>
                <c:ptCount val="7"/>
                <c:pt idx="0">
                  <c:v>333</c:v>
                </c:pt>
                <c:pt idx="1">
                  <c:v>621</c:v>
                </c:pt>
                <c:pt idx="2">
                  <c:v>470</c:v>
                </c:pt>
                <c:pt idx="3">
                  <c:v>482</c:v>
                </c:pt>
                <c:pt idx="4">
                  <c:v>552</c:v>
                </c:pt>
                <c:pt idx="5">
                  <c:v>652</c:v>
                </c:pt>
                <c:pt idx="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EE-4DDA-9A28-93033E6E6F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015564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8100" algn="ctr">
            <a:solidFill>
              <a:srgbClr val="A6A7AB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015564128"/>
        <c:crosses val="min"/>
        <c:crossBetween val="between"/>
        <c:majorUnit val="10"/>
      </c:valAx>
      <c:valAx>
        <c:axId val="2"/>
        <c:scaling>
          <c:orientation val="minMax"/>
          <c:max val="8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1A1E2A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3"/>
        <c:crosses val="max"/>
        <c:crossBetween val="between"/>
        <c:majorUnit val="1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14CCDB-ED39-4A02-90A3-B1C66F8CFEB1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386451-04E8-48EE-A864-B7E34E82CE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8730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7089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99977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-1150051" y="-533400"/>
            <a:ext cx="8872353" cy="7569200"/>
          </a:xfrm>
          <a:custGeom>
            <a:avLst/>
            <a:gdLst>
              <a:gd name="connsiteX0" fmla="*/ 7871349 w 8872353"/>
              <a:gd name="connsiteY0" fmla="*/ 3847293 h 7569200"/>
              <a:gd name="connsiteX1" fmla="*/ 7871349 w 8872353"/>
              <a:gd name="connsiteY1" fmla="*/ 3849566 h 7569200"/>
              <a:gd name="connsiteX2" fmla="*/ 7870478 w 8872353"/>
              <a:gd name="connsiteY2" fmla="*/ 3847968 h 7569200"/>
              <a:gd name="connsiteX3" fmla="*/ 5063358 w 8872353"/>
              <a:gd name="connsiteY3" fmla="*/ 3280595 h 7569200"/>
              <a:gd name="connsiteX4" fmla="*/ 5023651 w 8872353"/>
              <a:gd name="connsiteY4" fmla="*/ 3295561 h 7569200"/>
              <a:gd name="connsiteX5" fmla="*/ 4972569 w 8872353"/>
              <a:gd name="connsiteY5" fmla="*/ 3317750 h 7569200"/>
              <a:gd name="connsiteX6" fmla="*/ 4972345 w 8872353"/>
              <a:gd name="connsiteY6" fmla="*/ 3319922 h 7569200"/>
              <a:gd name="connsiteX7" fmla="*/ 5044688 w 8872353"/>
              <a:gd name="connsiteY7" fmla="*/ 3386412 h 7569200"/>
              <a:gd name="connsiteX8" fmla="*/ 5075321 w 8872353"/>
              <a:gd name="connsiteY8" fmla="*/ 3417013 h 7569200"/>
              <a:gd name="connsiteX9" fmla="*/ 5079988 w 8872353"/>
              <a:gd name="connsiteY9" fmla="*/ 3415500 h 7569200"/>
              <a:gd name="connsiteX10" fmla="*/ 5073342 w 8872353"/>
              <a:gd name="connsiteY10" fmla="*/ 3377224 h 7569200"/>
              <a:gd name="connsiteX11" fmla="*/ 5067668 w 8872353"/>
              <a:gd name="connsiteY11" fmla="*/ 3338865 h 7569200"/>
              <a:gd name="connsiteX12" fmla="*/ 8309499 w 8872353"/>
              <a:gd name="connsiteY12" fmla="*/ 951693 h 7569200"/>
              <a:gd name="connsiteX13" fmla="*/ 8309499 w 8872353"/>
              <a:gd name="connsiteY13" fmla="*/ 953966 h 7569200"/>
              <a:gd name="connsiteX14" fmla="*/ 8308628 w 8872353"/>
              <a:gd name="connsiteY14" fmla="*/ 952368 h 7569200"/>
              <a:gd name="connsiteX15" fmla="*/ 5004998 w 8872353"/>
              <a:gd name="connsiteY15" fmla="*/ 0 h 7569200"/>
              <a:gd name="connsiteX16" fmla="*/ 5077624 w 8872353"/>
              <a:gd name="connsiteY16" fmla="*/ 54556 h 7569200"/>
              <a:gd name="connsiteX17" fmla="*/ 4962633 w 8872353"/>
              <a:gd name="connsiteY17" fmla="*/ 200038 h 7569200"/>
              <a:gd name="connsiteX18" fmla="*/ 5428652 w 8872353"/>
              <a:gd name="connsiteY18" fmla="*/ 248531 h 7569200"/>
              <a:gd name="connsiteX19" fmla="*/ 5410495 w 8872353"/>
              <a:gd name="connsiteY19" fmla="*/ 424322 h 7569200"/>
              <a:gd name="connsiteX20" fmla="*/ 5519435 w 8872353"/>
              <a:gd name="connsiteY20" fmla="*/ 527371 h 7569200"/>
              <a:gd name="connsiteX21" fmla="*/ 5501278 w 8872353"/>
              <a:gd name="connsiteY21" fmla="*/ 381890 h 7569200"/>
              <a:gd name="connsiteX22" fmla="*/ 5519435 w 8872353"/>
              <a:gd name="connsiteY22" fmla="*/ 375828 h 7569200"/>
              <a:gd name="connsiteX23" fmla="*/ 5604166 w 8872353"/>
              <a:gd name="connsiteY23" fmla="*/ 606174 h 7569200"/>
              <a:gd name="connsiteX24" fmla="*/ 5676792 w 8872353"/>
              <a:gd name="connsiteY24" fmla="*/ 503124 h 7569200"/>
              <a:gd name="connsiteX25" fmla="*/ 5761523 w 8872353"/>
              <a:gd name="connsiteY25" fmla="*/ 691038 h 7569200"/>
              <a:gd name="connsiteX26" fmla="*/ 5906776 w 8872353"/>
              <a:gd name="connsiteY26" fmla="*/ 824396 h 7569200"/>
              <a:gd name="connsiteX27" fmla="*/ 5815993 w 8872353"/>
              <a:gd name="connsiteY27" fmla="*/ 806211 h 7569200"/>
              <a:gd name="connsiteX28" fmla="*/ 5840202 w 8872353"/>
              <a:gd name="connsiteY28" fmla="*/ 842582 h 7569200"/>
              <a:gd name="connsiteX29" fmla="*/ 5949141 w 8872353"/>
              <a:gd name="connsiteY29" fmla="*/ 848643 h 7569200"/>
              <a:gd name="connsiteX30" fmla="*/ 6905389 w 8872353"/>
              <a:gd name="connsiteY30" fmla="*/ 545557 h 7569200"/>
              <a:gd name="connsiteX31" fmla="*/ 7201946 w 8872353"/>
              <a:gd name="connsiteY31" fmla="*/ 491001 h 7569200"/>
              <a:gd name="connsiteX32" fmla="*/ 7462191 w 8872353"/>
              <a:gd name="connsiteY32" fmla="*/ 394013 h 7569200"/>
              <a:gd name="connsiteX33" fmla="*/ 7625600 w 8872353"/>
              <a:gd name="connsiteY33" fmla="*/ 394013 h 7569200"/>
              <a:gd name="connsiteX34" fmla="*/ 8261081 w 8872353"/>
              <a:gd name="connsiteY34" fmla="*/ 139420 h 7569200"/>
              <a:gd name="connsiteX35" fmla="*/ 8497117 w 8872353"/>
              <a:gd name="connsiteY35" fmla="*/ 96988 h 7569200"/>
              <a:gd name="connsiteX36" fmla="*/ 8097672 w 8872353"/>
              <a:gd name="connsiteY36" fmla="*/ 339457 h 7569200"/>
              <a:gd name="connsiteX37" fmla="*/ 7916106 w 8872353"/>
              <a:gd name="connsiteY37" fmla="*/ 509186 h 7569200"/>
              <a:gd name="connsiteX38" fmla="*/ 7879793 w 8872353"/>
              <a:gd name="connsiteY38" fmla="*/ 533433 h 7569200"/>
              <a:gd name="connsiteX39" fmla="*/ 7431930 w 8872353"/>
              <a:gd name="connsiteY39" fmla="*/ 788026 h 7569200"/>
              <a:gd name="connsiteX40" fmla="*/ 8115828 w 8872353"/>
              <a:gd name="connsiteY40" fmla="*/ 581927 h 7569200"/>
              <a:gd name="connsiteX41" fmla="*/ 7976628 w 8872353"/>
              <a:gd name="connsiteY41" fmla="*/ 684977 h 7569200"/>
              <a:gd name="connsiteX42" fmla="*/ 7982680 w 8872353"/>
              <a:gd name="connsiteY42" fmla="*/ 703162 h 7569200"/>
              <a:gd name="connsiteX43" fmla="*/ 8121881 w 8872353"/>
              <a:gd name="connsiteY43" fmla="*/ 684977 h 7569200"/>
              <a:gd name="connsiteX44" fmla="*/ 8127933 w 8872353"/>
              <a:gd name="connsiteY44" fmla="*/ 703162 h 7569200"/>
              <a:gd name="connsiteX45" fmla="*/ 7813218 w 8872353"/>
              <a:gd name="connsiteY45" fmla="*/ 885014 h 7569200"/>
              <a:gd name="connsiteX46" fmla="*/ 7946367 w 8872353"/>
              <a:gd name="connsiteY46" fmla="*/ 915323 h 7569200"/>
              <a:gd name="connsiteX47" fmla="*/ 8133985 w 8872353"/>
              <a:gd name="connsiteY47" fmla="*/ 775903 h 7569200"/>
              <a:gd name="connsiteX48" fmla="*/ 8303447 w 8872353"/>
              <a:gd name="connsiteY48" fmla="*/ 733470 h 7569200"/>
              <a:gd name="connsiteX49" fmla="*/ 8636317 w 8872353"/>
              <a:gd name="connsiteY49" fmla="*/ 557680 h 7569200"/>
              <a:gd name="connsiteX50" fmla="*/ 8587899 w 8872353"/>
              <a:gd name="connsiteY50" fmla="*/ 666791 h 7569200"/>
              <a:gd name="connsiteX51" fmla="*/ 8866301 w 8872353"/>
              <a:gd name="connsiteY51" fmla="*/ 539495 h 7569200"/>
              <a:gd name="connsiteX52" fmla="*/ 8872353 w 8872353"/>
              <a:gd name="connsiteY52" fmla="*/ 551618 h 7569200"/>
              <a:gd name="connsiteX53" fmla="*/ 8309499 w 8872353"/>
              <a:gd name="connsiteY53" fmla="*/ 951693 h 7569200"/>
              <a:gd name="connsiteX54" fmla="*/ 8307797 w 8872353"/>
              <a:gd name="connsiteY54" fmla="*/ 950841 h 7569200"/>
              <a:gd name="connsiteX55" fmla="*/ 8308628 w 8872353"/>
              <a:gd name="connsiteY55" fmla="*/ 952368 h 7569200"/>
              <a:gd name="connsiteX56" fmla="*/ 8068924 w 8872353"/>
              <a:gd name="connsiteY56" fmla="*/ 1138091 h 7569200"/>
              <a:gd name="connsiteX57" fmla="*/ 7837427 w 8872353"/>
              <a:gd name="connsiteY57" fmla="*/ 1333583 h 7569200"/>
              <a:gd name="connsiteX58" fmla="*/ 7341147 w 8872353"/>
              <a:gd name="connsiteY58" fmla="*/ 1763966 h 7569200"/>
              <a:gd name="connsiteX59" fmla="*/ 6778292 w 8872353"/>
              <a:gd name="connsiteY59" fmla="*/ 2261029 h 7569200"/>
              <a:gd name="connsiteX60" fmla="*/ 6766188 w 8872353"/>
              <a:gd name="connsiteY60" fmla="*/ 2303461 h 7569200"/>
              <a:gd name="connsiteX61" fmla="*/ 6808553 w 8872353"/>
              <a:gd name="connsiteY61" fmla="*/ 2297399 h 7569200"/>
              <a:gd name="connsiteX62" fmla="*/ 7111163 w 8872353"/>
              <a:gd name="connsiteY62" fmla="*/ 2242843 h 7569200"/>
              <a:gd name="connsiteX63" fmla="*/ 7195894 w 8872353"/>
              <a:gd name="connsiteY63" fmla="*/ 2182226 h 7569200"/>
              <a:gd name="connsiteX64" fmla="*/ 7232207 w 8872353"/>
              <a:gd name="connsiteY64" fmla="*/ 2273152 h 7569200"/>
              <a:gd name="connsiteX65" fmla="*/ 6984067 w 8872353"/>
              <a:gd name="connsiteY65" fmla="*/ 2382263 h 7569200"/>
              <a:gd name="connsiteX66" fmla="*/ 6735927 w 8872353"/>
              <a:gd name="connsiteY66" fmla="*/ 2539868 h 7569200"/>
              <a:gd name="connsiteX67" fmla="*/ 6717770 w 8872353"/>
              <a:gd name="connsiteY67" fmla="*/ 2594424 h 7569200"/>
              <a:gd name="connsiteX68" fmla="*/ 6602779 w 8872353"/>
              <a:gd name="connsiteY68" fmla="*/ 2697474 h 7569200"/>
              <a:gd name="connsiteX69" fmla="*/ 6318325 w 8872353"/>
              <a:gd name="connsiteY69" fmla="*/ 2739906 h 7569200"/>
              <a:gd name="connsiteX70" fmla="*/ 6033872 w 8872353"/>
              <a:gd name="connsiteY70" fmla="*/ 2933881 h 7569200"/>
              <a:gd name="connsiteX71" fmla="*/ 6106498 w 8872353"/>
              <a:gd name="connsiteY71" fmla="*/ 2849017 h 7569200"/>
              <a:gd name="connsiteX72" fmla="*/ 5912828 w 8872353"/>
              <a:gd name="connsiteY72" fmla="*/ 2903573 h 7569200"/>
              <a:gd name="connsiteX73" fmla="*/ 5967298 w 8872353"/>
              <a:gd name="connsiteY73" fmla="*/ 2976313 h 7569200"/>
              <a:gd name="connsiteX74" fmla="*/ 5209260 w 8872353"/>
              <a:gd name="connsiteY74" fmla="*/ 3225603 h 7569200"/>
              <a:gd name="connsiteX75" fmla="*/ 5082040 w 8872353"/>
              <a:gd name="connsiteY75" fmla="*/ 3273554 h 7569200"/>
              <a:gd name="connsiteX76" fmla="*/ 5121381 w 8872353"/>
              <a:gd name="connsiteY76" fmla="*/ 3384328 h 7569200"/>
              <a:gd name="connsiteX77" fmla="*/ 5127389 w 8872353"/>
              <a:gd name="connsiteY77" fmla="*/ 3400136 h 7569200"/>
              <a:gd name="connsiteX78" fmla="*/ 5158573 w 8872353"/>
              <a:gd name="connsiteY78" fmla="*/ 3390028 h 7569200"/>
              <a:gd name="connsiteX79" fmla="*/ 5822045 w 8872353"/>
              <a:gd name="connsiteY79" fmla="*/ 3170289 h 7569200"/>
              <a:gd name="connsiteX80" fmla="*/ 5719158 w 8872353"/>
              <a:gd name="connsiteY80" fmla="*/ 3139980 h 7569200"/>
              <a:gd name="connsiteX81" fmla="*/ 5876515 w 8872353"/>
              <a:gd name="connsiteY81" fmla="*/ 3109672 h 7569200"/>
              <a:gd name="connsiteX82" fmla="*/ 6027820 w 8872353"/>
              <a:gd name="connsiteY82" fmla="*/ 3067240 h 7569200"/>
              <a:gd name="connsiteX83" fmla="*/ 6518048 w 8872353"/>
              <a:gd name="connsiteY83" fmla="*/ 2861140 h 7569200"/>
              <a:gd name="connsiteX84" fmla="*/ 6251751 w 8872353"/>
              <a:gd name="connsiteY84" fmla="*/ 3158166 h 7569200"/>
              <a:gd name="connsiteX85" fmla="*/ 5755471 w 8872353"/>
              <a:gd name="connsiteY85" fmla="*/ 3364265 h 7569200"/>
              <a:gd name="connsiteX86" fmla="*/ 5471018 w 8872353"/>
              <a:gd name="connsiteY86" fmla="*/ 3457464 h 7569200"/>
              <a:gd name="connsiteX87" fmla="*/ 5243878 w 8872353"/>
              <a:gd name="connsiteY87" fmla="*/ 3528255 h 7569200"/>
              <a:gd name="connsiteX88" fmla="*/ 5274388 w 8872353"/>
              <a:gd name="connsiteY88" fmla="*/ 3558982 h 7569200"/>
              <a:gd name="connsiteX89" fmla="*/ 5320819 w 8872353"/>
              <a:gd name="connsiteY89" fmla="*/ 3585196 h 7569200"/>
              <a:gd name="connsiteX90" fmla="*/ 5546670 w 8872353"/>
              <a:gd name="connsiteY90" fmla="*/ 3500654 h 7569200"/>
              <a:gd name="connsiteX91" fmla="*/ 5846254 w 8872353"/>
              <a:gd name="connsiteY91" fmla="*/ 3388512 h 7569200"/>
              <a:gd name="connsiteX92" fmla="*/ 5955193 w 8872353"/>
              <a:gd name="connsiteY92" fmla="*/ 3376388 h 7569200"/>
              <a:gd name="connsiteX93" fmla="*/ 6179125 w 8872353"/>
              <a:gd name="connsiteY93" fmla="*/ 3249092 h 7569200"/>
              <a:gd name="connsiteX94" fmla="*/ 6209386 w 8872353"/>
              <a:gd name="connsiteY94" fmla="*/ 3358203 h 7569200"/>
              <a:gd name="connsiteX95" fmla="*/ 6493839 w 8872353"/>
              <a:gd name="connsiteY95" fmla="*/ 3164227 h 7569200"/>
              <a:gd name="connsiteX96" fmla="*/ 6723823 w 8872353"/>
              <a:gd name="connsiteY96" fmla="*/ 3085425 h 7569200"/>
              <a:gd name="connsiteX97" fmla="*/ 6766188 w 8872353"/>
              <a:gd name="connsiteY97" fmla="*/ 3061178 h 7569200"/>
              <a:gd name="connsiteX98" fmla="*/ 6705666 w 8872353"/>
              <a:gd name="connsiteY98" fmla="*/ 3018746 h 7569200"/>
              <a:gd name="connsiteX99" fmla="*/ 7032485 w 8872353"/>
              <a:gd name="connsiteY99" fmla="*/ 2818708 h 7569200"/>
              <a:gd name="connsiteX100" fmla="*/ 7068798 w 8872353"/>
              <a:gd name="connsiteY100" fmla="*/ 2897511 h 7569200"/>
              <a:gd name="connsiteX101" fmla="*/ 7141424 w 8872353"/>
              <a:gd name="connsiteY101" fmla="*/ 2745967 h 7569200"/>
              <a:gd name="connsiteX102" fmla="*/ 7189842 w 8872353"/>
              <a:gd name="connsiteY102" fmla="*/ 2758091 h 7569200"/>
              <a:gd name="connsiteX103" fmla="*/ 7165633 w 8872353"/>
              <a:gd name="connsiteY103" fmla="*/ 2970252 h 7569200"/>
              <a:gd name="connsiteX104" fmla="*/ 7086955 w 8872353"/>
              <a:gd name="connsiteY104" fmla="*/ 2921758 h 7569200"/>
              <a:gd name="connsiteX105" fmla="*/ 7093007 w 8872353"/>
              <a:gd name="connsiteY105" fmla="*/ 3012684 h 7569200"/>
              <a:gd name="connsiteX106" fmla="*/ 6838814 w 8872353"/>
              <a:gd name="connsiteY106" fmla="*/ 3121795 h 7569200"/>
              <a:gd name="connsiteX107" fmla="*/ 6893284 w 8872353"/>
              <a:gd name="connsiteY107" fmla="*/ 3139980 h 7569200"/>
              <a:gd name="connsiteX108" fmla="*/ 6711718 w 8872353"/>
              <a:gd name="connsiteY108" fmla="*/ 3303647 h 7569200"/>
              <a:gd name="connsiteX109" fmla="*/ 6651196 w 8872353"/>
              <a:gd name="connsiteY109" fmla="*/ 3285462 h 7569200"/>
              <a:gd name="connsiteX110" fmla="*/ 6521831 w 8872353"/>
              <a:gd name="connsiteY110" fmla="*/ 3386996 h 7569200"/>
              <a:gd name="connsiteX111" fmla="*/ 6435291 w 8872353"/>
              <a:gd name="connsiteY111" fmla="*/ 3451084 h 7569200"/>
              <a:gd name="connsiteX112" fmla="*/ 6467239 w 8872353"/>
              <a:gd name="connsiteY112" fmla="*/ 3441157 h 7569200"/>
              <a:gd name="connsiteX113" fmla="*/ 6763796 w 8872353"/>
              <a:gd name="connsiteY113" fmla="*/ 3386601 h 7569200"/>
              <a:gd name="connsiteX114" fmla="*/ 7024041 w 8872353"/>
              <a:gd name="connsiteY114" fmla="*/ 3289613 h 7569200"/>
              <a:gd name="connsiteX115" fmla="*/ 7187450 w 8872353"/>
              <a:gd name="connsiteY115" fmla="*/ 3289613 h 7569200"/>
              <a:gd name="connsiteX116" fmla="*/ 7822931 w 8872353"/>
              <a:gd name="connsiteY116" fmla="*/ 3035020 h 7569200"/>
              <a:gd name="connsiteX117" fmla="*/ 8058967 w 8872353"/>
              <a:gd name="connsiteY117" fmla="*/ 2992588 h 7569200"/>
              <a:gd name="connsiteX118" fmla="*/ 7659522 w 8872353"/>
              <a:gd name="connsiteY118" fmla="*/ 3235057 h 7569200"/>
              <a:gd name="connsiteX119" fmla="*/ 7477956 w 8872353"/>
              <a:gd name="connsiteY119" fmla="*/ 3404786 h 7569200"/>
              <a:gd name="connsiteX120" fmla="*/ 7441643 w 8872353"/>
              <a:gd name="connsiteY120" fmla="*/ 3429033 h 7569200"/>
              <a:gd name="connsiteX121" fmla="*/ 6993780 w 8872353"/>
              <a:gd name="connsiteY121" fmla="*/ 3683626 h 7569200"/>
              <a:gd name="connsiteX122" fmla="*/ 7677678 w 8872353"/>
              <a:gd name="connsiteY122" fmla="*/ 3477527 h 7569200"/>
              <a:gd name="connsiteX123" fmla="*/ 7538478 w 8872353"/>
              <a:gd name="connsiteY123" fmla="*/ 3580577 h 7569200"/>
              <a:gd name="connsiteX124" fmla="*/ 7544530 w 8872353"/>
              <a:gd name="connsiteY124" fmla="*/ 3598762 h 7569200"/>
              <a:gd name="connsiteX125" fmla="*/ 7683731 w 8872353"/>
              <a:gd name="connsiteY125" fmla="*/ 3580577 h 7569200"/>
              <a:gd name="connsiteX126" fmla="*/ 7689783 w 8872353"/>
              <a:gd name="connsiteY126" fmla="*/ 3598762 h 7569200"/>
              <a:gd name="connsiteX127" fmla="*/ 7375068 w 8872353"/>
              <a:gd name="connsiteY127" fmla="*/ 3780614 h 7569200"/>
              <a:gd name="connsiteX128" fmla="*/ 7508217 w 8872353"/>
              <a:gd name="connsiteY128" fmla="*/ 3810923 h 7569200"/>
              <a:gd name="connsiteX129" fmla="*/ 7695835 w 8872353"/>
              <a:gd name="connsiteY129" fmla="*/ 3671503 h 7569200"/>
              <a:gd name="connsiteX130" fmla="*/ 7865297 w 8872353"/>
              <a:gd name="connsiteY130" fmla="*/ 3629070 h 7569200"/>
              <a:gd name="connsiteX131" fmla="*/ 8198167 w 8872353"/>
              <a:gd name="connsiteY131" fmla="*/ 3453280 h 7569200"/>
              <a:gd name="connsiteX132" fmla="*/ 8149749 w 8872353"/>
              <a:gd name="connsiteY132" fmla="*/ 3562391 h 7569200"/>
              <a:gd name="connsiteX133" fmla="*/ 8428151 w 8872353"/>
              <a:gd name="connsiteY133" fmla="*/ 3435095 h 7569200"/>
              <a:gd name="connsiteX134" fmla="*/ 8434203 w 8872353"/>
              <a:gd name="connsiteY134" fmla="*/ 3447218 h 7569200"/>
              <a:gd name="connsiteX135" fmla="*/ 7871349 w 8872353"/>
              <a:gd name="connsiteY135" fmla="*/ 3847293 h 7569200"/>
              <a:gd name="connsiteX136" fmla="*/ 7869647 w 8872353"/>
              <a:gd name="connsiteY136" fmla="*/ 3846441 h 7569200"/>
              <a:gd name="connsiteX137" fmla="*/ 7870478 w 8872353"/>
              <a:gd name="connsiteY137" fmla="*/ 3847968 h 7569200"/>
              <a:gd name="connsiteX138" fmla="*/ 7630774 w 8872353"/>
              <a:gd name="connsiteY138" fmla="*/ 4033691 h 7569200"/>
              <a:gd name="connsiteX139" fmla="*/ 7399277 w 8872353"/>
              <a:gd name="connsiteY139" fmla="*/ 4229183 h 7569200"/>
              <a:gd name="connsiteX140" fmla="*/ 6902997 w 8872353"/>
              <a:gd name="connsiteY140" fmla="*/ 4659566 h 7569200"/>
              <a:gd name="connsiteX141" fmla="*/ 6340142 w 8872353"/>
              <a:gd name="connsiteY141" fmla="*/ 5156629 h 7569200"/>
              <a:gd name="connsiteX142" fmla="*/ 6328038 w 8872353"/>
              <a:gd name="connsiteY142" fmla="*/ 5199061 h 7569200"/>
              <a:gd name="connsiteX143" fmla="*/ 6370403 w 8872353"/>
              <a:gd name="connsiteY143" fmla="*/ 5192999 h 7569200"/>
              <a:gd name="connsiteX144" fmla="*/ 6673013 w 8872353"/>
              <a:gd name="connsiteY144" fmla="*/ 5138443 h 7569200"/>
              <a:gd name="connsiteX145" fmla="*/ 6757744 w 8872353"/>
              <a:gd name="connsiteY145" fmla="*/ 5077826 h 7569200"/>
              <a:gd name="connsiteX146" fmla="*/ 6794057 w 8872353"/>
              <a:gd name="connsiteY146" fmla="*/ 5168752 h 7569200"/>
              <a:gd name="connsiteX147" fmla="*/ 6545917 w 8872353"/>
              <a:gd name="connsiteY147" fmla="*/ 5277863 h 7569200"/>
              <a:gd name="connsiteX148" fmla="*/ 6297777 w 8872353"/>
              <a:gd name="connsiteY148" fmla="*/ 5435468 h 7569200"/>
              <a:gd name="connsiteX149" fmla="*/ 6279620 w 8872353"/>
              <a:gd name="connsiteY149" fmla="*/ 5490024 h 7569200"/>
              <a:gd name="connsiteX150" fmla="*/ 6164629 w 8872353"/>
              <a:gd name="connsiteY150" fmla="*/ 5593074 h 7569200"/>
              <a:gd name="connsiteX151" fmla="*/ 5880175 w 8872353"/>
              <a:gd name="connsiteY151" fmla="*/ 5635506 h 7569200"/>
              <a:gd name="connsiteX152" fmla="*/ 5595722 w 8872353"/>
              <a:gd name="connsiteY152" fmla="*/ 5829481 h 7569200"/>
              <a:gd name="connsiteX153" fmla="*/ 5668348 w 8872353"/>
              <a:gd name="connsiteY153" fmla="*/ 5744617 h 7569200"/>
              <a:gd name="connsiteX154" fmla="*/ 5474678 w 8872353"/>
              <a:gd name="connsiteY154" fmla="*/ 5799173 h 7569200"/>
              <a:gd name="connsiteX155" fmla="*/ 5529148 w 8872353"/>
              <a:gd name="connsiteY155" fmla="*/ 5871913 h 7569200"/>
              <a:gd name="connsiteX156" fmla="*/ 4058463 w 8872353"/>
              <a:gd name="connsiteY156" fmla="*/ 6465964 h 7569200"/>
              <a:gd name="connsiteX157" fmla="*/ 4070568 w 8872353"/>
              <a:gd name="connsiteY157" fmla="*/ 6496272 h 7569200"/>
              <a:gd name="connsiteX158" fmla="*/ 5383895 w 8872353"/>
              <a:gd name="connsiteY158" fmla="*/ 6065889 h 7569200"/>
              <a:gd name="connsiteX159" fmla="*/ 5281008 w 8872353"/>
              <a:gd name="connsiteY159" fmla="*/ 6035580 h 7569200"/>
              <a:gd name="connsiteX160" fmla="*/ 5438365 w 8872353"/>
              <a:gd name="connsiteY160" fmla="*/ 6005272 h 7569200"/>
              <a:gd name="connsiteX161" fmla="*/ 5589670 w 8872353"/>
              <a:gd name="connsiteY161" fmla="*/ 5962840 h 7569200"/>
              <a:gd name="connsiteX162" fmla="*/ 6079898 w 8872353"/>
              <a:gd name="connsiteY162" fmla="*/ 5756740 h 7569200"/>
              <a:gd name="connsiteX163" fmla="*/ 5813601 w 8872353"/>
              <a:gd name="connsiteY163" fmla="*/ 6053766 h 7569200"/>
              <a:gd name="connsiteX164" fmla="*/ 5317321 w 8872353"/>
              <a:gd name="connsiteY164" fmla="*/ 6259865 h 7569200"/>
              <a:gd name="connsiteX165" fmla="*/ 4748414 w 8872353"/>
              <a:gd name="connsiteY165" fmla="*/ 6441717 h 7569200"/>
              <a:gd name="connsiteX166" fmla="*/ 4585005 w 8872353"/>
              <a:gd name="connsiteY166" fmla="*/ 6544766 h 7569200"/>
              <a:gd name="connsiteX167" fmla="*/ 4687892 w 8872353"/>
              <a:gd name="connsiteY167" fmla="*/ 6569013 h 7569200"/>
              <a:gd name="connsiteX168" fmla="*/ 4687892 w 8872353"/>
              <a:gd name="connsiteY168" fmla="*/ 6666001 h 7569200"/>
              <a:gd name="connsiteX169" fmla="*/ 4742362 w 8872353"/>
              <a:gd name="connsiteY169" fmla="*/ 6599322 h 7569200"/>
              <a:gd name="connsiteX170" fmla="*/ 4808936 w 8872353"/>
              <a:gd name="connsiteY170" fmla="*/ 6508396 h 7569200"/>
              <a:gd name="connsiteX171" fmla="*/ 5408104 w 8872353"/>
              <a:gd name="connsiteY171" fmla="*/ 6284112 h 7569200"/>
              <a:gd name="connsiteX172" fmla="*/ 5517043 w 8872353"/>
              <a:gd name="connsiteY172" fmla="*/ 6271988 h 7569200"/>
              <a:gd name="connsiteX173" fmla="*/ 5740975 w 8872353"/>
              <a:gd name="connsiteY173" fmla="*/ 6144692 h 7569200"/>
              <a:gd name="connsiteX174" fmla="*/ 5771236 w 8872353"/>
              <a:gd name="connsiteY174" fmla="*/ 6253803 h 7569200"/>
              <a:gd name="connsiteX175" fmla="*/ 6055689 w 8872353"/>
              <a:gd name="connsiteY175" fmla="*/ 6059827 h 7569200"/>
              <a:gd name="connsiteX176" fmla="*/ 6285673 w 8872353"/>
              <a:gd name="connsiteY176" fmla="*/ 5981025 h 7569200"/>
              <a:gd name="connsiteX177" fmla="*/ 6328038 w 8872353"/>
              <a:gd name="connsiteY177" fmla="*/ 5956778 h 7569200"/>
              <a:gd name="connsiteX178" fmla="*/ 6267516 w 8872353"/>
              <a:gd name="connsiteY178" fmla="*/ 5914346 h 7569200"/>
              <a:gd name="connsiteX179" fmla="*/ 6594335 w 8872353"/>
              <a:gd name="connsiteY179" fmla="*/ 5714308 h 7569200"/>
              <a:gd name="connsiteX180" fmla="*/ 6630648 w 8872353"/>
              <a:gd name="connsiteY180" fmla="*/ 5793111 h 7569200"/>
              <a:gd name="connsiteX181" fmla="*/ 6703274 w 8872353"/>
              <a:gd name="connsiteY181" fmla="*/ 5641567 h 7569200"/>
              <a:gd name="connsiteX182" fmla="*/ 6751692 w 8872353"/>
              <a:gd name="connsiteY182" fmla="*/ 5653691 h 7569200"/>
              <a:gd name="connsiteX183" fmla="*/ 6727483 w 8872353"/>
              <a:gd name="connsiteY183" fmla="*/ 5865852 h 7569200"/>
              <a:gd name="connsiteX184" fmla="*/ 6648805 w 8872353"/>
              <a:gd name="connsiteY184" fmla="*/ 5817358 h 7569200"/>
              <a:gd name="connsiteX185" fmla="*/ 6654857 w 8872353"/>
              <a:gd name="connsiteY185" fmla="*/ 5908284 h 7569200"/>
              <a:gd name="connsiteX186" fmla="*/ 6400664 w 8872353"/>
              <a:gd name="connsiteY186" fmla="*/ 6017395 h 7569200"/>
              <a:gd name="connsiteX187" fmla="*/ 6455134 w 8872353"/>
              <a:gd name="connsiteY187" fmla="*/ 6035580 h 7569200"/>
              <a:gd name="connsiteX188" fmla="*/ 6273568 w 8872353"/>
              <a:gd name="connsiteY188" fmla="*/ 6199247 h 7569200"/>
              <a:gd name="connsiteX189" fmla="*/ 6213046 w 8872353"/>
              <a:gd name="connsiteY189" fmla="*/ 6181062 h 7569200"/>
              <a:gd name="connsiteX190" fmla="*/ 5958854 w 8872353"/>
              <a:gd name="connsiteY190" fmla="*/ 6375038 h 7569200"/>
              <a:gd name="connsiteX191" fmla="*/ 5862019 w 8872353"/>
              <a:gd name="connsiteY191" fmla="*/ 6417470 h 7569200"/>
              <a:gd name="connsiteX192" fmla="*/ 5801497 w 8872353"/>
              <a:gd name="connsiteY192" fmla="*/ 6490211 h 7569200"/>
              <a:gd name="connsiteX193" fmla="*/ 5523096 w 8872353"/>
              <a:gd name="connsiteY193" fmla="*/ 6587199 h 7569200"/>
              <a:gd name="connsiteX194" fmla="*/ 5498887 w 8872353"/>
              <a:gd name="connsiteY194" fmla="*/ 6593260 h 7569200"/>
              <a:gd name="connsiteX195" fmla="*/ 5353634 w 8872353"/>
              <a:gd name="connsiteY195" fmla="*/ 6714495 h 7569200"/>
              <a:gd name="connsiteX196" fmla="*/ 5383895 w 8872353"/>
              <a:gd name="connsiteY196" fmla="*/ 6769051 h 7569200"/>
              <a:gd name="connsiteX197" fmla="*/ 5202329 w 8872353"/>
              <a:gd name="connsiteY197" fmla="*/ 6805421 h 7569200"/>
              <a:gd name="connsiteX198" fmla="*/ 5159964 w 8872353"/>
              <a:gd name="connsiteY198" fmla="*/ 6884224 h 7569200"/>
              <a:gd name="connsiteX199" fmla="*/ 4645527 w 8872353"/>
              <a:gd name="connsiteY199" fmla="*/ 7072138 h 7569200"/>
              <a:gd name="connsiteX200" fmla="*/ 4415543 w 8872353"/>
              <a:gd name="connsiteY200" fmla="*/ 7169126 h 7569200"/>
              <a:gd name="connsiteX201" fmla="*/ 3876898 w 8872353"/>
              <a:gd name="connsiteY201" fmla="*/ 7332792 h 7569200"/>
              <a:gd name="connsiteX202" fmla="*/ 3162738 w 8872353"/>
              <a:gd name="connsiteY202" fmla="*/ 7496459 h 7569200"/>
              <a:gd name="connsiteX203" fmla="*/ 3053798 w 8872353"/>
              <a:gd name="connsiteY203" fmla="*/ 7502521 h 7569200"/>
              <a:gd name="connsiteX204" fmla="*/ 2823815 w 8872353"/>
              <a:gd name="connsiteY204" fmla="*/ 7490398 h 7569200"/>
              <a:gd name="connsiteX205" fmla="*/ 2605936 w 8872353"/>
              <a:gd name="connsiteY205" fmla="*/ 7496459 h 7569200"/>
              <a:gd name="connsiteX206" fmla="*/ 2339639 w 8872353"/>
              <a:gd name="connsiteY206" fmla="*/ 7551015 h 7569200"/>
              <a:gd name="connsiteX207" fmla="*/ 2273065 w 8872353"/>
              <a:gd name="connsiteY207" fmla="*/ 7508583 h 7569200"/>
              <a:gd name="connsiteX208" fmla="*/ 2152021 w 8872353"/>
              <a:gd name="connsiteY208" fmla="*/ 7569200 h 7569200"/>
              <a:gd name="connsiteX209" fmla="*/ 2176229 w 8872353"/>
              <a:gd name="connsiteY209" fmla="*/ 7435842 h 7569200"/>
              <a:gd name="connsiteX210" fmla="*/ 2127812 w 8872353"/>
              <a:gd name="connsiteY210" fmla="*/ 7393410 h 7569200"/>
              <a:gd name="connsiteX211" fmla="*/ 2158073 w 8872353"/>
              <a:gd name="connsiteY211" fmla="*/ 7369163 h 7569200"/>
              <a:gd name="connsiteX212" fmla="*/ 2363848 w 8872353"/>
              <a:gd name="connsiteY212" fmla="*/ 7278237 h 7569200"/>
              <a:gd name="connsiteX213" fmla="*/ 2406213 w 8872353"/>
              <a:gd name="connsiteY213" fmla="*/ 7266113 h 7569200"/>
              <a:gd name="connsiteX214" fmla="*/ 2884337 w 8872353"/>
              <a:gd name="connsiteY214" fmla="*/ 7217619 h 7569200"/>
              <a:gd name="connsiteX215" fmla="*/ 2878285 w 8872353"/>
              <a:gd name="connsiteY215" fmla="*/ 7187311 h 7569200"/>
              <a:gd name="connsiteX216" fmla="*/ 2593831 w 8872353"/>
              <a:gd name="connsiteY216" fmla="*/ 7247928 h 7569200"/>
              <a:gd name="connsiteX217" fmla="*/ 2775397 w 8872353"/>
              <a:gd name="connsiteY217" fmla="*/ 7096385 h 7569200"/>
              <a:gd name="connsiteX218" fmla="*/ 2545414 w 8872353"/>
              <a:gd name="connsiteY218" fmla="*/ 7181249 h 7569200"/>
              <a:gd name="connsiteX219" fmla="*/ 2254908 w 8872353"/>
              <a:gd name="connsiteY219" fmla="*/ 7199434 h 7569200"/>
              <a:gd name="connsiteX220" fmla="*/ 1994664 w 8872353"/>
              <a:gd name="connsiteY220" fmla="*/ 7272175 h 7569200"/>
              <a:gd name="connsiteX221" fmla="*/ 1976507 w 8872353"/>
              <a:gd name="connsiteY221" fmla="*/ 7193372 h 7569200"/>
              <a:gd name="connsiteX222" fmla="*/ 1649688 w 8872353"/>
              <a:gd name="connsiteY222" fmla="*/ 7247928 h 7569200"/>
              <a:gd name="connsiteX223" fmla="*/ 1643636 w 8872353"/>
              <a:gd name="connsiteY223" fmla="*/ 7223681 h 7569200"/>
              <a:gd name="connsiteX224" fmla="*/ 1692054 w 8872353"/>
              <a:gd name="connsiteY224" fmla="*/ 7205496 h 7569200"/>
              <a:gd name="connsiteX225" fmla="*/ 1643636 w 8872353"/>
              <a:gd name="connsiteY225" fmla="*/ 7169126 h 7569200"/>
              <a:gd name="connsiteX226" fmla="*/ 1649688 w 8872353"/>
              <a:gd name="connsiteY226" fmla="*/ 7138817 h 7569200"/>
              <a:gd name="connsiteX227" fmla="*/ 1843359 w 8872353"/>
              <a:gd name="connsiteY227" fmla="*/ 7126693 h 7569200"/>
              <a:gd name="connsiteX228" fmla="*/ 1831254 w 8872353"/>
              <a:gd name="connsiteY228" fmla="*/ 7163064 h 7569200"/>
              <a:gd name="connsiteX229" fmla="*/ 1879672 w 8872353"/>
              <a:gd name="connsiteY229" fmla="*/ 7163064 h 7569200"/>
              <a:gd name="connsiteX230" fmla="*/ 2133864 w 8872353"/>
              <a:gd name="connsiteY230" fmla="*/ 7041829 h 7569200"/>
              <a:gd name="connsiteX231" fmla="*/ 2158073 w 8872353"/>
              <a:gd name="connsiteY231" fmla="*/ 6987273 h 7569200"/>
              <a:gd name="connsiteX232" fmla="*/ 2254908 w 8872353"/>
              <a:gd name="connsiteY232" fmla="*/ 7047891 h 7569200"/>
              <a:gd name="connsiteX233" fmla="*/ 2351743 w 8872353"/>
              <a:gd name="connsiteY233" fmla="*/ 6969088 h 7569200"/>
              <a:gd name="connsiteX234" fmla="*/ 2333587 w 8872353"/>
              <a:gd name="connsiteY234" fmla="*/ 6878162 h 7569200"/>
              <a:gd name="connsiteX235" fmla="*/ 2200438 w 8872353"/>
              <a:gd name="connsiteY235" fmla="*/ 6853915 h 7569200"/>
              <a:gd name="connsiteX236" fmla="*/ 1849411 w 8872353"/>
              <a:gd name="connsiteY236" fmla="*/ 6926656 h 7569200"/>
              <a:gd name="connsiteX237" fmla="*/ 1770732 w 8872353"/>
              <a:gd name="connsiteY237" fmla="*/ 6914532 h 7569200"/>
              <a:gd name="connsiteX238" fmla="*/ 1474174 w 8872353"/>
              <a:gd name="connsiteY238" fmla="*/ 6920594 h 7569200"/>
              <a:gd name="connsiteX239" fmla="*/ 1165512 w 8872353"/>
              <a:gd name="connsiteY239" fmla="*/ 7066076 h 7569200"/>
              <a:gd name="connsiteX240" fmla="*/ 1153408 w 8872353"/>
              <a:gd name="connsiteY240" fmla="*/ 7041829 h 7569200"/>
              <a:gd name="connsiteX241" fmla="*/ 1492331 w 8872353"/>
              <a:gd name="connsiteY241" fmla="*/ 6817545 h 7569200"/>
              <a:gd name="connsiteX242" fmla="*/ 1510488 w 8872353"/>
              <a:gd name="connsiteY242" fmla="*/ 6847853 h 7569200"/>
              <a:gd name="connsiteX243" fmla="*/ 1522592 w 8872353"/>
              <a:gd name="connsiteY243" fmla="*/ 6775112 h 7569200"/>
              <a:gd name="connsiteX244" fmla="*/ 1135251 w 8872353"/>
              <a:gd name="connsiteY244" fmla="*/ 6756927 h 7569200"/>
              <a:gd name="connsiteX245" fmla="*/ 977894 w 8872353"/>
              <a:gd name="connsiteY245" fmla="*/ 6684186 h 7569200"/>
              <a:gd name="connsiteX246" fmla="*/ 747911 w 8872353"/>
              <a:gd name="connsiteY246" fmla="*/ 6550828 h 7569200"/>
              <a:gd name="connsiteX247" fmla="*/ 620814 w 8872353"/>
              <a:gd name="connsiteY247" fmla="*/ 6508396 h 7569200"/>
              <a:gd name="connsiteX248" fmla="*/ 457405 w 8872353"/>
              <a:gd name="connsiteY248" fmla="*/ 6338667 h 7569200"/>
              <a:gd name="connsiteX249" fmla="*/ 366622 w 8872353"/>
              <a:gd name="connsiteY249" fmla="*/ 6217433 h 7569200"/>
              <a:gd name="connsiteX250" fmla="*/ 27699 w 8872353"/>
              <a:gd name="connsiteY250" fmla="*/ 6259865 h 7569200"/>
              <a:gd name="connsiteX251" fmla="*/ 64012 w 8872353"/>
              <a:gd name="connsiteY251" fmla="*/ 6144692 h 7569200"/>
              <a:gd name="connsiteX252" fmla="*/ 669232 w 8872353"/>
              <a:gd name="connsiteY252" fmla="*/ 5774926 h 7569200"/>
              <a:gd name="connsiteX253" fmla="*/ 1528644 w 8872353"/>
              <a:gd name="connsiteY253" fmla="*/ 5089950 h 7569200"/>
              <a:gd name="connsiteX254" fmla="*/ 2032266 w 8872353"/>
              <a:gd name="connsiteY254" fmla="*/ 4424520 h 7569200"/>
              <a:gd name="connsiteX255" fmla="*/ 2087482 w 8872353"/>
              <a:gd name="connsiteY255" fmla="*/ 4346613 h 7569200"/>
              <a:gd name="connsiteX256" fmla="*/ 2087082 w 8872353"/>
              <a:gd name="connsiteY256" fmla="*/ 4340205 h 7569200"/>
              <a:gd name="connsiteX257" fmla="*/ 2081786 w 8872353"/>
              <a:gd name="connsiteY257" fmla="*/ 4328081 h 7569200"/>
              <a:gd name="connsiteX258" fmla="*/ 2105995 w 8872353"/>
              <a:gd name="connsiteY258" fmla="*/ 4318989 h 7569200"/>
              <a:gd name="connsiteX259" fmla="*/ 2107447 w 8872353"/>
              <a:gd name="connsiteY259" fmla="*/ 4318444 h 7569200"/>
              <a:gd name="connsiteX260" fmla="*/ 2119307 w 8872353"/>
              <a:gd name="connsiteY260" fmla="*/ 4301710 h 7569200"/>
              <a:gd name="connsiteX261" fmla="*/ 2105995 w 8872353"/>
              <a:gd name="connsiteY261" fmla="*/ 4291711 h 7569200"/>
              <a:gd name="connsiteX262" fmla="*/ 2081786 w 8872353"/>
              <a:gd name="connsiteY262" fmla="*/ 4273526 h 7569200"/>
              <a:gd name="connsiteX263" fmla="*/ 2087838 w 8872353"/>
              <a:gd name="connsiteY263" fmla="*/ 4243217 h 7569200"/>
              <a:gd name="connsiteX264" fmla="*/ 2168881 w 8872353"/>
              <a:gd name="connsiteY264" fmla="*/ 4240119 h 7569200"/>
              <a:gd name="connsiteX265" fmla="*/ 2235700 w 8872353"/>
              <a:gd name="connsiteY265" fmla="*/ 4160337 h 7569200"/>
              <a:gd name="connsiteX266" fmla="*/ 2351743 w 8872353"/>
              <a:gd name="connsiteY266" fmla="*/ 4053392 h 7569200"/>
              <a:gd name="connsiteX267" fmla="*/ 2429170 w 8872353"/>
              <a:gd name="connsiteY267" fmla="*/ 4002086 h 7569200"/>
              <a:gd name="connsiteX268" fmla="*/ 2287561 w 8872353"/>
              <a:gd name="connsiteY268" fmla="*/ 4031056 h 7569200"/>
              <a:gd name="connsiteX269" fmla="*/ 2208882 w 8872353"/>
              <a:gd name="connsiteY269" fmla="*/ 4018932 h 7569200"/>
              <a:gd name="connsiteX270" fmla="*/ 1912324 w 8872353"/>
              <a:gd name="connsiteY270" fmla="*/ 4024994 h 7569200"/>
              <a:gd name="connsiteX271" fmla="*/ 1603662 w 8872353"/>
              <a:gd name="connsiteY271" fmla="*/ 4170476 h 7569200"/>
              <a:gd name="connsiteX272" fmla="*/ 1591558 w 8872353"/>
              <a:gd name="connsiteY272" fmla="*/ 4146229 h 7569200"/>
              <a:gd name="connsiteX273" fmla="*/ 1930481 w 8872353"/>
              <a:gd name="connsiteY273" fmla="*/ 3921945 h 7569200"/>
              <a:gd name="connsiteX274" fmla="*/ 1948638 w 8872353"/>
              <a:gd name="connsiteY274" fmla="*/ 3952253 h 7569200"/>
              <a:gd name="connsiteX275" fmla="*/ 1960742 w 8872353"/>
              <a:gd name="connsiteY275" fmla="*/ 3879512 h 7569200"/>
              <a:gd name="connsiteX276" fmla="*/ 1573401 w 8872353"/>
              <a:gd name="connsiteY276" fmla="*/ 3861327 h 7569200"/>
              <a:gd name="connsiteX277" fmla="*/ 1416044 w 8872353"/>
              <a:gd name="connsiteY277" fmla="*/ 3788586 h 7569200"/>
              <a:gd name="connsiteX278" fmla="*/ 1186061 w 8872353"/>
              <a:gd name="connsiteY278" fmla="*/ 3655228 h 7569200"/>
              <a:gd name="connsiteX279" fmla="*/ 1058964 w 8872353"/>
              <a:gd name="connsiteY279" fmla="*/ 3612796 h 7569200"/>
              <a:gd name="connsiteX280" fmla="*/ 895555 w 8872353"/>
              <a:gd name="connsiteY280" fmla="*/ 3443067 h 7569200"/>
              <a:gd name="connsiteX281" fmla="*/ 804772 w 8872353"/>
              <a:gd name="connsiteY281" fmla="*/ 3321833 h 7569200"/>
              <a:gd name="connsiteX282" fmla="*/ 465849 w 8872353"/>
              <a:gd name="connsiteY282" fmla="*/ 3364265 h 7569200"/>
              <a:gd name="connsiteX283" fmla="*/ 502162 w 8872353"/>
              <a:gd name="connsiteY283" fmla="*/ 3249092 h 7569200"/>
              <a:gd name="connsiteX284" fmla="*/ 1107382 w 8872353"/>
              <a:gd name="connsiteY284" fmla="*/ 2879326 h 7569200"/>
              <a:gd name="connsiteX285" fmla="*/ 1966794 w 8872353"/>
              <a:gd name="connsiteY285" fmla="*/ 2194350 h 7569200"/>
              <a:gd name="connsiteX286" fmla="*/ 2789893 w 8872353"/>
              <a:gd name="connsiteY286" fmla="*/ 1157792 h 7569200"/>
              <a:gd name="connsiteX287" fmla="*/ 4060855 w 8872353"/>
              <a:gd name="connsiteY287" fmla="*/ 563742 h 7569200"/>
              <a:gd name="connsiteX288" fmla="*/ 4660023 w 8872353"/>
              <a:gd name="connsiteY288" fmla="*/ 78803 h 7569200"/>
              <a:gd name="connsiteX289" fmla="*/ 4787119 w 8872353"/>
              <a:gd name="connsiteY289" fmla="*/ 66679 h 7569200"/>
              <a:gd name="connsiteX290" fmla="*/ 5004998 w 8872353"/>
              <a:gd name="connsiteY290" fmla="*/ 0 h 756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</a:cxnLst>
            <a:rect l="l" t="t" r="r" b="b"/>
            <a:pathLst>
              <a:path w="8872353" h="7569200">
                <a:moveTo>
                  <a:pt x="7871349" y="3847293"/>
                </a:moveTo>
                <a:cubicBezTo>
                  <a:pt x="7874375" y="3853355"/>
                  <a:pt x="7872862" y="3851839"/>
                  <a:pt x="7871349" y="3849566"/>
                </a:cubicBezTo>
                <a:lnTo>
                  <a:pt x="7870478" y="3847968"/>
                </a:lnTo>
                <a:close/>
                <a:moveTo>
                  <a:pt x="5063358" y="3280595"/>
                </a:moveTo>
                <a:lnTo>
                  <a:pt x="5023651" y="3295561"/>
                </a:lnTo>
                <a:lnTo>
                  <a:pt x="4972569" y="3317750"/>
                </a:lnTo>
                <a:lnTo>
                  <a:pt x="4972345" y="3319922"/>
                </a:lnTo>
                <a:cubicBezTo>
                  <a:pt x="4990502" y="3333561"/>
                  <a:pt x="5012063" y="3354019"/>
                  <a:pt x="5044688" y="3386412"/>
                </a:cubicBezTo>
                <a:lnTo>
                  <a:pt x="5075321" y="3417013"/>
                </a:lnTo>
                <a:lnTo>
                  <a:pt x="5079988" y="3415500"/>
                </a:lnTo>
                <a:lnTo>
                  <a:pt x="5073342" y="3377224"/>
                </a:lnTo>
                <a:cubicBezTo>
                  <a:pt x="5071072" y="3363301"/>
                  <a:pt x="5069181" y="3350609"/>
                  <a:pt x="5067668" y="3338865"/>
                </a:cubicBezTo>
                <a:close/>
                <a:moveTo>
                  <a:pt x="8309499" y="951693"/>
                </a:moveTo>
                <a:cubicBezTo>
                  <a:pt x="8312525" y="957755"/>
                  <a:pt x="8311012" y="956239"/>
                  <a:pt x="8309499" y="953966"/>
                </a:cubicBezTo>
                <a:lnTo>
                  <a:pt x="8308628" y="952368"/>
                </a:lnTo>
                <a:close/>
                <a:moveTo>
                  <a:pt x="5004998" y="0"/>
                </a:moveTo>
                <a:cubicBezTo>
                  <a:pt x="5017102" y="6062"/>
                  <a:pt x="5041311" y="30309"/>
                  <a:pt x="5077624" y="54556"/>
                </a:cubicBezTo>
                <a:cubicBezTo>
                  <a:pt x="5004998" y="90926"/>
                  <a:pt x="4926320" y="121235"/>
                  <a:pt x="4962633" y="200038"/>
                </a:cubicBezTo>
                <a:cubicBezTo>
                  <a:pt x="5126042" y="212161"/>
                  <a:pt x="5271295" y="230346"/>
                  <a:pt x="5428652" y="248531"/>
                </a:cubicBezTo>
                <a:cubicBezTo>
                  <a:pt x="5422600" y="309149"/>
                  <a:pt x="5416548" y="363704"/>
                  <a:pt x="5410495" y="424322"/>
                </a:cubicBezTo>
                <a:cubicBezTo>
                  <a:pt x="5434704" y="442507"/>
                  <a:pt x="5464965" y="472816"/>
                  <a:pt x="5519435" y="527371"/>
                </a:cubicBezTo>
                <a:cubicBezTo>
                  <a:pt x="5507331" y="460692"/>
                  <a:pt x="5501278" y="418260"/>
                  <a:pt x="5501278" y="381890"/>
                </a:cubicBezTo>
                <a:cubicBezTo>
                  <a:pt x="5507331" y="375828"/>
                  <a:pt x="5513383" y="375828"/>
                  <a:pt x="5519435" y="375828"/>
                </a:cubicBezTo>
                <a:cubicBezTo>
                  <a:pt x="5543644" y="448569"/>
                  <a:pt x="5573905" y="527371"/>
                  <a:pt x="5604166" y="606174"/>
                </a:cubicBezTo>
                <a:cubicBezTo>
                  <a:pt x="5616270" y="581927"/>
                  <a:pt x="5640479" y="557680"/>
                  <a:pt x="5676792" y="503124"/>
                </a:cubicBezTo>
                <a:cubicBezTo>
                  <a:pt x="5640479" y="624359"/>
                  <a:pt x="5688897" y="654668"/>
                  <a:pt x="5761523" y="691038"/>
                </a:cubicBezTo>
                <a:cubicBezTo>
                  <a:pt x="5809941" y="715285"/>
                  <a:pt x="5846254" y="763779"/>
                  <a:pt x="5906776" y="824396"/>
                </a:cubicBezTo>
                <a:cubicBezTo>
                  <a:pt x="5858358" y="812273"/>
                  <a:pt x="5846254" y="812273"/>
                  <a:pt x="5815993" y="806211"/>
                </a:cubicBezTo>
                <a:cubicBezTo>
                  <a:pt x="5828097" y="824396"/>
                  <a:pt x="5834149" y="842582"/>
                  <a:pt x="5840202" y="842582"/>
                </a:cubicBezTo>
                <a:cubicBezTo>
                  <a:pt x="5876515" y="848643"/>
                  <a:pt x="5918880" y="854705"/>
                  <a:pt x="5949141" y="848643"/>
                </a:cubicBezTo>
                <a:cubicBezTo>
                  <a:pt x="6263855" y="745594"/>
                  <a:pt x="6584622" y="642544"/>
                  <a:pt x="6905389" y="545557"/>
                </a:cubicBezTo>
                <a:cubicBezTo>
                  <a:pt x="7002224" y="515248"/>
                  <a:pt x="7105111" y="515248"/>
                  <a:pt x="7201946" y="491001"/>
                </a:cubicBezTo>
                <a:cubicBezTo>
                  <a:pt x="7292729" y="460692"/>
                  <a:pt x="7377460" y="418260"/>
                  <a:pt x="7462191" y="394013"/>
                </a:cubicBezTo>
                <a:cubicBezTo>
                  <a:pt x="7516661" y="394013"/>
                  <a:pt x="7577183" y="412198"/>
                  <a:pt x="7625600" y="394013"/>
                </a:cubicBezTo>
                <a:cubicBezTo>
                  <a:pt x="7837427" y="315211"/>
                  <a:pt x="8049254" y="224284"/>
                  <a:pt x="8261081" y="139420"/>
                </a:cubicBezTo>
                <a:cubicBezTo>
                  <a:pt x="8333707" y="109111"/>
                  <a:pt x="8412386" y="96988"/>
                  <a:pt x="8497117" y="96988"/>
                </a:cubicBezTo>
                <a:cubicBezTo>
                  <a:pt x="8363969" y="175791"/>
                  <a:pt x="8224767" y="254593"/>
                  <a:pt x="8097672" y="339457"/>
                </a:cubicBezTo>
                <a:cubicBezTo>
                  <a:pt x="8031098" y="387951"/>
                  <a:pt x="7910054" y="381890"/>
                  <a:pt x="7916106" y="509186"/>
                </a:cubicBezTo>
                <a:cubicBezTo>
                  <a:pt x="7916106" y="521310"/>
                  <a:pt x="7891897" y="533433"/>
                  <a:pt x="7879793" y="533433"/>
                </a:cubicBezTo>
                <a:cubicBezTo>
                  <a:pt x="7710331" y="581927"/>
                  <a:pt x="7577183" y="691038"/>
                  <a:pt x="7431930" y="788026"/>
                </a:cubicBezTo>
                <a:cubicBezTo>
                  <a:pt x="7674018" y="769841"/>
                  <a:pt x="7861636" y="563742"/>
                  <a:pt x="8115828" y="581927"/>
                </a:cubicBezTo>
                <a:cubicBezTo>
                  <a:pt x="8067411" y="618297"/>
                  <a:pt x="8018993" y="648606"/>
                  <a:pt x="7976628" y="684977"/>
                </a:cubicBezTo>
                <a:cubicBezTo>
                  <a:pt x="7976628" y="691038"/>
                  <a:pt x="7976628" y="697100"/>
                  <a:pt x="7982680" y="703162"/>
                </a:cubicBezTo>
                <a:cubicBezTo>
                  <a:pt x="8031098" y="697100"/>
                  <a:pt x="8073463" y="691038"/>
                  <a:pt x="8121881" y="684977"/>
                </a:cubicBezTo>
                <a:cubicBezTo>
                  <a:pt x="8121881" y="691038"/>
                  <a:pt x="8127933" y="697100"/>
                  <a:pt x="8127933" y="703162"/>
                </a:cubicBezTo>
                <a:cubicBezTo>
                  <a:pt x="8031098" y="763779"/>
                  <a:pt x="7928210" y="824396"/>
                  <a:pt x="7813218" y="885014"/>
                </a:cubicBezTo>
                <a:cubicBezTo>
                  <a:pt x="7867688" y="897137"/>
                  <a:pt x="7904001" y="909261"/>
                  <a:pt x="7946367" y="915323"/>
                </a:cubicBezTo>
                <a:cubicBezTo>
                  <a:pt x="7940315" y="860767"/>
                  <a:pt x="8067411" y="745594"/>
                  <a:pt x="8133985" y="775903"/>
                </a:cubicBezTo>
                <a:cubicBezTo>
                  <a:pt x="8212663" y="800150"/>
                  <a:pt x="8248977" y="757717"/>
                  <a:pt x="8303447" y="733470"/>
                </a:cubicBezTo>
                <a:cubicBezTo>
                  <a:pt x="8406333" y="678915"/>
                  <a:pt x="8509221" y="624359"/>
                  <a:pt x="8636317" y="557680"/>
                </a:cubicBezTo>
                <a:cubicBezTo>
                  <a:pt x="8612109" y="606174"/>
                  <a:pt x="8600004" y="630421"/>
                  <a:pt x="8587899" y="666791"/>
                </a:cubicBezTo>
                <a:cubicBezTo>
                  <a:pt x="8684735" y="624359"/>
                  <a:pt x="8775518" y="581927"/>
                  <a:pt x="8866301" y="539495"/>
                </a:cubicBezTo>
                <a:cubicBezTo>
                  <a:pt x="8866301" y="545557"/>
                  <a:pt x="8872353" y="551618"/>
                  <a:pt x="8872353" y="551618"/>
                </a:cubicBezTo>
                <a:cubicBezTo>
                  <a:pt x="8684735" y="684977"/>
                  <a:pt x="8503169" y="818335"/>
                  <a:pt x="8309499" y="951693"/>
                </a:cubicBezTo>
                <a:cubicBezTo>
                  <a:pt x="8307986" y="950178"/>
                  <a:pt x="8307608" y="950178"/>
                  <a:pt x="8307797" y="950841"/>
                </a:cubicBezTo>
                <a:lnTo>
                  <a:pt x="8308628" y="952368"/>
                </a:lnTo>
                <a:lnTo>
                  <a:pt x="8068924" y="1138091"/>
                </a:lnTo>
                <a:cubicBezTo>
                  <a:pt x="7988732" y="1200224"/>
                  <a:pt x="7910054" y="1263873"/>
                  <a:pt x="7837427" y="1333583"/>
                </a:cubicBezTo>
                <a:cubicBezTo>
                  <a:pt x="7680070" y="1491188"/>
                  <a:pt x="7516661" y="1630608"/>
                  <a:pt x="7341147" y="1763966"/>
                </a:cubicBezTo>
                <a:cubicBezTo>
                  <a:pt x="7141424" y="1915509"/>
                  <a:pt x="6965911" y="2097362"/>
                  <a:pt x="6778292" y="2261029"/>
                </a:cubicBezTo>
                <a:cubicBezTo>
                  <a:pt x="6766188" y="2273152"/>
                  <a:pt x="6772240" y="2291337"/>
                  <a:pt x="6766188" y="2303461"/>
                </a:cubicBezTo>
                <a:cubicBezTo>
                  <a:pt x="6784345" y="2303461"/>
                  <a:pt x="6796449" y="2297399"/>
                  <a:pt x="6808553" y="2297399"/>
                </a:cubicBezTo>
                <a:cubicBezTo>
                  <a:pt x="6911441" y="2285275"/>
                  <a:pt x="6996172" y="2194350"/>
                  <a:pt x="7111163" y="2242843"/>
                </a:cubicBezTo>
                <a:cubicBezTo>
                  <a:pt x="7129320" y="2248905"/>
                  <a:pt x="7165633" y="2206473"/>
                  <a:pt x="7195894" y="2182226"/>
                </a:cubicBezTo>
                <a:cubicBezTo>
                  <a:pt x="7207999" y="2212534"/>
                  <a:pt x="7220103" y="2236781"/>
                  <a:pt x="7232207" y="2273152"/>
                </a:cubicBezTo>
                <a:cubicBezTo>
                  <a:pt x="7147477" y="2309522"/>
                  <a:pt x="7014328" y="2321646"/>
                  <a:pt x="6984067" y="2382263"/>
                </a:cubicBezTo>
                <a:cubicBezTo>
                  <a:pt x="6929597" y="2503498"/>
                  <a:pt x="6796449" y="2461066"/>
                  <a:pt x="6735927" y="2539868"/>
                </a:cubicBezTo>
                <a:cubicBezTo>
                  <a:pt x="6723823" y="2551992"/>
                  <a:pt x="6723823" y="2576239"/>
                  <a:pt x="6717770" y="2594424"/>
                </a:cubicBezTo>
                <a:cubicBezTo>
                  <a:pt x="6711718" y="2661103"/>
                  <a:pt x="6669353" y="2691412"/>
                  <a:pt x="6602779" y="2697474"/>
                </a:cubicBezTo>
                <a:cubicBezTo>
                  <a:pt x="6505943" y="2703535"/>
                  <a:pt x="6415160" y="2721720"/>
                  <a:pt x="6318325" y="2739906"/>
                </a:cubicBezTo>
                <a:cubicBezTo>
                  <a:pt x="6354638" y="2818708"/>
                  <a:pt x="6245699" y="2891449"/>
                  <a:pt x="6033872" y="2933881"/>
                </a:cubicBezTo>
                <a:cubicBezTo>
                  <a:pt x="6058081" y="2909634"/>
                  <a:pt x="6070185" y="2891449"/>
                  <a:pt x="6106498" y="2849017"/>
                </a:cubicBezTo>
                <a:cubicBezTo>
                  <a:pt x="6027820" y="2873264"/>
                  <a:pt x="5979402" y="2885387"/>
                  <a:pt x="5912828" y="2903573"/>
                </a:cubicBezTo>
                <a:cubicBezTo>
                  <a:pt x="5924932" y="2927820"/>
                  <a:pt x="5943089" y="2946005"/>
                  <a:pt x="5967298" y="2976313"/>
                </a:cubicBezTo>
                <a:cubicBezTo>
                  <a:pt x="5716132" y="3064209"/>
                  <a:pt x="5458913" y="3136950"/>
                  <a:pt x="5209260" y="3225603"/>
                </a:cubicBezTo>
                <a:lnTo>
                  <a:pt x="5082040" y="3273554"/>
                </a:lnTo>
                <a:lnTo>
                  <a:pt x="5121381" y="3384328"/>
                </a:lnTo>
                <a:lnTo>
                  <a:pt x="5127389" y="3400136"/>
                </a:lnTo>
                <a:lnTo>
                  <a:pt x="5158573" y="3390028"/>
                </a:lnTo>
                <a:cubicBezTo>
                  <a:pt x="5377209" y="3318802"/>
                  <a:pt x="5598114" y="3246061"/>
                  <a:pt x="5822045" y="3170289"/>
                </a:cubicBezTo>
                <a:cubicBezTo>
                  <a:pt x="5785732" y="3158166"/>
                  <a:pt x="5767575" y="3152104"/>
                  <a:pt x="5719158" y="3139980"/>
                </a:cubicBezTo>
                <a:cubicBezTo>
                  <a:pt x="5785732" y="3127857"/>
                  <a:pt x="5834149" y="3115733"/>
                  <a:pt x="5876515" y="3109672"/>
                </a:cubicBezTo>
                <a:cubicBezTo>
                  <a:pt x="5924932" y="3091487"/>
                  <a:pt x="5979402" y="3067240"/>
                  <a:pt x="6027820" y="3067240"/>
                </a:cubicBezTo>
                <a:cubicBezTo>
                  <a:pt x="6221490" y="3067240"/>
                  <a:pt x="6342534" y="2897511"/>
                  <a:pt x="6518048" y="2861140"/>
                </a:cubicBezTo>
                <a:cubicBezTo>
                  <a:pt x="6518048" y="3006622"/>
                  <a:pt x="6445421" y="3073301"/>
                  <a:pt x="6251751" y="3158166"/>
                </a:cubicBezTo>
                <a:cubicBezTo>
                  <a:pt x="6082290" y="3224845"/>
                  <a:pt x="5924932" y="3303647"/>
                  <a:pt x="5755471" y="3364265"/>
                </a:cubicBezTo>
                <a:cubicBezTo>
                  <a:pt x="5661662" y="3397605"/>
                  <a:pt x="5566340" y="3427913"/>
                  <a:pt x="5471018" y="3457464"/>
                </a:cubicBezTo>
                <a:lnTo>
                  <a:pt x="5243878" y="3528255"/>
                </a:lnTo>
                <a:lnTo>
                  <a:pt x="5274388" y="3558982"/>
                </a:lnTo>
                <a:lnTo>
                  <a:pt x="5320819" y="3585196"/>
                </a:lnTo>
                <a:lnTo>
                  <a:pt x="5546670" y="3500654"/>
                </a:lnTo>
                <a:cubicBezTo>
                  <a:pt x="5646531" y="3462768"/>
                  <a:pt x="5746393" y="3424883"/>
                  <a:pt x="5846254" y="3388512"/>
                </a:cubicBezTo>
                <a:cubicBezTo>
                  <a:pt x="5882567" y="3376388"/>
                  <a:pt x="5918880" y="3370326"/>
                  <a:pt x="5955193" y="3376388"/>
                </a:cubicBezTo>
                <a:cubicBezTo>
                  <a:pt x="6052029" y="3394573"/>
                  <a:pt x="6130707" y="3382450"/>
                  <a:pt x="6179125" y="3249092"/>
                </a:cubicBezTo>
                <a:cubicBezTo>
                  <a:pt x="6197281" y="3309709"/>
                  <a:pt x="6203333" y="3340018"/>
                  <a:pt x="6209386" y="3358203"/>
                </a:cubicBezTo>
                <a:cubicBezTo>
                  <a:pt x="6306221" y="3291524"/>
                  <a:pt x="6390952" y="3218783"/>
                  <a:pt x="6493839" y="3164227"/>
                </a:cubicBezTo>
                <a:cubicBezTo>
                  <a:pt x="6560413" y="3121795"/>
                  <a:pt x="6645144" y="3109672"/>
                  <a:pt x="6723823" y="3085425"/>
                </a:cubicBezTo>
                <a:cubicBezTo>
                  <a:pt x="6735927" y="3085425"/>
                  <a:pt x="6754084" y="3067240"/>
                  <a:pt x="6766188" y="3061178"/>
                </a:cubicBezTo>
                <a:cubicBezTo>
                  <a:pt x="6748031" y="3049054"/>
                  <a:pt x="6735927" y="3036931"/>
                  <a:pt x="6705666" y="3018746"/>
                </a:cubicBezTo>
                <a:cubicBezTo>
                  <a:pt x="6820658" y="2946005"/>
                  <a:pt x="6923545" y="2885387"/>
                  <a:pt x="7032485" y="2818708"/>
                </a:cubicBezTo>
                <a:cubicBezTo>
                  <a:pt x="7044589" y="2842955"/>
                  <a:pt x="7050641" y="2867202"/>
                  <a:pt x="7068798" y="2897511"/>
                </a:cubicBezTo>
                <a:cubicBezTo>
                  <a:pt x="7099059" y="2842955"/>
                  <a:pt x="7123268" y="2794461"/>
                  <a:pt x="7141424" y="2745967"/>
                </a:cubicBezTo>
                <a:cubicBezTo>
                  <a:pt x="7159581" y="2752029"/>
                  <a:pt x="7171685" y="2752029"/>
                  <a:pt x="7189842" y="2758091"/>
                </a:cubicBezTo>
                <a:cubicBezTo>
                  <a:pt x="7183790" y="2824770"/>
                  <a:pt x="7171685" y="2891449"/>
                  <a:pt x="7165633" y="2970252"/>
                </a:cubicBezTo>
                <a:cubicBezTo>
                  <a:pt x="7135372" y="2952067"/>
                  <a:pt x="7117216" y="2939943"/>
                  <a:pt x="7086955" y="2921758"/>
                </a:cubicBezTo>
                <a:cubicBezTo>
                  <a:pt x="7093007" y="2958128"/>
                  <a:pt x="7093007" y="2988437"/>
                  <a:pt x="7093007" y="3012684"/>
                </a:cubicBezTo>
                <a:cubicBezTo>
                  <a:pt x="7008276" y="3049054"/>
                  <a:pt x="6917493" y="3091487"/>
                  <a:pt x="6838814" y="3121795"/>
                </a:cubicBezTo>
                <a:cubicBezTo>
                  <a:pt x="6844867" y="3127857"/>
                  <a:pt x="6869075" y="3133919"/>
                  <a:pt x="6893284" y="3139980"/>
                </a:cubicBezTo>
                <a:cubicBezTo>
                  <a:pt x="6875128" y="3243030"/>
                  <a:pt x="6687509" y="3152104"/>
                  <a:pt x="6711718" y="3303647"/>
                </a:cubicBezTo>
                <a:cubicBezTo>
                  <a:pt x="6681457" y="3297586"/>
                  <a:pt x="6651196" y="3285462"/>
                  <a:pt x="6651196" y="3285462"/>
                </a:cubicBezTo>
                <a:cubicBezTo>
                  <a:pt x="6605805" y="3321833"/>
                  <a:pt x="6563439" y="3355172"/>
                  <a:pt x="6521831" y="3386996"/>
                </a:cubicBezTo>
                <a:lnTo>
                  <a:pt x="6435291" y="3451084"/>
                </a:lnTo>
                <a:lnTo>
                  <a:pt x="6467239" y="3441157"/>
                </a:lnTo>
                <a:cubicBezTo>
                  <a:pt x="6564074" y="3410848"/>
                  <a:pt x="6666961" y="3410848"/>
                  <a:pt x="6763796" y="3386601"/>
                </a:cubicBezTo>
                <a:cubicBezTo>
                  <a:pt x="6854579" y="3356292"/>
                  <a:pt x="6939310" y="3313860"/>
                  <a:pt x="7024041" y="3289613"/>
                </a:cubicBezTo>
                <a:cubicBezTo>
                  <a:pt x="7078511" y="3289613"/>
                  <a:pt x="7139033" y="3307798"/>
                  <a:pt x="7187450" y="3289613"/>
                </a:cubicBezTo>
                <a:cubicBezTo>
                  <a:pt x="7399277" y="3210811"/>
                  <a:pt x="7611104" y="3119884"/>
                  <a:pt x="7822931" y="3035020"/>
                </a:cubicBezTo>
                <a:cubicBezTo>
                  <a:pt x="7895557" y="3004711"/>
                  <a:pt x="7974236" y="2992588"/>
                  <a:pt x="8058967" y="2992588"/>
                </a:cubicBezTo>
                <a:cubicBezTo>
                  <a:pt x="7925819" y="3071391"/>
                  <a:pt x="7786617" y="3150193"/>
                  <a:pt x="7659522" y="3235057"/>
                </a:cubicBezTo>
                <a:cubicBezTo>
                  <a:pt x="7592948" y="3283551"/>
                  <a:pt x="7471904" y="3277490"/>
                  <a:pt x="7477956" y="3404786"/>
                </a:cubicBezTo>
                <a:cubicBezTo>
                  <a:pt x="7477956" y="3416910"/>
                  <a:pt x="7453747" y="3429033"/>
                  <a:pt x="7441643" y="3429033"/>
                </a:cubicBezTo>
                <a:cubicBezTo>
                  <a:pt x="7272181" y="3477527"/>
                  <a:pt x="7139033" y="3586638"/>
                  <a:pt x="6993780" y="3683626"/>
                </a:cubicBezTo>
                <a:cubicBezTo>
                  <a:pt x="7235868" y="3665441"/>
                  <a:pt x="7423486" y="3459342"/>
                  <a:pt x="7677678" y="3477527"/>
                </a:cubicBezTo>
                <a:cubicBezTo>
                  <a:pt x="7629261" y="3513897"/>
                  <a:pt x="7580843" y="3544206"/>
                  <a:pt x="7538478" y="3580577"/>
                </a:cubicBezTo>
                <a:cubicBezTo>
                  <a:pt x="7538478" y="3586638"/>
                  <a:pt x="7538478" y="3592700"/>
                  <a:pt x="7544530" y="3598762"/>
                </a:cubicBezTo>
                <a:cubicBezTo>
                  <a:pt x="7592948" y="3592700"/>
                  <a:pt x="7635313" y="3586638"/>
                  <a:pt x="7683731" y="3580577"/>
                </a:cubicBezTo>
                <a:cubicBezTo>
                  <a:pt x="7683731" y="3586638"/>
                  <a:pt x="7689783" y="3592700"/>
                  <a:pt x="7689783" y="3598762"/>
                </a:cubicBezTo>
                <a:cubicBezTo>
                  <a:pt x="7592948" y="3659379"/>
                  <a:pt x="7490060" y="3719996"/>
                  <a:pt x="7375068" y="3780614"/>
                </a:cubicBezTo>
                <a:cubicBezTo>
                  <a:pt x="7429538" y="3792737"/>
                  <a:pt x="7465851" y="3804861"/>
                  <a:pt x="7508217" y="3810923"/>
                </a:cubicBezTo>
                <a:cubicBezTo>
                  <a:pt x="7502165" y="3756367"/>
                  <a:pt x="7629261" y="3641194"/>
                  <a:pt x="7695835" y="3671503"/>
                </a:cubicBezTo>
                <a:cubicBezTo>
                  <a:pt x="7774513" y="3695750"/>
                  <a:pt x="7810827" y="3653317"/>
                  <a:pt x="7865297" y="3629070"/>
                </a:cubicBezTo>
                <a:cubicBezTo>
                  <a:pt x="7968183" y="3574515"/>
                  <a:pt x="8071071" y="3519959"/>
                  <a:pt x="8198167" y="3453280"/>
                </a:cubicBezTo>
                <a:cubicBezTo>
                  <a:pt x="8173959" y="3501774"/>
                  <a:pt x="8161854" y="3526021"/>
                  <a:pt x="8149749" y="3562391"/>
                </a:cubicBezTo>
                <a:cubicBezTo>
                  <a:pt x="8246585" y="3519959"/>
                  <a:pt x="8337368" y="3477527"/>
                  <a:pt x="8428151" y="3435095"/>
                </a:cubicBezTo>
                <a:cubicBezTo>
                  <a:pt x="8428151" y="3441157"/>
                  <a:pt x="8434203" y="3447218"/>
                  <a:pt x="8434203" y="3447218"/>
                </a:cubicBezTo>
                <a:cubicBezTo>
                  <a:pt x="8246585" y="3580577"/>
                  <a:pt x="8065019" y="3713935"/>
                  <a:pt x="7871349" y="3847293"/>
                </a:cubicBezTo>
                <a:cubicBezTo>
                  <a:pt x="7869836" y="3845778"/>
                  <a:pt x="7869458" y="3845778"/>
                  <a:pt x="7869647" y="3846441"/>
                </a:cubicBezTo>
                <a:lnTo>
                  <a:pt x="7870478" y="3847968"/>
                </a:lnTo>
                <a:lnTo>
                  <a:pt x="7630774" y="4033691"/>
                </a:lnTo>
                <a:cubicBezTo>
                  <a:pt x="7550582" y="4095824"/>
                  <a:pt x="7471904" y="4159473"/>
                  <a:pt x="7399277" y="4229183"/>
                </a:cubicBezTo>
                <a:cubicBezTo>
                  <a:pt x="7241920" y="4386788"/>
                  <a:pt x="7078511" y="4526208"/>
                  <a:pt x="6902997" y="4659566"/>
                </a:cubicBezTo>
                <a:cubicBezTo>
                  <a:pt x="6703274" y="4811109"/>
                  <a:pt x="6527761" y="4992962"/>
                  <a:pt x="6340142" y="5156629"/>
                </a:cubicBezTo>
                <a:cubicBezTo>
                  <a:pt x="6328038" y="5168752"/>
                  <a:pt x="6334090" y="5186937"/>
                  <a:pt x="6328038" y="5199061"/>
                </a:cubicBezTo>
                <a:cubicBezTo>
                  <a:pt x="6346195" y="5199061"/>
                  <a:pt x="6358299" y="5192999"/>
                  <a:pt x="6370403" y="5192999"/>
                </a:cubicBezTo>
                <a:cubicBezTo>
                  <a:pt x="6473291" y="5180875"/>
                  <a:pt x="6558022" y="5089950"/>
                  <a:pt x="6673013" y="5138443"/>
                </a:cubicBezTo>
                <a:cubicBezTo>
                  <a:pt x="6691170" y="5144505"/>
                  <a:pt x="6727483" y="5102073"/>
                  <a:pt x="6757744" y="5077826"/>
                </a:cubicBezTo>
                <a:cubicBezTo>
                  <a:pt x="6769849" y="5108134"/>
                  <a:pt x="6781953" y="5132381"/>
                  <a:pt x="6794057" y="5168752"/>
                </a:cubicBezTo>
                <a:cubicBezTo>
                  <a:pt x="6709327" y="5205122"/>
                  <a:pt x="6576178" y="5217246"/>
                  <a:pt x="6545917" y="5277863"/>
                </a:cubicBezTo>
                <a:cubicBezTo>
                  <a:pt x="6491447" y="5399098"/>
                  <a:pt x="6358299" y="5356666"/>
                  <a:pt x="6297777" y="5435468"/>
                </a:cubicBezTo>
                <a:cubicBezTo>
                  <a:pt x="6285673" y="5447592"/>
                  <a:pt x="6285673" y="5471839"/>
                  <a:pt x="6279620" y="5490024"/>
                </a:cubicBezTo>
                <a:cubicBezTo>
                  <a:pt x="6273568" y="5556703"/>
                  <a:pt x="6231203" y="5587012"/>
                  <a:pt x="6164629" y="5593074"/>
                </a:cubicBezTo>
                <a:cubicBezTo>
                  <a:pt x="6067793" y="5599135"/>
                  <a:pt x="5977010" y="5617320"/>
                  <a:pt x="5880175" y="5635506"/>
                </a:cubicBezTo>
                <a:cubicBezTo>
                  <a:pt x="5916488" y="5714308"/>
                  <a:pt x="5807549" y="5787049"/>
                  <a:pt x="5595722" y="5829481"/>
                </a:cubicBezTo>
                <a:cubicBezTo>
                  <a:pt x="5619931" y="5805234"/>
                  <a:pt x="5632035" y="5787049"/>
                  <a:pt x="5668348" y="5744617"/>
                </a:cubicBezTo>
                <a:cubicBezTo>
                  <a:pt x="5589670" y="5768864"/>
                  <a:pt x="5541252" y="5780987"/>
                  <a:pt x="5474678" y="5799173"/>
                </a:cubicBezTo>
                <a:cubicBezTo>
                  <a:pt x="5486782" y="5823420"/>
                  <a:pt x="5504939" y="5841605"/>
                  <a:pt x="5529148" y="5871913"/>
                </a:cubicBezTo>
                <a:cubicBezTo>
                  <a:pt x="5026815" y="6047704"/>
                  <a:pt x="4500274" y="6162877"/>
                  <a:pt x="4058463" y="6465964"/>
                </a:cubicBezTo>
                <a:cubicBezTo>
                  <a:pt x="4058463" y="6478087"/>
                  <a:pt x="4064516" y="6490211"/>
                  <a:pt x="4070568" y="6496272"/>
                </a:cubicBezTo>
                <a:cubicBezTo>
                  <a:pt x="4500274" y="6356853"/>
                  <a:pt x="4936032" y="6217433"/>
                  <a:pt x="5383895" y="6065889"/>
                </a:cubicBezTo>
                <a:cubicBezTo>
                  <a:pt x="5347582" y="6053766"/>
                  <a:pt x="5329425" y="6047704"/>
                  <a:pt x="5281008" y="6035580"/>
                </a:cubicBezTo>
                <a:cubicBezTo>
                  <a:pt x="5347582" y="6023457"/>
                  <a:pt x="5395999" y="6011333"/>
                  <a:pt x="5438365" y="6005272"/>
                </a:cubicBezTo>
                <a:cubicBezTo>
                  <a:pt x="5486782" y="5987087"/>
                  <a:pt x="5541252" y="5962840"/>
                  <a:pt x="5589670" y="5962840"/>
                </a:cubicBezTo>
                <a:cubicBezTo>
                  <a:pt x="5783340" y="5962840"/>
                  <a:pt x="5904384" y="5793111"/>
                  <a:pt x="6079898" y="5756740"/>
                </a:cubicBezTo>
                <a:cubicBezTo>
                  <a:pt x="6079898" y="5902222"/>
                  <a:pt x="6007271" y="5968901"/>
                  <a:pt x="5813601" y="6053766"/>
                </a:cubicBezTo>
                <a:cubicBezTo>
                  <a:pt x="5644140" y="6120445"/>
                  <a:pt x="5486782" y="6199247"/>
                  <a:pt x="5317321" y="6259865"/>
                </a:cubicBezTo>
                <a:cubicBezTo>
                  <a:pt x="5129703" y="6326544"/>
                  <a:pt x="4936032" y="6381099"/>
                  <a:pt x="4748414" y="6441717"/>
                </a:cubicBezTo>
                <a:cubicBezTo>
                  <a:pt x="4687892" y="6459902"/>
                  <a:pt x="4633422" y="6490211"/>
                  <a:pt x="4585005" y="6544766"/>
                </a:cubicBezTo>
                <a:cubicBezTo>
                  <a:pt x="4615266" y="6550828"/>
                  <a:pt x="4651579" y="6562952"/>
                  <a:pt x="4687892" y="6569013"/>
                </a:cubicBezTo>
                <a:cubicBezTo>
                  <a:pt x="4687892" y="6593260"/>
                  <a:pt x="4687892" y="6617507"/>
                  <a:pt x="4687892" y="6666001"/>
                </a:cubicBezTo>
                <a:cubicBezTo>
                  <a:pt x="4712101" y="6635692"/>
                  <a:pt x="4742362" y="6611446"/>
                  <a:pt x="4742362" y="6599322"/>
                </a:cubicBezTo>
                <a:cubicBezTo>
                  <a:pt x="4730257" y="6538705"/>
                  <a:pt x="4760518" y="6526581"/>
                  <a:pt x="4808936" y="6508396"/>
                </a:cubicBezTo>
                <a:cubicBezTo>
                  <a:pt x="5008659" y="6435655"/>
                  <a:pt x="5208381" y="6356853"/>
                  <a:pt x="5408104" y="6284112"/>
                </a:cubicBezTo>
                <a:cubicBezTo>
                  <a:pt x="5444417" y="6271988"/>
                  <a:pt x="5480730" y="6265926"/>
                  <a:pt x="5517043" y="6271988"/>
                </a:cubicBezTo>
                <a:cubicBezTo>
                  <a:pt x="5613879" y="6290173"/>
                  <a:pt x="5692557" y="6278050"/>
                  <a:pt x="5740975" y="6144692"/>
                </a:cubicBezTo>
                <a:cubicBezTo>
                  <a:pt x="5759131" y="6205309"/>
                  <a:pt x="5765183" y="6235618"/>
                  <a:pt x="5771236" y="6253803"/>
                </a:cubicBezTo>
                <a:cubicBezTo>
                  <a:pt x="5868071" y="6187124"/>
                  <a:pt x="5952802" y="6114383"/>
                  <a:pt x="6055689" y="6059827"/>
                </a:cubicBezTo>
                <a:cubicBezTo>
                  <a:pt x="6122263" y="6017395"/>
                  <a:pt x="6206994" y="6005272"/>
                  <a:pt x="6285673" y="5981025"/>
                </a:cubicBezTo>
                <a:cubicBezTo>
                  <a:pt x="6297777" y="5981025"/>
                  <a:pt x="6315934" y="5962840"/>
                  <a:pt x="6328038" y="5956778"/>
                </a:cubicBezTo>
                <a:cubicBezTo>
                  <a:pt x="6309881" y="5944654"/>
                  <a:pt x="6297777" y="5932531"/>
                  <a:pt x="6267516" y="5914346"/>
                </a:cubicBezTo>
                <a:cubicBezTo>
                  <a:pt x="6382508" y="5841605"/>
                  <a:pt x="6485395" y="5780987"/>
                  <a:pt x="6594335" y="5714308"/>
                </a:cubicBezTo>
                <a:cubicBezTo>
                  <a:pt x="6606439" y="5738555"/>
                  <a:pt x="6612491" y="5762802"/>
                  <a:pt x="6630648" y="5793111"/>
                </a:cubicBezTo>
                <a:cubicBezTo>
                  <a:pt x="6660909" y="5738555"/>
                  <a:pt x="6685118" y="5690061"/>
                  <a:pt x="6703274" y="5641567"/>
                </a:cubicBezTo>
                <a:cubicBezTo>
                  <a:pt x="6721431" y="5647629"/>
                  <a:pt x="6733535" y="5647629"/>
                  <a:pt x="6751692" y="5653691"/>
                </a:cubicBezTo>
                <a:cubicBezTo>
                  <a:pt x="6745640" y="5720370"/>
                  <a:pt x="6733535" y="5787049"/>
                  <a:pt x="6727483" y="5865852"/>
                </a:cubicBezTo>
                <a:cubicBezTo>
                  <a:pt x="6697222" y="5847667"/>
                  <a:pt x="6679066" y="5835543"/>
                  <a:pt x="6648805" y="5817358"/>
                </a:cubicBezTo>
                <a:cubicBezTo>
                  <a:pt x="6654857" y="5853728"/>
                  <a:pt x="6654857" y="5884037"/>
                  <a:pt x="6654857" y="5908284"/>
                </a:cubicBezTo>
                <a:cubicBezTo>
                  <a:pt x="6570126" y="5944654"/>
                  <a:pt x="6479343" y="5987087"/>
                  <a:pt x="6400664" y="6017395"/>
                </a:cubicBezTo>
                <a:cubicBezTo>
                  <a:pt x="6406717" y="6023457"/>
                  <a:pt x="6430925" y="6029519"/>
                  <a:pt x="6455134" y="6035580"/>
                </a:cubicBezTo>
                <a:cubicBezTo>
                  <a:pt x="6436978" y="6138630"/>
                  <a:pt x="6249359" y="6047704"/>
                  <a:pt x="6273568" y="6199247"/>
                </a:cubicBezTo>
                <a:cubicBezTo>
                  <a:pt x="6243307" y="6193186"/>
                  <a:pt x="6213046" y="6181062"/>
                  <a:pt x="6213046" y="6181062"/>
                </a:cubicBezTo>
                <a:cubicBezTo>
                  <a:pt x="6122263" y="6253803"/>
                  <a:pt x="6043585" y="6314420"/>
                  <a:pt x="5958854" y="6375038"/>
                </a:cubicBezTo>
                <a:cubicBezTo>
                  <a:pt x="5928593" y="6393223"/>
                  <a:pt x="5892280" y="6393223"/>
                  <a:pt x="5862019" y="6417470"/>
                </a:cubicBezTo>
                <a:cubicBezTo>
                  <a:pt x="5837810" y="6435655"/>
                  <a:pt x="5825705" y="6472026"/>
                  <a:pt x="5801497" y="6490211"/>
                </a:cubicBezTo>
                <a:cubicBezTo>
                  <a:pt x="5710714" y="6532643"/>
                  <a:pt x="5638087" y="6617507"/>
                  <a:pt x="5523096" y="6587199"/>
                </a:cubicBezTo>
                <a:cubicBezTo>
                  <a:pt x="5517043" y="6587199"/>
                  <a:pt x="5498887" y="6593260"/>
                  <a:pt x="5498887" y="6593260"/>
                </a:cubicBezTo>
                <a:cubicBezTo>
                  <a:pt x="5498887" y="6696310"/>
                  <a:pt x="5383895" y="6653878"/>
                  <a:pt x="5353634" y="6714495"/>
                </a:cubicBezTo>
                <a:cubicBezTo>
                  <a:pt x="5353634" y="6726619"/>
                  <a:pt x="5365738" y="6744804"/>
                  <a:pt x="5383895" y="6769051"/>
                </a:cubicBezTo>
                <a:cubicBezTo>
                  <a:pt x="5317321" y="6781174"/>
                  <a:pt x="5262851" y="6793298"/>
                  <a:pt x="5202329" y="6805421"/>
                </a:cubicBezTo>
                <a:cubicBezTo>
                  <a:pt x="5196277" y="6823606"/>
                  <a:pt x="5184172" y="6872100"/>
                  <a:pt x="5159964" y="6884224"/>
                </a:cubicBezTo>
                <a:cubicBezTo>
                  <a:pt x="4990502" y="6950903"/>
                  <a:pt x="4814988" y="7011520"/>
                  <a:pt x="4645527" y="7072138"/>
                </a:cubicBezTo>
                <a:cubicBezTo>
                  <a:pt x="4566848" y="7102446"/>
                  <a:pt x="4494222" y="7144879"/>
                  <a:pt x="4415543" y="7169126"/>
                </a:cubicBezTo>
                <a:cubicBezTo>
                  <a:pt x="4233977" y="7229743"/>
                  <a:pt x="4058463" y="7284299"/>
                  <a:pt x="3876898" y="7332792"/>
                </a:cubicBezTo>
                <a:cubicBezTo>
                  <a:pt x="3640862" y="7393410"/>
                  <a:pt x="3404826" y="7447965"/>
                  <a:pt x="3162738" y="7496459"/>
                </a:cubicBezTo>
                <a:cubicBezTo>
                  <a:pt x="3126425" y="7508583"/>
                  <a:pt x="3090112" y="7502521"/>
                  <a:pt x="3053798" y="7502521"/>
                </a:cubicBezTo>
                <a:cubicBezTo>
                  <a:pt x="2975120" y="7496459"/>
                  <a:pt x="2896441" y="7496459"/>
                  <a:pt x="2823815" y="7490398"/>
                </a:cubicBezTo>
                <a:cubicBezTo>
                  <a:pt x="2751189" y="7490398"/>
                  <a:pt x="2690667" y="7532830"/>
                  <a:pt x="2605936" y="7496459"/>
                </a:cubicBezTo>
                <a:cubicBezTo>
                  <a:pt x="2533309" y="7466151"/>
                  <a:pt x="2430422" y="7526768"/>
                  <a:pt x="2339639" y="7551015"/>
                </a:cubicBezTo>
                <a:cubicBezTo>
                  <a:pt x="2363848" y="7447965"/>
                  <a:pt x="2309378" y="7484336"/>
                  <a:pt x="2273065" y="7508583"/>
                </a:cubicBezTo>
                <a:cubicBezTo>
                  <a:pt x="2236752" y="7526768"/>
                  <a:pt x="2200438" y="7544953"/>
                  <a:pt x="2152021" y="7569200"/>
                </a:cubicBezTo>
                <a:cubicBezTo>
                  <a:pt x="2164125" y="7514645"/>
                  <a:pt x="2170177" y="7478274"/>
                  <a:pt x="2176229" y="7435842"/>
                </a:cubicBezTo>
                <a:cubicBezTo>
                  <a:pt x="2170177" y="7429780"/>
                  <a:pt x="2152021" y="7411595"/>
                  <a:pt x="2127812" y="7393410"/>
                </a:cubicBezTo>
                <a:cubicBezTo>
                  <a:pt x="2139916" y="7381286"/>
                  <a:pt x="2145969" y="7369163"/>
                  <a:pt x="2158073" y="7369163"/>
                </a:cubicBezTo>
                <a:cubicBezTo>
                  <a:pt x="2242804" y="7375225"/>
                  <a:pt x="2321482" y="7369163"/>
                  <a:pt x="2363848" y="7278237"/>
                </a:cubicBezTo>
                <a:cubicBezTo>
                  <a:pt x="2369900" y="7266113"/>
                  <a:pt x="2394109" y="7260052"/>
                  <a:pt x="2406213" y="7266113"/>
                </a:cubicBezTo>
                <a:cubicBezTo>
                  <a:pt x="2575675" y="7338854"/>
                  <a:pt x="2720927" y="7223681"/>
                  <a:pt x="2884337" y="7217619"/>
                </a:cubicBezTo>
                <a:cubicBezTo>
                  <a:pt x="2884337" y="7205496"/>
                  <a:pt x="2884337" y="7199434"/>
                  <a:pt x="2878285" y="7187311"/>
                </a:cubicBezTo>
                <a:cubicBezTo>
                  <a:pt x="2787502" y="7205496"/>
                  <a:pt x="2690667" y="7223681"/>
                  <a:pt x="2593831" y="7247928"/>
                </a:cubicBezTo>
                <a:cubicBezTo>
                  <a:pt x="2787502" y="7126693"/>
                  <a:pt x="2787502" y="7126693"/>
                  <a:pt x="2775397" y="7096385"/>
                </a:cubicBezTo>
                <a:cubicBezTo>
                  <a:pt x="2696719" y="7126693"/>
                  <a:pt x="2599884" y="7205496"/>
                  <a:pt x="2545414" y="7181249"/>
                </a:cubicBezTo>
                <a:cubicBezTo>
                  <a:pt x="2436474" y="7132755"/>
                  <a:pt x="2345691" y="7193372"/>
                  <a:pt x="2254908" y="7199434"/>
                </a:cubicBezTo>
                <a:cubicBezTo>
                  <a:pt x="2170177" y="7199434"/>
                  <a:pt x="2085447" y="7247928"/>
                  <a:pt x="1994664" y="7272175"/>
                </a:cubicBezTo>
                <a:cubicBezTo>
                  <a:pt x="1988611" y="7241866"/>
                  <a:pt x="1982559" y="7217619"/>
                  <a:pt x="1976507" y="7193372"/>
                </a:cubicBezTo>
                <a:cubicBezTo>
                  <a:pt x="1867567" y="7211558"/>
                  <a:pt x="1758628" y="7229743"/>
                  <a:pt x="1649688" y="7247928"/>
                </a:cubicBezTo>
                <a:cubicBezTo>
                  <a:pt x="1649688" y="7241866"/>
                  <a:pt x="1649688" y="7229743"/>
                  <a:pt x="1643636" y="7223681"/>
                </a:cubicBezTo>
                <a:cubicBezTo>
                  <a:pt x="1661793" y="7217619"/>
                  <a:pt x="1673897" y="7211558"/>
                  <a:pt x="1692054" y="7205496"/>
                </a:cubicBezTo>
                <a:cubicBezTo>
                  <a:pt x="1673897" y="7193372"/>
                  <a:pt x="1661793" y="7181249"/>
                  <a:pt x="1643636" y="7169126"/>
                </a:cubicBezTo>
                <a:cubicBezTo>
                  <a:pt x="1643636" y="7163064"/>
                  <a:pt x="1649688" y="7150940"/>
                  <a:pt x="1649688" y="7138817"/>
                </a:cubicBezTo>
                <a:cubicBezTo>
                  <a:pt x="1716262" y="7138817"/>
                  <a:pt x="1782836" y="7132755"/>
                  <a:pt x="1843359" y="7126693"/>
                </a:cubicBezTo>
                <a:cubicBezTo>
                  <a:pt x="1843359" y="7138817"/>
                  <a:pt x="1837306" y="7150940"/>
                  <a:pt x="1831254" y="7163064"/>
                </a:cubicBezTo>
                <a:cubicBezTo>
                  <a:pt x="1843359" y="7163064"/>
                  <a:pt x="1873620" y="7169126"/>
                  <a:pt x="1879672" y="7163064"/>
                </a:cubicBezTo>
                <a:cubicBezTo>
                  <a:pt x="1934141" y="7047891"/>
                  <a:pt x="2043081" y="7066076"/>
                  <a:pt x="2133864" y="7041829"/>
                </a:cubicBezTo>
                <a:cubicBezTo>
                  <a:pt x="2145969" y="7041829"/>
                  <a:pt x="2145969" y="7011520"/>
                  <a:pt x="2158073" y="6987273"/>
                </a:cubicBezTo>
                <a:cubicBezTo>
                  <a:pt x="2188334" y="7005458"/>
                  <a:pt x="2218595" y="7023644"/>
                  <a:pt x="2254908" y="7047891"/>
                </a:cubicBezTo>
                <a:cubicBezTo>
                  <a:pt x="2285169" y="7023644"/>
                  <a:pt x="2327534" y="6999397"/>
                  <a:pt x="2351743" y="6969088"/>
                </a:cubicBezTo>
                <a:cubicBezTo>
                  <a:pt x="2375952" y="6938779"/>
                  <a:pt x="2424370" y="6890285"/>
                  <a:pt x="2333587" y="6878162"/>
                </a:cubicBezTo>
                <a:cubicBezTo>
                  <a:pt x="2291221" y="6872100"/>
                  <a:pt x="2248856" y="6859977"/>
                  <a:pt x="2200438" y="6853915"/>
                </a:cubicBezTo>
                <a:cubicBezTo>
                  <a:pt x="2085447" y="6878162"/>
                  <a:pt x="1970455" y="6902409"/>
                  <a:pt x="1849411" y="6926656"/>
                </a:cubicBezTo>
                <a:cubicBezTo>
                  <a:pt x="1825202" y="6926656"/>
                  <a:pt x="1788889" y="6932718"/>
                  <a:pt x="1770732" y="6914532"/>
                </a:cubicBezTo>
                <a:cubicBezTo>
                  <a:pt x="1667845" y="6829668"/>
                  <a:pt x="1571010" y="6878162"/>
                  <a:pt x="1474174" y="6920594"/>
                </a:cubicBezTo>
                <a:cubicBezTo>
                  <a:pt x="1371287" y="6969088"/>
                  <a:pt x="1268400" y="7017582"/>
                  <a:pt x="1165512" y="7066076"/>
                </a:cubicBezTo>
                <a:cubicBezTo>
                  <a:pt x="1159460" y="7060014"/>
                  <a:pt x="1159460" y="7053952"/>
                  <a:pt x="1153408" y="7041829"/>
                </a:cubicBezTo>
                <a:cubicBezTo>
                  <a:pt x="1268400" y="6969088"/>
                  <a:pt x="1377339" y="6896347"/>
                  <a:pt x="1492331" y="6817545"/>
                </a:cubicBezTo>
                <a:cubicBezTo>
                  <a:pt x="1498383" y="6829668"/>
                  <a:pt x="1504435" y="6835730"/>
                  <a:pt x="1510488" y="6847853"/>
                </a:cubicBezTo>
                <a:cubicBezTo>
                  <a:pt x="1516540" y="6823606"/>
                  <a:pt x="1516540" y="6793298"/>
                  <a:pt x="1522592" y="6775112"/>
                </a:cubicBezTo>
                <a:cubicBezTo>
                  <a:pt x="1389444" y="6793298"/>
                  <a:pt x="1262347" y="6835730"/>
                  <a:pt x="1135251" y="6756927"/>
                </a:cubicBezTo>
                <a:cubicBezTo>
                  <a:pt x="1086834" y="6726619"/>
                  <a:pt x="1032364" y="6708433"/>
                  <a:pt x="977894" y="6684186"/>
                </a:cubicBezTo>
                <a:cubicBezTo>
                  <a:pt x="899216" y="6641754"/>
                  <a:pt x="826589" y="6593260"/>
                  <a:pt x="747911" y="6550828"/>
                </a:cubicBezTo>
                <a:cubicBezTo>
                  <a:pt x="711597" y="6538705"/>
                  <a:pt x="675284" y="6526581"/>
                  <a:pt x="620814" y="6508396"/>
                </a:cubicBezTo>
                <a:cubicBezTo>
                  <a:pt x="645023" y="6411408"/>
                  <a:pt x="596605" y="6338667"/>
                  <a:pt x="457405" y="6338667"/>
                </a:cubicBezTo>
                <a:cubicBezTo>
                  <a:pt x="505823" y="6229556"/>
                  <a:pt x="475562" y="6199247"/>
                  <a:pt x="366622" y="6217433"/>
                </a:cubicBezTo>
                <a:cubicBezTo>
                  <a:pt x="263735" y="6235618"/>
                  <a:pt x="154795" y="6241680"/>
                  <a:pt x="27699" y="6259865"/>
                </a:cubicBezTo>
                <a:cubicBezTo>
                  <a:pt x="-8614" y="6223494"/>
                  <a:pt x="-20719" y="6187124"/>
                  <a:pt x="64012" y="6144692"/>
                </a:cubicBezTo>
                <a:cubicBezTo>
                  <a:pt x="269787" y="6023457"/>
                  <a:pt x="481614" y="5914346"/>
                  <a:pt x="669232" y="5774926"/>
                </a:cubicBezTo>
                <a:cubicBezTo>
                  <a:pt x="965790" y="5556703"/>
                  <a:pt x="1244191" y="5314234"/>
                  <a:pt x="1528644" y="5089950"/>
                </a:cubicBezTo>
                <a:cubicBezTo>
                  <a:pt x="1729124" y="4927041"/>
                  <a:pt x="1872864" y="4662313"/>
                  <a:pt x="2032266" y="4424520"/>
                </a:cubicBezTo>
                <a:lnTo>
                  <a:pt x="2087482" y="4346613"/>
                </a:lnTo>
                <a:lnTo>
                  <a:pt x="2087082" y="4340205"/>
                </a:lnTo>
                <a:cubicBezTo>
                  <a:pt x="2086325" y="4335658"/>
                  <a:pt x="2084812" y="4331112"/>
                  <a:pt x="2081786" y="4328081"/>
                </a:cubicBezTo>
                <a:cubicBezTo>
                  <a:pt x="2090865" y="4325050"/>
                  <a:pt x="2098430" y="4322019"/>
                  <a:pt x="2105995" y="4318989"/>
                </a:cubicBezTo>
                <a:lnTo>
                  <a:pt x="2107447" y="4318444"/>
                </a:lnTo>
                <a:lnTo>
                  <a:pt x="2119307" y="4301710"/>
                </a:lnTo>
                <a:lnTo>
                  <a:pt x="2105995" y="4291711"/>
                </a:lnTo>
                <a:cubicBezTo>
                  <a:pt x="2098430" y="4285649"/>
                  <a:pt x="2090865" y="4279588"/>
                  <a:pt x="2081786" y="4273526"/>
                </a:cubicBezTo>
                <a:cubicBezTo>
                  <a:pt x="2081786" y="4267464"/>
                  <a:pt x="2087838" y="4255340"/>
                  <a:pt x="2087838" y="4243217"/>
                </a:cubicBezTo>
                <a:lnTo>
                  <a:pt x="2168881" y="4240119"/>
                </a:lnTo>
                <a:lnTo>
                  <a:pt x="2235700" y="4160337"/>
                </a:lnTo>
                <a:cubicBezTo>
                  <a:pt x="2272403" y="4121208"/>
                  <a:pt x="2310891" y="4085216"/>
                  <a:pt x="2351743" y="4053392"/>
                </a:cubicBezTo>
                <a:lnTo>
                  <a:pt x="2429170" y="4002086"/>
                </a:lnTo>
                <a:lnTo>
                  <a:pt x="2287561" y="4031056"/>
                </a:lnTo>
                <a:cubicBezTo>
                  <a:pt x="2263352" y="4031056"/>
                  <a:pt x="2227039" y="4037118"/>
                  <a:pt x="2208882" y="4018932"/>
                </a:cubicBezTo>
                <a:cubicBezTo>
                  <a:pt x="2105995" y="3934068"/>
                  <a:pt x="2009160" y="3982562"/>
                  <a:pt x="1912324" y="4024994"/>
                </a:cubicBezTo>
                <a:cubicBezTo>
                  <a:pt x="1809437" y="4073488"/>
                  <a:pt x="1706550" y="4121982"/>
                  <a:pt x="1603662" y="4170476"/>
                </a:cubicBezTo>
                <a:cubicBezTo>
                  <a:pt x="1597610" y="4164414"/>
                  <a:pt x="1597610" y="4158352"/>
                  <a:pt x="1591558" y="4146229"/>
                </a:cubicBezTo>
                <a:cubicBezTo>
                  <a:pt x="1706550" y="4073488"/>
                  <a:pt x="1815489" y="4000747"/>
                  <a:pt x="1930481" y="3921945"/>
                </a:cubicBezTo>
                <a:cubicBezTo>
                  <a:pt x="1936533" y="3934068"/>
                  <a:pt x="1942585" y="3940130"/>
                  <a:pt x="1948638" y="3952253"/>
                </a:cubicBezTo>
                <a:cubicBezTo>
                  <a:pt x="1954690" y="3928006"/>
                  <a:pt x="1954690" y="3897698"/>
                  <a:pt x="1960742" y="3879512"/>
                </a:cubicBezTo>
                <a:cubicBezTo>
                  <a:pt x="1827594" y="3897698"/>
                  <a:pt x="1700497" y="3940130"/>
                  <a:pt x="1573401" y="3861327"/>
                </a:cubicBezTo>
                <a:cubicBezTo>
                  <a:pt x="1524984" y="3831019"/>
                  <a:pt x="1470514" y="3812833"/>
                  <a:pt x="1416044" y="3788586"/>
                </a:cubicBezTo>
                <a:cubicBezTo>
                  <a:pt x="1337366" y="3746154"/>
                  <a:pt x="1264739" y="3697660"/>
                  <a:pt x="1186061" y="3655228"/>
                </a:cubicBezTo>
                <a:cubicBezTo>
                  <a:pt x="1149747" y="3643105"/>
                  <a:pt x="1113434" y="3630981"/>
                  <a:pt x="1058964" y="3612796"/>
                </a:cubicBezTo>
                <a:cubicBezTo>
                  <a:pt x="1083173" y="3515808"/>
                  <a:pt x="1034755" y="3443067"/>
                  <a:pt x="895555" y="3443067"/>
                </a:cubicBezTo>
                <a:cubicBezTo>
                  <a:pt x="943973" y="3333956"/>
                  <a:pt x="913712" y="3303647"/>
                  <a:pt x="804772" y="3321833"/>
                </a:cubicBezTo>
                <a:cubicBezTo>
                  <a:pt x="701885" y="3340018"/>
                  <a:pt x="592945" y="3346080"/>
                  <a:pt x="465849" y="3364265"/>
                </a:cubicBezTo>
                <a:cubicBezTo>
                  <a:pt x="429536" y="3327894"/>
                  <a:pt x="417431" y="3291524"/>
                  <a:pt x="502162" y="3249092"/>
                </a:cubicBezTo>
                <a:cubicBezTo>
                  <a:pt x="707937" y="3127857"/>
                  <a:pt x="919764" y="3018746"/>
                  <a:pt x="1107382" y="2879326"/>
                </a:cubicBezTo>
                <a:cubicBezTo>
                  <a:pt x="1403940" y="2661103"/>
                  <a:pt x="1682341" y="2418634"/>
                  <a:pt x="1966794" y="2194350"/>
                </a:cubicBezTo>
                <a:cubicBezTo>
                  <a:pt x="2287561" y="1933695"/>
                  <a:pt x="2463075" y="1412385"/>
                  <a:pt x="2789893" y="1157792"/>
                </a:cubicBezTo>
                <a:cubicBezTo>
                  <a:pt x="3165130" y="866829"/>
                  <a:pt x="3685619" y="848643"/>
                  <a:pt x="4060855" y="563742"/>
                </a:cubicBezTo>
                <a:cubicBezTo>
                  <a:pt x="4260577" y="406137"/>
                  <a:pt x="4460300" y="242470"/>
                  <a:pt x="4660023" y="78803"/>
                </a:cubicBezTo>
                <a:cubicBezTo>
                  <a:pt x="4702388" y="48494"/>
                  <a:pt x="4720545" y="6062"/>
                  <a:pt x="4787119" y="66679"/>
                </a:cubicBezTo>
                <a:cubicBezTo>
                  <a:pt x="4817380" y="90926"/>
                  <a:pt x="4920267" y="30309"/>
                  <a:pt x="5004998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6201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0"/>
          </p:nvPr>
        </p:nvSpPr>
        <p:spPr>
          <a:xfrm>
            <a:off x="101592" y="285753"/>
            <a:ext cx="12090408" cy="5238749"/>
          </a:xfrm>
          <a:custGeom>
            <a:avLst/>
            <a:gdLst>
              <a:gd name="connsiteX0" fmla="*/ 4906702 w 9485517"/>
              <a:gd name="connsiteY0" fmla="*/ 332 h 4110055"/>
              <a:gd name="connsiteX1" fmla="*/ 5555718 w 9485517"/>
              <a:gd name="connsiteY1" fmla="*/ 33094 h 4110055"/>
              <a:gd name="connsiteX2" fmla="*/ 7577737 w 9485517"/>
              <a:gd name="connsiteY2" fmla="*/ 468485 h 4110055"/>
              <a:gd name="connsiteX3" fmla="*/ 8685848 w 9485517"/>
              <a:gd name="connsiteY3" fmla="*/ 949707 h 4110055"/>
              <a:gd name="connsiteX4" fmla="*/ 9485517 w 9485517"/>
              <a:gd name="connsiteY4" fmla="*/ 1385098 h 4110055"/>
              <a:gd name="connsiteX5" fmla="*/ 9142802 w 9485517"/>
              <a:gd name="connsiteY5" fmla="*/ 1385098 h 4110055"/>
              <a:gd name="connsiteX6" fmla="*/ 9154226 w 9485517"/>
              <a:gd name="connsiteY6" fmla="*/ 1545506 h 4110055"/>
              <a:gd name="connsiteX7" fmla="*/ 9005716 w 9485517"/>
              <a:gd name="connsiteY7" fmla="*/ 1545506 h 4110055"/>
              <a:gd name="connsiteX8" fmla="*/ 8491644 w 9485517"/>
              <a:gd name="connsiteY8" fmla="*/ 1408013 h 4110055"/>
              <a:gd name="connsiteX9" fmla="*/ 8091809 w 9485517"/>
              <a:gd name="connsiteY9" fmla="*/ 1453844 h 4110055"/>
              <a:gd name="connsiteX10" fmla="*/ 7920451 w 9485517"/>
              <a:gd name="connsiteY10" fmla="*/ 1430929 h 4110055"/>
              <a:gd name="connsiteX11" fmla="*/ 7463498 w 9485517"/>
              <a:gd name="connsiteY11" fmla="*/ 1304894 h 4110055"/>
              <a:gd name="connsiteX12" fmla="*/ 7707683 w 9485517"/>
              <a:gd name="connsiteY12" fmla="*/ 1594201 h 4110055"/>
              <a:gd name="connsiteX13" fmla="*/ 7755161 w 9485517"/>
              <a:gd name="connsiteY13" fmla="*/ 1650204 h 4110055"/>
              <a:gd name="connsiteX14" fmla="*/ 8016510 w 9485517"/>
              <a:gd name="connsiteY14" fmla="*/ 1785524 h 4110055"/>
              <a:gd name="connsiteX15" fmla="*/ 8294760 w 9485517"/>
              <a:gd name="connsiteY15" fmla="*/ 1944290 h 4110055"/>
              <a:gd name="connsiteX16" fmla="*/ 8058789 w 9485517"/>
              <a:gd name="connsiteY16" fmla="*/ 1944290 h 4110055"/>
              <a:gd name="connsiteX17" fmla="*/ 8066654 w 9485517"/>
              <a:gd name="connsiteY17" fmla="*/ 2054736 h 4110055"/>
              <a:gd name="connsiteX18" fmla="*/ 7964400 w 9485517"/>
              <a:gd name="connsiteY18" fmla="*/ 2054736 h 4110055"/>
              <a:gd name="connsiteX19" fmla="*/ 7610443 w 9485517"/>
              <a:gd name="connsiteY19" fmla="*/ 1960068 h 4110055"/>
              <a:gd name="connsiteX20" fmla="*/ 7335141 w 9485517"/>
              <a:gd name="connsiteY20" fmla="*/ 1991624 h 4110055"/>
              <a:gd name="connsiteX21" fmla="*/ 7217156 w 9485517"/>
              <a:gd name="connsiteY21" fmla="*/ 1975846 h 4110055"/>
              <a:gd name="connsiteX22" fmla="*/ 6902527 w 9485517"/>
              <a:gd name="connsiteY22" fmla="*/ 1889067 h 4110055"/>
              <a:gd name="connsiteX23" fmla="*/ 7209290 w 9485517"/>
              <a:gd name="connsiteY23" fmla="*/ 2251962 h 4110055"/>
              <a:gd name="connsiteX24" fmla="*/ 5455234 w 9485517"/>
              <a:gd name="connsiteY24" fmla="*/ 2046847 h 4110055"/>
              <a:gd name="connsiteX25" fmla="*/ 5478831 w 9485517"/>
              <a:gd name="connsiteY25" fmla="*/ 2102070 h 4110055"/>
              <a:gd name="connsiteX26" fmla="*/ 5408040 w 9485517"/>
              <a:gd name="connsiteY26" fmla="*/ 2149404 h 4110055"/>
              <a:gd name="connsiteX27" fmla="*/ 4597870 w 9485517"/>
              <a:gd name="connsiteY27" fmla="*/ 2267740 h 4110055"/>
              <a:gd name="connsiteX28" fmla="*/ 4505817 w 9485517"/>
              <a:gd name="connsiteY28" fmla="*/ 2289573 h 4110055"/>
              <a:gd name="connsiteX29" fmla="*/ 4442672 w 9485517"/>
              <a:gd name="connsiteY29" fmla="*/ 2313168 h 4110055"/>
              <a:gd name="connsiteX30" fmla="*/ 4744626 w 9485517"/>
              <a:gd name="connsiteY30" fmla="*/ 2313168 h 4110055"/>
              <a:gd name="connsiteX31" fmla="*/ 4744626 w 9485517"/>
              <a:gd name="connsiteY31" fmla="*/ 2393372 h 4110055"/>
              <a:gd name="connsiteX32" fmla="*/ 4269750 w 9485517"/>
              <a:gd name="connsiteY32" fmla="*/ 2393372 h 4110055"/>
              <a:gd name="connsiteX33" fmla="*/ 4245880 w 9485517"/>
              <a:gd name="connsiteY33" fmla="*/ 2404811 h 4110055"/>
              <a:gd name="connsiteX34" fmla="*/ 4159725 w 9485517"/>
              <a:gd name="connsiteY34" fmla="*/ 2445320 h 4110055"/>
              <a:gd name="connsiteX35" fmla="*/ 4132551 w 9485517"/>
              <a:gd name="connsiteY35" fmla="*/ 2455872 h 4110055"/>
              <a:gd name="connsiteX36" fmla="*/ 4523289 w 9485517"/>
              <a:gd name="connsiteY36" fmla="*/ 2513678 h 4110055"/>
              <a:gd name="connsiteX37" fmla="*/ 4865826 w 9485517"/>
              <a:gd name="connsiteY37" fmla="*/ 2561299 h 4110055"/>
              <a:gd name="connsiteX38" fmla="*/ 5024345 w 9485517"/>
              <a:gd name="connsiteY38" fmla="*/ 2583300 h 4110055"/>
              <a:gd name="connsiteX39" fmla="*/ 5030485 w 9485517"/>
              <a:gd name="connsiteY39" fmla="*/ 2583300 h 4110055"/>
              <a:gd name="connsiteX40" fmla="*/ 5030485 w 9485517"/>
              <a:gd name="connsiteY40" fmla="*/ 2584152 h 4110055"/>
              <a:gd name="connsiteX41" fmla="*/ 5224427 w 9485517"/>
              <a:gd name="connsiteY41" fmla="*/ 2611069 h 4110055"/>
              <a:gd name="connsiteX42" fmla="*/ 4763190 w 9485517"/>
              <a:gd name="connsiteY42" fmla="*/ 2695032 h 4110055"/>
              <a:gd name="connsiteX43" fmla="*/ 4734901 w 9485517"/>
              <a:gd name="connsiteY43" fmla="*/ 2700175 h 4110055"/>
              <a:gd name="connsiteX44" fmla="*/ 4878087 w 9485517"/>
              <a:gd name="connsiteY44" fmla="*/ 2721358 h 4110055"/>
              <a:gd name="connsiteX45" fmla="*/ 5360845 w 9485517"/>
              <a:gd name="connsiteY45" fmla="*/ 2788415 h 4110055"/>
              <a:gd name="connsiteX46" fmla="*/ 4149524 w 9485517"/>
              <a:gd name="connsiteY46" fmla="*/ 3009307 h 4110055"/>
              <a:gd name="connsiteX47" fmla="*/ 4149524 w 9485517"/>
              <a:gd name="connsiteY47" fmla="*/ 3056641 h 4110055"/>
              <a:gd name="connsiteX48" fmla="*/ 4416959 w 9485517"/>
              <a:gd name="connsiteY48" fmla="*/ 3119753 h 4110055"/>
              <a:gd name="connsiteX49" fmla="*/ 4416959 w 9485517"/>
              <a:gd name="connsiteY49" fmla="*/ 3151309 h 4110055"/>
              <a:gd name="connsiteX50" fmla="*/ 4055135 w 9485517"/>
              <a:gd name="connsiteY50" fmla="*/ 3174976 h 4110055"/>
              <a:gd name="connsiteX51" fmla="*/ 4055135 w 9485517"/>
              <a:gd name="connsiteY51" fmla="*/ 3190754 h 4110055"/>
              <a:gd name="connsiteX52" fmla="*/ 4393362 w 9485517"/>
              <a:gd name="connsiteY52" fmla="*/ 3222310 h 4110055"/>
              <a:gd name="connsiteX53" fmla="*/ 4330436 w 9485517"/>
              <a:gd name="connsiteY53" fmla="*/ 3277533 h 4110055"/>
              <a:gd name="connsiteX54" fmla="*/ 4456288 w 9485517"/>
              <a:gd name="connsiteY54" fmla="*/ 3316978 h 4110055"/>
              <a:gd name="connsiteX55" fmla="*/ 4306839 w 9485517"/>
              <a:gd name="connsiteY55" fmla="*/ 3356423 h 4110055"/>
              <a:gd name="connsiteX56" fmla="*/ 3205638 w 9485517"/>
              <a:gd name="connsiteY56" fmla="*/ 3553648 h 4110055"/>
              <a:gd name="connsiteX57" fmla="*/ 2206691 w 9485517"/>
              <a:gd name="connsiteY57" fmla="*/ 3813986 h 4110055"/>
              <a:gd name="connsiteX58" fmla="*/ 1923525 w 9485517"/>
              <a:gd name="connsiteY58" fmla="*/ 3798208 h 4110055"/>
              <a:gd name="connsiteX59" fmla="*/ 1904721 w 9485517"/>
              <a:gd name="connsiteY59" fmla="*/ 3785758 h 4110055"/>
              <a:gd name="connsiteX60" fmla="*/ 1891121 w 9485517"/>
              <a:gd name="connsiteY60" fmla="*/ 3770403 h 4110055"/>
              <a:gd name="connsiteX61" fmla="*/ 1727841 w 9485517"/>
              <a:gd name="connsiteY61" fmla="*/ 3808931 h 4110055"/>
              <a:gd name="connsiteX62" fmla="*/ 643470 w 9485517"/>
              <a:gd name="connsiteY62" fmla="*/ 4100564 h 4110055"/>
              <a:gd name="connsiteX63" fmla="*/ 232211 w 9485517"/>
              <a:gd name="connsiteY63" fmla="*/ 4077649 h 4110055"/>
              <a:gd name="connsiteX64" fmla="*/ 129396 w 9485517"/>
              <a:gd name="connsiteY64" fmla="*/ 3951614 h 4110055"/>
              <a:gd name="connsiteX65" fmla="*/ 129396 w 9485517"/>
              <a:gd name="connsiteY65" fmla="*/ 3837038 h 4110055"/>
              <a:gd name="connsiteX66" fmla="*/ 152244 w 9485517"/>
              <a:gd name="connsiteY66" fmla="*/ 2828764 h 4110055"/>
              <a:gd name="connsiteX67" fmla="*/ 620622 w 9485517"/>
              <a:gd name="connsiteY67" fmla="*/ 1854862 h 4110055"/>
              <a:gd name="connsiteX68" fmla="*/ 2985355 w 9485517"/>
              <a:gd name="connsiteY68" fmla="*/ 204959 h 4110055"/>
              <a:gd name="connsiteX69" fmla="*/ 4906702 w 9485517"/>
              <a:gd name="connsiteY69" fmla="*/ 332 h 4110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9485517" h="4110055">
                <a:moveTo>
                  <a:pt x="4906702" y="332"/>
                </a:moveTo>
                <a:cubicBezTo>
                  <a:pt x="5122326" y="2302"/>
                  <a:pt x="5338666" y="13044"/>
                  <a:pt x="5555718" y="33094"/>
                </a:cubicBezTo>
                <a:cubicBezTo>
                  <a:pt x="6252572" y="101840"/>
                  <a:pt x="6926578" y="239332"/>
                  <a:pt x="7577737" y="468485"/>
                </a:cubicBezTo>
                <a:cubicBezTo>
                  <a:pt x="7954723" y="594520"/>
                  <a:pt x="8320286" y="777843"/>
                  <a:pt x="8685848" y="949707"/>
                </a:cubicBezTo>
                <a:cubicBezTo>
                  <a:pt x="8948596" y="1075742"/>
                  <a:pt x="9211345" y="1224691"/>
                  <a:pt x="9485517" y="1385098"/>
                </a:cubicBezTo>
                <a:cubicBezTo>
                  <a:pt x="9371278" y="1385098"/>
                  <a:pt x="9257041" y="1385098"/>
                  <a:pt x="9142802" y="1385098"/>
                </a:cubicBezTo>
                <a:cubicBezTo>
                  <a:pt x="9142802" y="1430929"/>
                  <a:pt x="9142802" y="1488217"/>
                  <a:pt x="9154226" y="1545506"/>
                </a:cubicBezTo>
                <a:cubicBezTo>
                  <a:pt x="9108530" y="1545506"/>
                  <a:pt x="9051411" y="1556963"/>
                  <a:pt x="9005716" y="1545506"/>
                </a:cubicBezTo>
                <a:cubicBezTo>
                  <a:pt x="8834359" y="1499675"/>
                  <a:pt x="8663001" y="1430929"/>
                  <a:pt x="8491644" y="1408013"/>
                </a:cubicBezTo>
                <a:cubicBezTo>
                  <a:pt x="8354557" y="1385098"/>
                  <a:pt x="8206047" y="1281979"/>
                  <a:pt x="8091809" y="1453844"/>
                </a:cubicBezTo>
                <a:cubicBezTo>
                  <a:pt x="8068961" y="1476759"/>
                  <a:pt x="7977571" y="1442387"/>
                  <a:pt x="7920451" y="1430929"/>
                </a:cubicBezTo>
                <a:cubicBezTo>
                  <a:pt x="7783365" y="1396556"/>
                  <a:pt x="7646280" y="1350725"/>
                  <a:pt x="7463498" y="1304894"/>
                </a:cubicBezTo>
                <a:cubicBezTo>
                  <a:pt x="7554889" y="1413743"/>
                  <a:pt x="7634856" y="1508268"/>
                  <a:pt x="7707683" y="1594201"/>
                </a:cubicBezTo>
                <a:lnTo>
                  <a:pt x="7755161" y="1650204"/>
                </a:lnTo>
                <a:lnTo>
                  <a:pt x="8016510" y="1785524"/>
                </a:lnTo>
                <a:cubicBezTo>
                  <a:pt x="8107949" y="1835816"/>
                  <a:pt x="8200371" y="1889067"/>
                  <a:pt x="8294760" y="1944290"/>
                </a:cubicBezTo>
                <a:cubicBezTo>
                  <a:pt x="8216103" y="1944290"/>
                  <a:pt x="8137446" y="1944290"/>
                  <a:pt x="8058789" y="1944290"/>
                </a:cubicBezTo>
                <a:cubicBezTo>
                  <a:pt x="8058789" y="1975846"/>
                  <a:pt x="8058789" y="2015291"/>
                  <a:pt x="8066654" y="2054736"/>
                </a:cubicBezTo>
                <a:cubicBezTo>
                  <a:pt x="8035191" y="2054736"/>
                  <a:pt x="7995863" y="2062625"/>
                  <a:pt x="7964400" y="2054736"/>
                </a:cubicBezTo>
                <a:cubicBezTo>
                  <a:pt x="7846414" y="2023180"/>
                  <a:pt x="7728428" y="1975846"/>
                  <a:pt x="7610443" y="1960068"/>
                </a:cubicBezTo>
                <a:cubicBezTo>
                  <a:pt x="7516053" y="1944290"/>
                  <a:pt x="7413799" y="1873289"/>
                  <a:pt x="7335141" y="1991624"/>
                </a:cubicBezTo>
                <a:cubicBezTo>
                  <a:pt x="7319411" y="2007402"/>
                  <a:pt x="7256485" y="1983735"/>
                  <a:pt x="7217156" y="1975846"/>
                </a:cubicBezTo>
                <a:cubicBezTo>
                  <a:pt x="7122767" y="1952179"/>
                  <a:pt x="7028379" y="1920623"/>
                  <a:pt x="6902527" y="1889067"/>
                </a:cubicBezTo>
                <a:cubicBezTo>
                  <a:pt x="7028379" y="2038958"/>
                  <a:pt x="7122767" y="2149404"/>
                  <a:pt x="7209290" y="2251962"/>
                </a:cubicBezTo>
                <a:cubicBezTo>
                  <a:pt x="6642959" y="2180960"/>
                  <a:pt x="6045163" y="2117848"/>
                  <a:pt x="5455234" y="2046847"/>
                </a:cubicBezTo>
                <a:cubicBezTo>
                  <a:pt x="5463100" y="2070514"/>
                  <a:pt x="5470966" y="2086292"/>
                  <a:pt x="5478831" y="2102070"/>
                </a:cubicBezTo>
                <a:cubicBezTo>
                  <a:pt x="5455234" y="2117848"/>
                  <a:pt x="5431637" y="2141516"/>
                  <a:pt x="5408040" y="2149404"/>
                </a:cubicBezTo>
                <a:cubicBezTo>
                  <a:pt x="5140606" y="2188850"/>
                  <a:pt x="4865305" y="2236184"/>
                  <a:pt x="4597870" y="2267740"/>
                </a:cubicBezTo>
                <a:cubicBezTo>
                  <a:pt x="4566408" y="2272670"/>
                  <a:pt x="4535805" y="2280189"/>
                  <a:pt x="4505817" y="2289573"/>
                </a:cubicBezTo>
                <a:lnTo>
                  <a:pt x="4442672" y="2313168"/>
                </a:lnTo>
                <a:lnTo>
                  <a:pt x="4744626" y="2313168"/>
                </a:lnTo>
                <a:cubicBezTo>
                  <a:pt x="4744626" y="2336085"/>
                  <a:pt x="4744626" y="2370457"/>
                  <a:pt x="4744626" y="2393372"/>
                </a:cubicBezTo>
                <a:lnTo>
                  <a:pt x="4269750" y="2393372"/>
                </a:lnTo>
                <a:lnTo>
                  <a:pt x="4245880" y="2404811"/>
                </a:lnTo>
                <a:cubicBezTo>
                  <a:pt x="4217366" y="2418864"/>
                  <a:pt x="4188730" y="2432608"/>
                  <a:pt x="4159725" y="2445320"/>
                </a:cubicBezTo>
                <a:lnTo>
                  <a:pt x="4132551" y="2455872"/>
                </a:lnTo>
                <a:lnTo>
                  <a:pt x="4523289" y="2513678"/>
                </a:lnTo>
                <a:cubicBezTo>
                  <a:pt x="4635386" y="2529432"/>
                  <a:pt x="4749267" y="2545187"/>
                  <a:pt x="4865826" y="2561299"/>
                </a:cubicBezTo>
                <a:lnTo>
                  <a:pt x="5024345" y="2583300"/>
                </a:lnTo>
                <a:lnTo>
                  <a:pt x="5030485" y="2583300"/>
                </a:lnTo>
                <a:lnTo>
                  <a:pt x="5030485" y="2584152"/>
                </a:lnTo>
                <a:lnTo>
                  <a:pt x="5224427" y="2611069"/>
                </a:lnTo>
                <a:cubicBezTo>
                  <a:pt x="5067349" y="2639713"/>
                  <a:pt x="4913842" y="2667641"/>
                  <a:pt x="4763190" y="2695032"/>
                </a:cubicBezTo>
                <a:lnTo>
                  <a:pt x="4734901" y="2700175"/>
                </a:lnTo>
                <a:lnTo>
                  <a:pt x="4878087" y="2721358"/>
                </a:lnTo>
                <a:cubicBezTo>
                  <a:pt x="5032452" y="2743053"/>
                  <a:pt x="5191732" y="2764747"/>
                  <a:pt x="5360845" y="2788415"/>
                </a:cubicBezTo>
                <a:cubicBezTo>
                  <a:pt x="4928231" y="2867305"/>
                  <a:pt x="4534945" y="2938306"/>
                  <a:pt x="4149524" y="3009307"/>
                </a:cubicBezTo>
                <a:cubicBezTo>
                  <a:pt x="4149524" y="3025085"/>
                  <a:pt x="4149524" y="3040863"/>
                  <a:pt x="4149524" y="3056641"/>
                </a:cubicBezTo>
                <a:cubicBezTo>
                  <a:pt x="4236047" y="3080308"/>
                  <a:pt x="4330436" y="3103975"/>
                  <a:pt x="4416959" y="3119753"/>
                </a:cubicBezTo>
                <a:cubicBezTo>
                  <a:pt x="4416959" y="3135531"/>
                  <a:pt x="4416959" y="3143420"/>
                  <a:pt x="4416959" y="3151309"/>
                </a:cubicBezTo>
                <a:cubicBezTo>
                  <a:pt x="4298973" y="3159198"/>
                  <a:pt x="4173122" y="3167087"/>
                  <a:pt x="4055135" y="3174976"/>
                </a:cubicBezTo>
                <a:cubicBezTo>
                  <a:pt x="4055135" y="3182865"/>
                  <a:pt x="4055135" y="3190754"/>
                  <a:pt x="4055135" y="3190754"/>
                </a:cubicBezTo>
                <a:cubicBezTo>
                  <a:pt x="4157390" y="3206532"/>
                  <a:pt x="4267510" y="3214421"/>
                  <a:pt x="4393362" y="3222310"/>
                </a:cubicBezTo>
                <a:cubicBezTo>
                  <a:pt x="4361899" y="3245977"/>
                  <a:pt x="4346168" y="3261755"/>
                  <a:pt x="4330436" y="3277533"/>
                </a:cubicBezTo>
                <a:cubicBezTo>
                  <a:pt x="4354033" y="3285422"/>
                  <a:pt x="4385496" y="3293311"/>
                  <a:pt x="4456288" y="3316978"/>
                </a:cubicBezTo>
                <a:cubicBezTo>
                  <a:pt x="4377630" y="3332756"/>
                  <a:pt x="4346168" y="3348534"/>
                  <a:pt x="4306839" y="3356423"/>
                </a:cubicBezTo>
                <a:cubicBezTo>
                  <a:pt x="3937149" y="3419535"/>
                  <a:pt x="3567461" y="3474759"/>
                  <a:pt x="3205638" y="3553648"/>
                </a:cubicBezTo>
                <a:cubicBezTo>
                  <a:pt x="2867411" y="3624650"/>
                  <a:pt x="2537051" y="3735096"/>
                  <a:pt x="2206691" y="3813986"/>
                </a:cubicBezTo>
                <a:cubicBezTo>
                  <a:pt x="2120168" y="3829764"/>
                  <a:pt x="2017913" y="3813986"/>
                  <a:pt x="1923525" y="3798208"/>
                </a:cubicBezTo>
                <a:cubicBezTo>
                  <a:pt x="1917625" y="3796236"/>
                  <a:pt x="1911235" y="3791798"/>
                  <a:pt x="1904721" y="3785758"/>
                </a:cubicBezTo>
                <a:lnTo>
                  <a:pt x="1891121" y="3770403"/>
                </a:lnTo>
                <a:lnTo>
                  <a:pt x="1727841" y="3808931"/>
                </a:lnTo>
                <a:cubicBezTo>
                  <a:pt x="1363171" y="3902920"/>
                  <a:pt x="1003320" y="4014632"/>
                  <a:pt x="643470" y="4100564"/>
                </a:cubicBezTo>
                <a:cubicBezTo>
                  <a:pt x="517807" y="4123479"/>
                  <a:pt x="369297" y="4100564"/>
                  <a:pt x="232211" y="4077649"/>
                </a:cubicBezTo>
                <a:cubicBezTo>
                  <a:pt x="197940" y="4066191"/>
                  <a:pt x="152244" y="3997445"/>
                  <a:pt x="129396" y="3951614"/>
                </a:cubicBezTo>
                <a:cubicBezTo>
                  <a:pt x="117973" y="3917242"/>
                  <a:pt x="140821" y="3859953"/>
                  <a:pt x="129396" y="3837038"/>
                </a:cubicBezTo>
                <a:cubicBezTo>
                  <a:pt x="-133352" y="3493308"/>
                  <a:pt x="72277" y="3149578"/>
                  <a:pt x="152244" y="2828764"/>
                </a:cubicBezTo>
                <a:cubicBezTo>
                  <a:pt x="255058" y="2485034"/>
                  <a:pt x="414992" y="2141304"/>
                  <a:pt x="620622" y="1854862"/>
                </a:cubicBezTo>
                <a:cubicBezTo>
                  <a:pt x="1214661" y="1029910"/>
                  <a:pt x="1980058" y="434113"/>
                  <a:pt x="2985355" y="204959"/>
                </a:cubicBezTo>
                <a:cubicBezTo>
                  <a:pt x="3619378" y="67467"/>
                  <a:pt x="4259827" y="-5576"/>
                  <a:pt x="4906702" y="332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0487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0"/>
          </p:nvPr>
        </p:nvSpPr>
        <p:spPr>
          <a:xfrm>
            <a:off x="5695950" y="0"/>
            <a:ext cx="5829300" cy="7051380"/>
          </a:xfrm>
          <a:custGeom>
            <a:avLst/>
            <a:gdLst>
              <a:gd name="connsiteX0" fmla="*/ 4742410 w 5829300"/>
              <a:gd name="connsiteY0" fmla="*/ 0 h 7051380"/>
              <a:gd name="connsiteX1" fmla="*/ 4760626 w 5829300"/>
              <a:gd name="connsiteY1" fmla="*/ 15182 h 7051380"/>
              <a:gd name="connsiteX2" fmla="*/ 4684726 w 5829300"/>
              <a:gd name="connsiteY2" fmla="*/ 139673 h 7051380"/>
              <a:gd name="connsiteX3" fmla="*/ 4702942 w 5829300"/>
              <a:gd name="connsiteY3" fmla="*/ 154855 h 7051380"/>
              <a:gd name="connsiteX4" fmla="*/ 4787950 w 5829300"/>
              <a:gd name="connsiteY4" fmla="*/ 24291 h 7051380"/>
              <a:gd name="connsiteX5" fmla="*/ 4818310 w 5829300"/>
              <a:gd name="connsiteY5" fmla="*/ 45546 h 7051380"/>
              <a:gd name="connsiteX6" fmla="*/ 4775806 w 5829300"/>
              <a:gd name="connsiteY6" fmla="*/ 194328 h 7051380"/>
              <a:gd name="connsiteX7" fmla="*/ 4794022 w 5829300"/>
              <a:gd name="connsiteY7" fmla="*/ 203437 h 7051380"/>
              <a:gd name="connsiteX8" fmla="*/ 4994398 w 5829300"/>
              <a:gd name="connsiteY8" fmla="*/ 6073 h 7051380"/>
              <a:gd name="connsiteX9" fmla="*/ 4942786 w 5829300"/>
              <a:gd name="connsiteY9" fmla="*/ 252019 h 7051380"/>
              <a:gd name="connsiteX10" fmla="*/ 5143163 w 5829300"/>
              <a:gd name="connsiteY10" fmla="*/ 194328 h 7051380"/>
              <a:gd name="connsiteX11" fmla="*/ 5176559 w 5829300"/>
              <a:gd name="connsiteY11" fmla="*/ 170037 h 7051380"/>
              <a:gd name="connsiteX12" fmla="*/ 5176559 w 5829300"/>
              <a:gd name="connsiteY12" fmla="*/ 212546 h 7051380"/>
              <a:gd name="connsiteX13" fmla="*/ 5134054 w 5829300"/>
              <a:gd name="connsiteY13" fmla="*/ 297564 h 7051380"/>
              <a:gd name="connsiteX14" fmla="*/ 5340504 w 5829300"/>
              <a:gd name="connsiteY14" fmla="*/ 127528 h 7051380"/>
              <a:gd name="connsiteX15" fmla="*/ 5334431 w 5829300"/>
              <a:gd name="connsiteY15" fmla="*/ 209510 h 7051380"/>
              <a:gd name="connsiteX16" fmla="*/ 5510520 w 5829300"/>
              <a:gd name="connsiteY16" fmla="*/ 91091 h 7051380"/>
              <a:gd name="connsiteX17" fmla="*/ 5522664 w 5829300"/>
              <a:gd name="connsiteY17" fmla="*/ 100201 h 7051380"/>
              <a:gd name="connsiteX18" fmla="*/ 5431583 w 5829300"/>
              <a:gd name="connsiteY18" fmla="*/ 236837 h 7051380"/>
              <a:gd name="connsiteX19" fmla="*/ 5455872 w 5829300"/>
              <a:gd name="connsiteY19" fmla="*/ 258092 h 7051380"/>
              <a:gd name="connsiteX20" fmla="*/ 5543915 w 5829300"/>
              <a:gd name="connsiteY20" fmla="*/ 118418 h 7051380"/>
              <a:gd name="connsiteX21" fmla="*/ 5580348 w 5829300"/>
              <a:gd name="connsiteY21" fmla="*/ 151819 h 7051380"/>
              <a:gd name="connsiteX22" fmla="*/ 5352647 w 5829300"/>
              <a:gd name="connsiteY22" fmla="*/ 428128 h 7051380"/>
              <a:gd name="connsiteX23" fmla="*/ 5370864 w 5829300"/>
              <a:gd name="connsiteY23" fmla="*/ 443310 h 7051380"/>
              <a:gd name="connsiteX24" fmla="*/ 5747328 w 5829300"/>
              <a:gd name="connsiteY24" fmla="*/ 75909 h 7051380"/>
              <a:gd name="connsiteX25" fmla="*/ 5583384 w 5829300"/>
              <a:gd name="connsiteY25" fmla="*/ 422056 h 7051380"/>
              <a:gd name="connsiteX26" fmla="*/ 5647140 w 5829300"/>
              <a:gd name="connsiteY26" fmla="*/ 473674 h 7051380"/>
              <a:gd name="connsiteX27" fmla="*/ 5680536 w 5829300"/>
              <a:gd name="connsiteY27" fmla="*/ 643711 h 7051380"/>
              <a:gd name="connsiteX28" fmla="*/ 5583384 w 5829300"/>
              <a:gd name="connsiteY28" fmla="*/ 838038 h 7051380"/>
              <a:gd name="connsiteX29" fmla="*/ 5692680 w 5829300"/>
              <a:gd name="connsiteY29" fmla="*/ 771238 h 7051380"/>
              <a:gd name="connsiteX30" fmla="*/ 5710896 w 5829300"/>
              <a:gd name="connsiteY30" fmla="*/ 783384 h 7051380"/>
              <a:gd name="connsiteX31" fmla="*/ 5549988 w 5829300"/>
              <a:gd name="connsiteY31" fmla="*/ 1102202 h 7051380"/>
              <a:gd name="connsiteX32" fmla="*/ 5565168 w 5829300"/>
              <a:gd name="connsiteY32" fmla="*/ 1159894 h 7051380"/>
              <a:gd name="connsiteX33" fmla="*/ 5619816 w 5829300"/>
              <a:gd name="connsiteY33" fmla="*/ 1342076 h 7051380"/>
              <a:gd name="connsiteX34" fmla="*/ 5404259 w 5829300"/>
              <a:gd name="connsiteY34" fmla="*/ 1824859 h 7051380"/>
              <a:gd name="connsiteX35" fmla="*/ 5410332 w 5829300"/>
              <a:gd name="connsiteY35" fmla="*/ 1867368 h 7051380"/>
              <a:gd name="connsiteX36" fmla="*/ 5446763 w 5829300"/>
              <a:gd name="connsiteY36" fmla="*/ 1985787 h 7051380"/>
              <a:gd name="connsiteX37" fmla="*/ 5577312 w 5829300"/>
              <a:gd name="connsiteY37" fmla="*/ 1864332 h 7051380"/>
              <a:gd name="connsiteX38" fmla="*/ 5589456 w 5829300"/>
              <a:gd name="connsiteY38" fmla="*/ 1870404 h 7051380"/>
              <a:gd name="connsiteX39" fmla="*/ 5549988 w 5829300"/>
              <a:gd name="connsiteY39" fmla="*/ 2000968 h 7051380"/>
              <a:gd name="connsiteX40" fmla="*/ 5741256 w 5829300"/>
              <a:gd name="connsiteY40" fmla="*/ 1915950 h 7051380"/>
              <a:gd name="connsiteX41" fmla="*/ 5668392 w 5829300"/>
              <a:gd name="connsiteY41" fmla="*/ 2079914 h 7051380"/>
              <a:gd name="connsiteX42" fmla="*/ 5692680 w 5829300"/>
              <a:gd name="connsiteY42" fmla="*/ 2237806 h 7051380"/>
              <a:gd name="connsiteX43" fmla="*/ 5811085 w 5829300"/>
              <a:gd name="connsiteY43" fmla="*/ 2128496 h 7051380"/>
              <a:gd name="connsiteX44" fmla="*/ 5829300 w 5829300"/>
              <a:gd name="connsiteY44" fmla="*/ 2137605 h 7051380"/>
              <a:gd name="connsiteX45" fmla="*/ 5747328 w 5829300"/>
              <a:gd name="connsiteY45" fmla="*/ 2295496 h 7051380"/>
              <a:gd name="connsiteX46" fmla="*/ 5786796 w 5829300"/>
              <a:gd name="connsiteY46" fmla="*/ 2404805 h 7051380"/>
              <a:gd name="connsiteX47" fmla="*/ 5437276 w 5829300"/>
              <a:gd name="connsiteY47" fmla="*/ 3134673 h 7051380"/>
              <a:gd name="connsiteX48" fmla="*/ 5272826 w 5829300"/>
              <a:gd name="connsiteY48" fmla="*/ 3443994 h 7051380"/>
              <a:gd name="connsiteX49" fmla="*/ 5307909 w 5829300"/>
              <a:gd name="connsiteY49" fmla="*/ 3476943 h 7051380"/>
              <a:gd name="connsiteX50" fmla="*/ 5294971 w 5829300"/>
              <a:gd name="connsiteY50" fmla="*/ 3616394 h 7051380"/>
              <a:gd name="connsiteX51" fmla="*/ 5427857 w 5829300"/>
              <a:gd name="connsiteY51" fmla="*/ 3493716 h 7051380"/>
              <a:gd name="connsiteX52" fmla="*/ 5448300 w 5829300"/>
              <a:gd name="connsiteY52" fmla="*/ 3503939 h 7051380"/>
              <a:gd name="connsiteX53" fmla="*/ 5356303 w 5829300"/>
              <a:gd name="connsiteY53" fmla="*/ 3681141 h 7051380"/>
              <a:gd name="connsiteX54" fmla="*/ 5400598 w 5829300"/>
              <a:gd name="connsiteY54" fmla="*/ 3803818 h 7051380"/>
              <a:gd name="connsiteX55" fmla="*/ 4572620 w 5829300"/>
              <a:gd name="connsiteY55" fmla="*/ 5419081 h 7051380"/>
              <a:gd name="connsiteX56" fmla="*/ 4313664 w 5829300"/>
              <a:gd name="connsiteY56" fmla="*/ 5926832 h 7051380"/>
              <a:gd name="connsiteX57" fmla="*/ 4300035 w 5829300"/>
              <a:gd name="connsiteY57" fmla="*/ 5828007 h 7051380"/>
              <a:gd name="connsiteX58" fmla="*/ 4364773 w 5829300"/>
              <a:gd name="connsiteY58" fmla="*/ 5582651 h 7051380"/>
              <a:gd name="connsiteX59" fmla="*/ 4323886 w 5829300"/>
              <a:gd name="connsiteY59" fmla="*/ 5637175 h 7051380"/>
              <a:gd name="connsiteX60" fmla="*/ 4310257 w 5829300"/>
              <a:gd name="connsiteY60" fmla="*/ 5630359 h 7051380"/>
              <a:gd name="connsiteX61" fmla="*/ 4429512 w 5829300"/>
              <a:gd name="connsiteY61" fmla="*/ 5310033 h 7051380"/>
              <a:gd name="connsiteX62" fmla="*/ 4409069 w 5829300"/>
              <a:gd name="connsiteY62" fmla="*/ 5299809 h 7051380"/>
              <a:gd name="connsiteX63" fmla="*/ 4214852 w 5829300"/>
              <a:gd name="connsiteY63" fmla="*/ 5698514 h 7051380"/>
              <a:gd name="connsiteX64" fmla="*/ 4170557 w 5829300"/>
              <a:gd name="connsiteY64" fmla="*/ 5592874 h 7051380"/>
              <a:gd name="connsiteX65" fmla="*/ 3792344 w 5829300"/>
              <a:gd name="connsiteY65" fmla="*/ 6325535 h 7051380"/>
              <a:gd name="connsiteX66" fmla="*/ 3782122 w 5829300"/>
              <a:gd name="connsiteY66" fmla="*/ 6151741 h 7051380"/>
              <a:gd name="connsiteX67" fmla="*/ 3775307 w 5829300"/>
              <a:gd name="connsiteY67" fmla="*/ 6083587 h 7051380"/>
              <a:gd name="connsiteX68" fmla="*/ 3744641 w 5829300"/>
              <a:gd name="connsiteY68" fmla="*/ 6083587 h 7051380"/>
              <a:gd name="connsiteX69" fmla="*/ 3604942 w 5829300"/>
              <a:gd name="connsiteY69" fmla="*/ 6380059 h 7051380"/>
              <a:gd name="connsiteX70" fmla="*/ 3577683 w 5829300"/>
              <a:gd name="connsiteY70" fmla="*/ 6376651 h 7051380"/>
              <a:gd name="connsiteX71" fmla="*/ 3628793 w 5829300"/>
              <a:gd name="connsiteY71" fmla="*/ 6114256 h 7051380"/>
              <a:gd name="connsiteX72" fmla="*/ 3581091 w 5829300"/>
              <a:gd name="connsiteY72" fmla="*/ 6138110 h 7051380"/>
              <a:gd name="connsiteX73" fmla="*/ 3639015 w 5829300"/>
              <a:gd name="connsiteY73" fmla="*/ 5885939 h 7051380"/>
              <a:gd name="connsiteX74" fmla="*/ 3611757 w 5829300"/>
              <a:gd name="connsiteY74" fmla="*/ 5882531 h 7051380"/>
              <a:gd name="connsiteX75" fmla="*/ 3397095 w 5829300"/>
              <a:gd name="connsiteY75" fmla="*/ 6325535 h 7051380"/>
              <a:gd name="connsiteX76" fmla="*/ 3380058 w 5829300"/>
              <a:gd name="connsiteY76" fmla="*/ 6328942 h 7051380"/>
              <a:gd name="connsiteX77" fmla="*/ 3380058 w 5829300"/>
              <a:gd name="connsiteY77" fmla="*/ 6185819 h 7051380"/>
              <a:gd name="connsiteX78" fmla="*/ 3366429 w 5829300"/>
              <a:gd name="connsiteY78" fmla="*/ 6179003 h 7051380"/>
              <a:gd name="connsiteX79" fmla="*/ 2947330 w 5829300"/>
              <a:gd name="connsiteY79" fmla="*/ 7051380 h 7051380"/>
              <a:gd name="connsiteX80" fmla="*/ 2930293 w 5829300"/>
              <a:gd name="connsiteY80" fmla="*/ 7044565 h 7051380"/>
              <a:gd name="connsiteX81" fmla="*/ 3022291 w 5829300"/>
              <a:gd name="connsiteY81" fmla="*/ 6717423 h 7051380"/>
              <a:gd name="connsiteX82" fmla="*/ 3008661 w 5829300"/>
              <a:gd name="connsiteY82" fmla="*/ 6714016 h 7051380"/>
              <a:gd name="connsiteX83" fmla="*/ 2896220 w 5829300"/>
              <a:gd name="connsiteY83" fmla="*/ 6945741 h 7051380"/>
              <a:gd name="connsiteX84" fmla="*/ 2875776 w 5829300"/>
              <a:gd name="connsiteY84" fmla="*/ 6935518 h 7051380"/>
              <a:gd name="connsiteX85" fmla="*/ 3179027 w 5829300"/>
              <a:gd name="connsiteY85" fmla="*/ 6086995 h 7051380"/>
              <a:gd name="connsiteX86" fmla="*/ 3161990 w 5829300"/>
              <a:gd name="connsiteY86" fmla="*/ 6080179 h 7051380"/>
              <a:gd name="connsiteX87" fmla="*/ 2943922 w 5829300"/>
              <a:gd name="connsiteY87" fmla="*/ 6536814 h 7051380"/>
              <a:gd name="connsiteX88" fmla="*/ 2920072 w 5829300"/>
              <a:gd name="connsiteY88" fmla="*/ 6536814 h 7051380"/>
              <a:gd name="connsiteX89" fmla="*/ 2920072 w 5829300"/>
              <a:gd name="connsiteY89" fmla="*/ 6448213 h 7051380"/>
              <a:gd name="connsiteX90" fmla="*/ 3090437 w 5829300"/>
              <a:gd name="connsiteY90" fmla="*/ 5977947 h 7051380"/>
              <a:gd name="connsiteX91" fmla="*/ 3066586 w 5829300"/>
              <a:gd name="connsiteY91" fmla="*/ 5967724 h 7051380"/>
              <a:gd name="connsiteX92" fmla="*/ 2995032 w 5829300"/>
              <a:gd name="connsiteY92" fmla="*/ 6144926 h 7051380"/>
              <a:gd name="connsiteX93" fmla="*/ 3059771 w 5829300"/>
              <a:gd name="connsiteY93" fmla="*/ 5838231 h 7051380"/>
              <a:gd name="connsiteX94" fmla="*/ 2879183 w 5829300"/>
              <a:gd name="connsiteY94" fmla="*/ 5984763 h 7051380"/>
              <a:gd name="connsiteX95" fmla="*/ 2776964 w 5829300"/>
              <a:gd name="connsiteY95" fmla="*/ 6213080 h 7051380"/>
              <a:gd name="connsiteX96" fmla="*/ 2742890 w 5829300"/>
              <a:gd name="connsiteY96" fmla="*/ 6305089 h 7051380"/>
              <a:gd name="connsiteX97" fmla="*/ 2712224 w 5829300"/>
              <a:gd name="connsiteY97" fmla="*/ 6250565 h 7051380"/>
              <a:gd name="connsiteX98" fmla="*/ 2603190 w 5829300"/>
              <a:gd name="connsiteY98" fmla="*/ 6468659 h 7051380"/>
              <a:gd name="connsiteX99" fmla="*/ 2586154 w 5829300"/>
              <a:gd name="connsiteY99" fmla="*/ 6465252 h 7051380"/>
              <a:gd name="connsiteX100" fmla="*/ 2644079 w 5829300"/>
              <a:gd name="connsiteY100" fmla="*/ 6243750 h 7051380"/>
              <a:gd name="connsiteX101" fmla="*/ 2633857 w 5829300"/>
              <a:gd name="connsiteY101" fmla="*/ 6243750 h 7051380"/>
              <a:gd name="connsiteX102" fmla="*/ 2541859 w 5829300"/>
              <a:gd name="connsiteY102" fmla="*/ 6386874 h 7051380"/>
              <a:gd name="connsiteX103" fmla="*/ 2518008 w 5829300"/>
              <a:gd name="connsiteY103" fmla="*/ 6380059 h 7051380"/>
              <a:gd name="connsiteX104" fmla="*/ 2630449 w 5829300"/>
              <a:gd name="connsiteY104" fmla="*/ 6012025 h 7051380"/>
              <a:gd name="connsiteX105" fmla="*/ 2616819 w 5829300"/>
              <a:gd name="connsiteY105" fmla="*/ 6005209 h 7051380"/>
              <a:gd name="connsiteX106" fmla="*/ 2514600 w 5829300"/>
              <a:gd name="connsiteY106" fmla="*/ 6236934 h 7051380"/>
              <a:gd name="connsiteX107" fmla="*/ 2490750 w 5829300"/>
              <a:gd name="connsiteY107" fmla="*/ 6230119 h 7051380"/>
              <a:gd name="connsiteX108" fmla="*/ 2528230 w 5829300"/>
              <a:gd name="connsiteY108" fmla="*/ 6097217 h 7051380"/>
              <a:gd name="connsiteX109" fmla="*/ 2514600 w 5829300"/>
              <a:gd name="connsiteY109" fmla="*/ 6093810 h 7051380"/>
              <a:gd name="connsiteX110" fmla="*/ 2368086 w 5829300"/>
              <a:gd name="connsiteY110" fmla="*/ 6400505 h 7051380"/>
              <a:gd name="connsiteX111" fmla="*/ 2351049 w 5829300"/>
              <a:gd name="connsiteY111" fmla="*/ 6366428 h 7051380"/>
              <a:gd name="connsiteX112" fmla="*/ 2177276 w 5829300"/>
              <a:gd name="connsiteY112" fmla="*/ 6710608 h 7051380"/>
              <a:gd name="connsiteX113" fmla="*/ 2167054 w 5829300"/>
              <a:gd name="connsiteY113" fmla="*/ 6714016 h 7051380"/>
              <a:gd name="connsiteX114" fmla="*/ 2224978 w 5829300"/>
              <a:gd name="connsiteY114" fmla="*/ 6455028 h 7051380"/>
              <a:gd name="connsiteX115" fmla="*/ 2214757 w 5829300"/>
              <a:gd name="connsiteY115" fmla="*/ 6448213 h 7051380"/>
              <a:gd name="connsiteX116" fmla="*/ 2129573 w 5829300"/>
              <a:gd name="connsiteY116" fmla="*/ 6570891 h 7051380"/>
              <a:gd name="connsiteX117" fmla="*/ 2105723 w 5829300"/>
              <a:gd name="connsiteY117" fmla="*/ 6567484 h 7051380"/>
              <a:gd name="connsiteX118" fmla="*/ 2143202 w 5829300"/>
              <a:gd name="connsiteY118" fmla="*/ 6315311 h 7051380"/>
              <a:gd name="connsiteX119" fmla="*/ 2081871 w 5829300"/>
              <a:gd name="connsiteY119" fmla="*/ 6397097 h 7051380"/>
              <a:gd name="connsiteX120" fmla="*/ 2068242 w 5829300"/>
              <a:gd name="connsiteY120" fmla="*/ 6380059 h 7051380"/>
              <a:gd name="connsiteX121" fmla="*/ 2146610 w 5829300"/>
              <a:gd name="connsiteY121" fmla="*/ 5950685 h 7051380"/>
              <a:gd name="connsiteX122" fmla="*/ 2081871 w 5829300"/>
              <a:gd name="connsiteY122" fmla="*/ 5994985 h 7051380"/>
              <a:gd name="connsiteX123" fmla="*/ 1891061 w 5829300"/>
              <a:gd name="connsiteY123" fmla="*/ 6434583 h 7051380"/>
              <a:gd name="connsiteX124" fmla="*/ 1867210 w 5829300"/>
              <a:gd name="connsiteY124" fmla="*/ 6427767 h 7051380"/>
              <a:gd name="connsiteX125" fmla="*/ 1931949 w 5829300"/>
              <a:gd name="connsiteY125" fmla="*/ 6185819 h 7051380"/>
              <a:gd name="connsiteX126" fmla="*/ 1853581 w 5829300"/>
              <a:gd name="connsiteY126" fmla="*/ 6202857 h 7051380"/>
              <a:gd name="connsiteX127" fmla="*/ 1782027 w 5829300"/>
              <a:gd name="connsiteY127" fmla="*/ 6366428 h 7051380"/>
              <a:gd name="connsiteX128" fmla="*/ 1891061 w 5829300"/>
              <a:gd name="connsiteY128" fmla="*/ 5657621 h 7051380"/>
              <a:gd name="connsiteX129" fmla="*/ 1867210 w 5829300"/>
              <a:gd name="connsiteY129" fmla="*/ 5647397 h 7051380"/>
              <a:gd name="connsiteX130" fmla="*/ 1533293 w 5829300"/>
              <a:gd name="connsiteY130" fmla="*/ 6363020 h 7051380"/>
              <a:gd name="connsiteX131" fmla="*/ 1495813 w 5829300"/>
              <a:gd name="connsiteY131" fmla="*/ 6322127 h 7051380"/>
              <a:gd name="connsiteX132" fmla="*/ 1475368 w 5829300"/>
              <a:gd name="connsiteY132" fmla="*/ 6366428 h 7051380"/>
              <a:gd name="connsiteX133" fmla="*/ 1458332 w 5829300"/>
              <a:gd name="connsiteY133" fmla="*/ 6335758 h 7051380"/>
              <a:gd name="connsiteX134" fmla="*/ 1359520 w 5829300"/>
              <a:gd name="connsiteY134" fmla="*/ 6529998 h 7051380"/>
              <a:gd name="connsiteX135" fmla="*/ 1342484 w 5829300"/>
              <a:gd name="connsiteY135" fmla="*/ 6523183 h 7051380"/>
              <a:gd name="connsiteX136" fmla="*/ 1356113 w 5829300"/>
              <a:gd name="connsiteY136" fmla="*/ 6410728 h 7051380"/>
              <a:gd name="connsiteX137" fmla="*/ 1339076 w 5829300"/>
              <a:gd name="connsiteY137" fmla="*/ 6397097 h 7051380"/>
              <a:gd name="connsiteX138" fmla="*/ 1243671 w 5829300"/>
              <a:gd name="connsiteY138" fmla="*/ 6506145 h 7051380"/>
              <a:gd name="connsiteX139" fmla="*/ 1352705 w 5829300"/>
              <a:gd name="connsiteY139" fmla="*/ 6080179 h 7051380"/>
              <a:gd name="connsiteX140" fmla="*/ 1342484 w 5829300"/>
              <a:gd name="connsiteY140" fmla="*/ 6073364 h 7051380"/>
              <a:gd name="connsiteX141" fmla="*/ 834793 w 5829300"/>
              <a:gd name="connsiteY141" fmla="*/ 7044565 h 7051380"/>
              <a:gd name="connsiteX142" fmla="*/ 824571 w 5829300"/>
              <a:gd name="connsiteY142" fmla="*/ 7041158 h 7051380"/>
              <a:gd name="connsiteX143" fmla="*/ 916568 w 5829300"/>
              <a:gd name="connsiteY143" fmla="*/ 6720831 h 7051380"/>
              <a:gd name="connsiteX144" fmla="*/ 902939 w 5829300"/>
              <a:gd name="connsiteY144" fmla="*/ 6714016 h 7051380"/>
              <a:gd name="connsiteX145" fmla="*/ 790497 w 5829300"/>
              <a:gd name="connsiteY145" fmla="*/ 6942334 h 7051380"/>
              <a:gd name="connsiteX146" fmla="*/ 773461 w 5829300"/>
              <a:gd name="connsiteY146" fmla="*/ 6938925 h 7051380"/>
              <a:gd name="connsiteX147" fmla="*/ 1032417 w 5829300"/>
              <a:gd name="connsiteY147" fmla="*/ 6189226 h 7051380"/>
              <a:gd name="connsiteX148" fmla="*/ 1005159 w 5829300"/>
              <a:gd name="connsiteY148" fmla="*/ 6175595 h 7051380"/>
              <a:gd name="connsiteX149" fmla="*/ 841607 w 5829300"/>
              <a:gd name="connsiteY149" fmla="*/ 6533407 h 7051380"/>
              <a:gd name="connsiteX150" fmla="*/ 814349 w 5829300"/>
              <a:gd name="connsiteY150" fmla="*/ 6455028 h 7051380"/>
              <a:gd name="connsiteX151" fmla="*/ 1018788 w 5829300"/>
              <a:gd name="connsiteY151" fmla="*/ 5947277 h 7051380"/>
              <a:gd name="connsiteX152" fmla="*/ 1008566 w 5829300"/>
              <a:gd name="connsiteY152" fmla="*/ 5899570 h 7051380"/>
              <a:gd name="connsiteX153" fmla="*/ 845015 w 5829300"/>
              <a:gd name="connsiteY153" fmla="*/ 6213080 h 7051380"/>
              <a:gd name="connsiteX154" fmla="*/ 831386 w 5829300"/>
              <a:gd name="connsiteY154" fmla="*/ 6206265 h 7051380"/>
              <a:gd name="connsiteX155" fmla="*/ 875681 w 5829300"/>
              <a:gd name="connsiteY155" fmla="*/ 6012025 h 7051380"/>
              <a:gd name="connsiteX156" fmla="*/ 848422 w 5829300"/>
              <a:gd name="connsiteY156" fmla="*/ 6001801 h 7051380"/>
              <a:gd name="connsiteX157" fmla="*/ 790497 w 5829300"/>
              <a:gd name="connsiteY157" fmla="*/ 6110848 h 7051380"/>
              <a:gd name="connsiteX158" fmla="*/ 773461 w 5829300"/>
              <a:gd name="connsiteY158" fmla="*/ 6104033 h 7051380"/>
              <a:gd name="connsiteX159" fmla="*/ 1076712 w 5829300"/>
              <a:gd name="connsiteY159" fmla="*/ 5252101 h 7051380"/>
              <a:gd name="connsiteX160" fmla="*/ 1052861 w 5829300"/>
              <a:gd name="connsiteY160" fmla="*/ 5241878 h 7051380"/>
              <a:gd name="connsiteX161" fmla="*/ 848422 w 5829300"/>
              <a:gd name="connsiteY161" fmla="*/ 5678068 h 7051380"/>
              <a:gd name="connsiteX162" fmla="*/ 851830 w 5829300"/>
              <a:gd name="connsiteY162" fmla="*/ 5531535 h 7051380"/>
              <a:gd name="connsiteX163" fmla="*/ 919976 w 5829300"/>
              <a:gd name="connsiteY163" fmla="*/ 5364557 h 7051380"/>
              <a:gd name="connsiteX164" fmla="*/ 906346 w 5829300"/>
              <a:gd name="connsiteY164" fmla="*/ 5354333 h 7051380"/>
              <a:gd name="connsiteX165" fmla="*/ 599688 w 5829300"/>
              <a:gd name="connsiteY165" fmla="*/ 5596282 h 7051380"/>
              <a:gd name="connsiteX166" fmla="*/ 350954 w 5829300"/>
              <a:gd name="connsiteY166" fmla="*/ 5879123 h 7051380"/>
              <a:gd name="connsiteX167" fmla="*/ 231698 w 5829300"/>
              <a:gd name="connsiteY167" fmla="*/ 5926832 h 7051380"/>
              <a:gd name="connsiteX168" fmla="*/ 51110 w 5829300"/>
              <a:gd name="connsiteY168" fmla="*/ 5967724 h 7051380"/>
              <a:gd name="connsiteX169" fmla="*/ 156736 w 5829300"/>
              <a:gd name="connsiteY169" fmla="*/ 5650806 h 7051380"/>
              <a:gd name="connsiteX170" fmla="*/ 13629 w 5829300"/>
              <a:gd name="connsiteY170" fmla="*/ 5763260 h 7051380"/>
              <a:gd name="connsiteX171" fmla="*/ 279401 w 5829300"/>
              <a:gd name="connsiteY171" fmla="*/ 5218024 h 7051380"/>
              <a:gd name="connsiteX172" fmla="*/ 255549 w 5829300"/>
              <a:gd name="connsiteY172" fmla="*/ 5207801 h 7051380"/>
              <a:gd name="connsiteX173" fmla="*/ 357769 w 5829300"/>
              <a:gd name="connsiteY173" fmla="*/ 5054454 h 7051380"/>
              <a:gd name="connsiteX174" fmla="*/ 71554 w 5829300"/>
              <a:gd name="connsiteY174" fmla="*/ 5126015 h 7051380"/>
              <a:gd name="connsiteX175" fmla="*/ 201032 w 5829300"/>
              <a:gd name="connsiteY175" fmla="*/ 4836359 h 7051380"/>
              <a:gd name="connsiteX176" fmla="*/ 170366 w 5829300"/>
              <a:gd name="connsiteY176" fmla="*/ 4819320 h 7051380"/>
              <a:gd name="connsiteX177" fmla="*/ 95405 w 5829300"/>
              <a:gd name="connsiteY177" fmla="*/ 4867029 h 7051380"/>
              <a:gd name="connsiteX178" fmla="*/ 0 w 5829300"/>
              <a:gd name="connsiteY178" fmla="*/ 4928368 h 7051380"/>
              <a:gd name="connsiteX179" fmla="*/ 572429 w 5829300"/>
              <a:gd name="connsiteY179" fmla="*/ 3831080 h 7051380"/>
              <a:gd name="connsiteX180" fmla="*/ 538356 w 5829300"/>
              <a:gd name="connsiteY180" fmla="*/ 3810634 h 7051380"/>
              <a:gd name="connsiteX181" fmla="*/ 453174 w 5829300"/>
              <a:gd name="connsiteY181" fmla="*/ 3929904 h 7051380"/>
              <a:gd name="connsiteX182" fmla="*/ 442951 w 5829300"/>
              <a:gd name="connsiteY182" fmla="*/ 3926497 h 7051380"/>
              <a:gd name="connsiteX183" fmla="*/ 609910 w 5829300"/>
              <a:gd name="connsiteY183" fmla="*/ 3568685 h 7051380"/>
              <a:gd name="connsiteX184" fmla="*/ 882496 w 5829300"/>
              <a:gd name="connsiteY184" fmla="*/ 3016634 h 7051380"/>
              <a:gd name="connsiteX185" fmla="*/ 1444703 w 5829300"/>
              <a:gd name="connsiteY185" fmla="*/ 2110179 h 7051380"/>
              <a:gd name="connsiteX186" fmla="*/ 1570773 w 5829300"/>
              <a:gd name="connsiteY186" fmla="*/ 2038617 h 7051380"/>
              <a:gd name="connsiteX187" fmla="*/ 1601812 w 5829300"/>
              <a:gd name="connsiteY187" fmla="*/ 2026687 h 7051380"/>
              <a:gd name="connsiteX188" fmla="*/ 1639611 w 5829300"/>
              <a:gd name="connsiteY188" fmla="*/ 1950489 h 7051380"/>
              <a:gd name="connsiteX189" fmla="*/ 1761051 w 5829300"/>
              <a:gd name="connsiteY189" fmla="*/ 1703404 h 7051380"/>
              <a:gd name="connsiteX190" fmla="*/ 2261992 w 5829300"/>
              <a:gd name="connsiteY190" fmla="*/ 895729 h 7051380"/>
              <a:gd name="connsiteX191" fmla="*/ 2374324 w 5829300"/>
              <a:gd name="connsiteY191" fmla="*/ 831966 h 7051380"/>
              <a:gd name="connsiteX192" fmla="*/ 2577737 w 5829300"/>
              <a:gd name="connsiteY192" fmla="*/ 756057 h 7051380"/>
              <a:gd name="connsiteX193" fmla="*/ 2680962 w 5829300"/>
              <a:gd name="connsiteY193" fmla="*/ 844111 h 7051380"/>
              <a:gd name="connsiteX194" fmla="*/ 3591763 w 5829300"/>
              <a:gd name="connsiteY194" fmla="*/ 157891 h 7051380"/>
              <a:gd name="connsiteX195" fmla="*/ 3373171 w 5829300"/>
              <a:gd name="connsiteY195" fmla="*/ 415983 h 7051380"/>
              <a:gd name="connsiteX196" fmla="*/ 3391386 w 5829300"/>
              <a:gd name="connsiteY196" fmla="*/ 434201 h 7051380"/>
              <a:gd name="connsiteX197" fmla="*/ 3807320 w 5829300"/>
              <a:gd name="connsiteY197" fmla="*/ 12146 h 7051380"/>
              <a:gd name="connsiteX198" fmla="*/ 3822500 w 5829300"/>
              <a:gd name="connsiteY198" fmla="*/ 27327 h 7051380"/>
              <a:gd name="connsiteX199" fmla="*/ 3807320 w 5829300"/>
              <a:gd name="connsiteY199" fmla="*/ 81983 h 7051380"/>
              <a:gd name="connsiteX200" fmla="*/ 3752672 w 5829300"/>
              <a:gd name="connsiteY200" fmla="*/ 160928 h 7051380"/>
              <a:gd name="connsiteX201" fmla="*/ 3655520 w 5829300"/>
              <a:gd name="connsiteY201" fmla="*/ 282383 h 7051380"/>
              <a:gd name="connsiteX202" fmla="*/ 3722311 w 5829300"/>
              <a:gd name="connsiteY202" fmla="*/ 267201 h 7051380"/>
              <a:gd name="connsiteX203" fmla="*/ 3655520 w 5829300"/>
              <a:gd name="connsiteY203" fmla="*/ 394729 h 7051380"/>
              <a:gd name="connsiteX204" fmla="*/ 3664627 w 5829300"/>
              <a:gd name="connsiteY204" fmla="*/ 406874 h 7051380"/>
              <a:gd name="connsiteX205" fmla="*/ 3989480 w 5829300"/>
              <a:gd name="connsiteY205" fmla="*/ 94127 h 7051380"/>
              <a:gd name="connsiteX206" fmla="*/ 3883220 w 5829300"/>
              <a:gd name="connsiteY206" fmla="*/ 364364 h 7051380"/>
              <a:gd name="connsiteX207" fmla="*/ 3901436 w 5829300"/>
              <a:gd name="connsiteY207" fmla="*/ 376510 h 7051380"/>
              <a:gd name="connsiteX208" fmla="*/ 3974300 w 5829300"/>
              <a:gd name="connsiteY208" fmla="*/ 297564 h 7051380"/>
              <a:gd name="connsiteX209" fmla="*/ 3989480 w 5829300"/>
              <a:gd name="connsiteY209" fmla="*/ 312746 h 7051380"/>
              <a:gd name="connsiteX210" fmla="*/ 3852860 w 5829300"/>
              <a:gd name="connsiteY210" fmla="*/ 479746 h 7051380"/>
              <a:gd name="connsiteX211" fmla="*/ 3928760 w 5829300"/>
              <a:gd name="connsiteY211" fmla="*/ 449383 h 7051380"/>
              <a:gd name="connsiteX212" fmla="*/ 4147352 w 5829300"/>
              <a:gd name="connsiteY212" fmla="*/ 236837 h 7051380"/>
              <a:gd name="connsiteX213" fmla="*/ 4211108 w 5829300"/>
              <a:gd name="connsiteY213" fmla="*/ 239874 h 7051380"/>
              <a:gd name="connsiteX214" fmla="*/ 4256648 w 5829300"/>
              <a:gd name="connsiteY214" fmla="*/ 236837 h 7051380"/>
              <a:gd name="connsiteX215" fmla="*/ 4444881 w 5829300"/>
              <a:gd name="connsiteY215" fmla="*/ 151819 h 7051380"/>
              <a:gd name="connsiteX216" fmla="*/ 4535962 w 5829300"/>
              <a:gd name="connsiteY216" fmla="*/ 88055 h 7051380"/>
              <a:gd name="connsiteX217" fmla="*/ 4526853 w 5829300"/>
              <a:gd name="connsiteY217" fmla="*/ 157891 h 7051380"/>
              <a:gd name="connsiteX218" fmla="*/ 4538997 w 5829300"/>
              <a:gd name="connsiteY218" fmla="*/ 173074 h 7051380"/>
              <a:gd name="connsiteX219" fmla="*/ 4742410 w 5829300"/>
              <a:gd name="connsiteY219" fmla="*/ 0 h 7051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5829300" h="7051380">
                <a:moveTo>
                  <a:pt x="4742410" y="0"/>
                </a:moveTo>
                <a:cubicBezTo>
                  <a:pt x="4748482" y="6073"/>
                  <a:pt x="4754554" y="12146"/>
                  <a:pt x="4760626" y="15182"/>
                </a:cubicBezTo>
                <a:cubicBezTo>
                  <a:pt x="4733302" y="57692"/>
                  <a:pt x="4709013" y="97164"/>
                  <a:pt x="4684726" y="139673"/>
                </a:cubicBezTo>
                <a:cubicBezTo>
                  <a:pt x="4690798" y="142709"/>
                  <a:pt x="4696870" y="148783"/>
                  <a:pt x="4702942" y="154855"/>
                </a:cubicBezTo>
                <a:cubicBezTo>
                  <a:pt x="4730266" y="109310"/>
                  <a:pt x="4760626" y="66800"/>
                  <a:pt x="4787950" y="24291"/>
                </a:cubicBezTo>
                <a:cubicBezTo>
                  <a:pt x="4797058" y="30363"/>
                  <a:pt x="4809202" y="39473"/>
                  <a:pt x="4818310" y="45546"/>
                </a:cubicBezTo>
                <a:cubicBezTo>
                  <a:pt x="4806166" y="97164"/>
                  <a:pt x="4790986" y="145746"/>
                  <a:pt x="4775806" y="194328"/>
                </a:cubicBezTo>
                <a:cubicBezTo>
                  <a:pt x="4781878" y="197364"/>
                  <a:pt x="4787950" y="200401"/>
                  <a:pt x="4794022" y="203437"/>
                </a:cubicBezTo>
                <a:cubicBezTo>
                  <a:pt x="4857778" y="139673"/>
                  <a:pt x="4924570" y="75909"/>
                  <a:pt x="4994398" y="6073"/>
                </a:cubicBezTo>
                <a:cubicBezTo>
                  <a:pt x="5067263" y="103237"/>
                  <a:pt x="5015651" y="182182"/>
                  <a:pt x="4942786" y="252019"/>
                </a:cubicBezTo>
                <a:cubicBezTo>
                  <a:pt x="5039939" y="334001"/>
                  <a:pt x="5079406" y="218619"/>
                  <a:pt x="5143163" y="194328"/>
                </a:cubicBezTo>
                <a:cubicBezTo>
                  <a:pt x="5155307" y="191292"/>
                  <a:pt x="5164415" y="179146"/>
                  <a:pt x="5176559" y="170037"/>
                </a:cubicBezTo>
                <a:cubicBezTo>
                  <a:pt x="5176559" y="185218"/>
                  <a:pt x="5182631" y="203437"/>
                  <a:pt x="5176559" y="212546"/>
                </a:cubicBezTo>
                <a:cubicBezTo>
                  <a:pt x="5164415" y="239874"/>
                  <a:pt x="5143163" y="264165"/>
                  <a:pt x="5134054" y="297564"/>
                </a:cubicBezTo>
                <a:cubicBezTo>
                  <a:pt x="5200847" y="242910"/>
                  <a:pt x="5267639" y="188255"/>
                  <a:pt x="5340504" y="127528"/>
                </a:cubicBezTo>
                <a:cubicBezTo>
                  <a:pt x="5337467" y="154855"/>
                  <a:pt x="5337467" y="170037"/>
                  <a:pt x="5334431" y="209510"/>
                </a:cubicBezTo>
                <a:cubicBezTo>
                  <a:pt x="5401223" y="163964"/>
                  <a:pt x="5455872" y="127528"/>
                  <a:pt x="5510520" y="91091"/>
                </a:cubicBezTo>
                <a:cubicBezTo>
                  <a:pt x="5513556" y="94127"/>
                  <a:pt x="5519628" y="97164"/>
                  <a:pt x="5522664" y="100201"/>
                </a:cubicBezTo>
                <a:cubicBezTo>
                  <a:pt x="5492304" y="145746"/>
                  <a:pt x="5461943" y="191292"/>
                  <a:pt x="5431583" y="236837"/>
                </a:cubicBezTo>
                <a:cubicBezTo>
                  <a:pt x="5440692" y="245946"/>
                  <a:pt x="5446763" y="252019"/>
                  <a:pt x="5455872" y="258092"/>
                </a:cubicBezTo>
                <a:cubicBezTo>
                  <a:pt x="5486231" y="212546"/>
                  <a:pt x="5513556" y="163964"/>
                  <a:pt x="5543915" y="118418"/>
                </a:cubicBezTo>
                <a:cubicBezTo>
                  <a:pt x="5556060" y="130564"/>
                  <a:pt x="5568204" y="142709"/>
                  <a:pt x="5580348" y="151819"/>
                </a:cubicBezTo>
                <a:cubicBezTo>
                  <a:pt x="5504448" y="242910"/>
                  <a:pt x="5428548" y="334001"/>
                  <a:pt x="5352647" y="428128"/>
                </a:cubicBezTo>
                <a:cubicBezTo>
                  <a:pt x="5358719" y="431164"/>
                  <a:pt x="5364791" y="437238"/>
                  <a:pt x="5370864" y="443310"/>
                </a:cubicBezTo>
                <a:cubicBezTo>
                  <a:pt x="5492304" y="324892"/>
                  <a:pt x="5616780" y="203437"/>
                  <a:pt x="5747328" y="75909"/>
                </a:cubicBezTo>
                <a:cubicBezTo>
                  <a:pt x="5707860" y="206473"/>
                  <a:pt x="5707860" y="340074"/>
                  <a:pt x="5583384" y="422056"/>
                </a:cubicBezTo>
                <a:cubicBezTo>
                  <a:pt x="5607672" y="440274"/>
                  <a:pt x="5625888" y="458492"/>
                  <a:pt x="5647140" y="473674"/>
                </a:cubicBezTo>
                <a:cubicBezTo>
                  <a:pt x="5713932" y="516183"/>
                  <a:pt x="5723040" y="570838"/>
                  <a:pt x="5680536" y="643711"/>
                </a:cubicBezTo>
                <a:cubicBezTo>
                  <a:pt x="5647140" y="698365"/>
                  <a:pt x="5622852" y="759093"/>
                  <a:pt x="5583384" y="838038"/>
                </a:cubicBezTo>
                <a:cubicBezTo>
                  <a:pt x="5634996" y="804639"/>
                  <a:pt x="5665356" y="789456"/>
                  <a:pt x="5692680" y="771238"/>
                </a:cubicBezTo>
                <a:cubicBezTo>
                  <a:pt x="5698752" y="774275"/>
                  <a:pt x="5704824" y="777311"/>
                  <a:pt x="5710896" y="783384"/>
                </a:cubicBezTo>
                <a:cubicBezTo>
                  <a:pt x="5656248" y="889657"/>
                  <a:pt x="5601600" y="995929"/>
                  <a:pt x="5549988" y="1102202"/>
                </a:cubicBezTo>
                <a:cubicBezTo>
                  <a:pt x="5543915" y="1117385"/>
                  <a:pt x="5553024" y="1153821"/>
                  <a:pt x="5565168" y="1159894"/>
                </a:cubicBezTo>
                <a:cubicBezTo>
                  <a:pt x="5628924" y="1196330"/>
                  <a:pt x="5659284" y="1284385"/>
                  <a:pt x="5619816" y="1342076"/>
                </a:cubicBezTo>
                <a:cubicBezTo>
                  <a:pt x="5519628" y="1490858"/>
                  <a:pt x="5461943" y="1657859"/>
                  <a:pt x="5404259" y="1824859"/>
                </a:cubicBezTo>
                <a:cubicBezTo>
                  <a:pt x="5398188" y="1837004"/>
                  <a:pt x="5404259" y="1855223"/>
                  <a:pt x="5410332" y="1867368"/>
                </a:cubicBezTo>
                <a:cubicBezTo>
                  <a:pt x="5419439" y="1906841"/>
                  <a:pt x="5431583" y="1943277"/>
                  <a:pt x="5446763" y="1985787"/>
                </a:cubicBezTo>
                <a:cubicBezTo>
                  <a:pt x="5486231" y="1946314"/>
                  <a:pt x="5531772" y="1906841"/>
                  <a:pt x="5577312" y="1864332"/>
                </a:cubicBezTo>
                <a:cubicBezTo>
                  <a:pt x="5580348" y="1864332"/>
                  <a:pt x="5586420" y="1867368"/>
                  <a:pt x="5589456" y="1870404"/>
                </a:cubicBezTo>
                <a:cubicBezTo>
                  <a:pt x="5577312" y="1912913"/>
                  <a:pt x="5565168" y="1955423"/>
                  <a:pt x="5549988" y="2000968"/>
                </a:cubicBezTo>
                <a:cubicBezTo>
                  <a:pt x="5634996" y="2049550"/>
                  <a:pt x="5665356" y="1949350"/>
                  <a:pt x="5741256" y="1915950"/>
                </a:cubicBezTo>
                <a:cubicBezTo>
                  <a:pt x="5713932" y="1979714"/>
                  <a:pt x="5692680" y="2028296"/>
                  <a:pt x="5668392" y="2079914"/>
                </a:cubicBezTo>
                <a:cubicBezTo>
                  <a:pt x="5729112" y="2122423"/>
                  <a:pt x="5738220" y="2174041"/>
                  <a:pt x="5692680" y="2237806"/>
                </a:cubicBezTo>
                <a:cubicBezTo>
                  <a:pt x="5732148" y="2201369"/>
                  <a:pt x="5771616" y="2164933"/>
                  <a:pt x="5811085" y="2128496"/>
                </a:cubicBezTo>
                <a:cubicBezTo>
                  <a:pt x="5817156" y="2131532"/>
                  <a:pt x="5823229" y="2134568"/>
                  <a:pt x="5829300" y="2137605"/>
                </a:cubicBezTo>
                <a:cubicBezTo>
                  <a:pt x="5801976" y="2189224"/>
                  <a:pt x="5774652" y="2240842"/>
                  <a:pt x="5747328" y="2295496"/>
                </a:cubicBezTo>
                <a:cubicBezTo>
                  <a:pt x="5795905" y="2319787"/>
                  <a:pt x="5814120" y="2341041"/>
                  <a:pt x="5786796" y="2404805"/>
                </a:cubicBezTo>
                <a:cubicBezTo>
                  <a:pt x="5677500" y="2652270"/>
                  <a:pt x="5560614" y="2895179"/>
                  <a:pt x="5437276" y="3134673"/>
                </a:cubicBezTo>
                <a:lnTo>
                  <a:pt x="5272826" y="3443994"/>
                </a:lnTo>
                <a:lnTo>
                  <a:pt x="5307909" y="3476943"/>
                </a:lnTo>
                <a:cubicBezTo>
                  <a:pt x="5337137" y="3516717"/>
                  <a:pt x="5333304" y="3562722"/>
                  <a:pt x="5294971" y="3616394"/>
                </a:cubicBezTo>
                <a:cubicBezTo>
                  <a:pt x="5339266" y="3575501"/>
                  <a:pt x="5383561" y="3534608"/>
                  <a:pt x="5427857" y="3493716"/>
                </a:cubicBezTo>
                <a:cubicBezTo>
                  <a:pt x="5434671" y="3497123"/>
                  <a:pt x="5441486" y="3500531"/>
                  <a:pt x="5448300" y="3503939"/>
                </a:cubicBezTo>
                <a:cubicBezTo>
                  <a:pt x="5417634" y="3561870"/>
                  <a:pt x="5386969" y="3619802"/>
                  <a:pt x="5356303" y="3681141"/>
                </a:cubicBezTo>
                <a:cubicBezTo>
                  <a:pt x="5410820" y="3708402"/>
                  <a:pt x="5431264" y="3732256"/>
                  <a:pt x="5400598" y="3803818"/>
                </a:cubicBezTo>
                <a:cubicBezTo>
                  <a:pt x="5155271" y="4359278"/>
                  <a:pt x="4875871" y="4894290"/>
                  <a:pt x="4572620" y="5419081"/>
                </a:cubicBezTo>
                <a:cubicBezTo>
                  <a:pt x="4484030" y="5572428"/>
                  <a:pt x="4409069" y="5739407"/>
                  <a:pt x="4313664" y="5926832"/>
                </a:cubicBezTo>
                <a:cubicBezTo>
                  <a:pt x="4306849" y="5879123"/>
                  <a:pt x="4293220" y="5851862"/>
                  <a:pt x="4300035" y="5828007"/>
                </a:cubicBezTo>
                <a:cubicBezTo>
                  <a:pt x="4323886" y="5746222"/>
                  <a:pt x="4351144" y="5667844"/>
                  <a:pt x="4364773" y="5582651"/>
                </a:cubicBezTo>
                <a:cubicBezTo>
                  <a:pt x="4351144" y="5599690"/>
                  <a:pt x="4337515" y="5616728"/>
                  <a:pt x="4323886" y="5637175"/>
                </a:cubicBezTo>
                <a:cubicBezTo>
                  <a:pt x="4320478" y="5633767"/>
                  <a:pt x="4313664" y="5633767"/>
                  <a:pt x="4310257" y="5630359"/>
                </a:cubicBezTo>
                <a:cubicBezTo>
                  <a:pt x="4351144" y="5524720"/>
                  <a:pt x="4388625" y="5415672"/>
                  <a:pt x="4429512" y="5310033"/>
                </a:cubicBezTo>
                <a:cubicBezTo>
                  <a:pt x="4422698" y="5306625"/>
                  <a:pt x="4415883" y="5303218"/>
                  <a:pt x="4409069" y="5299809"/>
                </a:cubicBezTo>
                <a:cubicBezTo>
                  <a:pt x="4347737" y="5432711"/>
                  <a:pt x="4282998" y="5562205"/>
                  <a:pt x="4214852" y="5698514"/>
                </a:cubicBezTo>
                <a:cubicBezTo>
                  <a:pt x="4201223" y="5667844"/>
                  <a:pt x="4191000" y="5643990"/>
                  <a:pt x="4170557" y="5592874"/>
                </a:cubicBezTo>
                <a:cubicBezTo>
                  <a:pt x="4041079" y="5841638"/>
                  <a:pt x="3921822" y="6073364"/>
                  <a:pt x="3792344" y="6325535"/>
                </a:cubicBezTo>
                <a:cubicBezTo>
                  <a:pt x="3788937" y="6257381"/>
                  <a:pt x="3785530" y="6206265"/>
                  <a:pt x="3782122" y="6151741"/>
                </a:cubicBezTo>
                <a:cubicBezTo>
                  <a:pt x="3778715" y="6131295"/>
                  <a:pt x="3775307" y="6107441"/>
                  <a:pt x="3775307" y="6083587"/>
                </a:cubicBezTo>
                <a:cubicBezTo>
                  <a:pt x="3765086" y="6083587"/>
                  <a:pt x="3754864" y="6083587"/>
                  <a:pt x="3744641" y="6083587"/>
                </a:cubicBezTo>
                <a:cubicBezTo>
                  <a:pt x="3696939" y="6182410"/>
                  <a:pt x="3652644" y="6281235"/>
                  <a:pt x="3604942" y="6380059"/>
                </a:cubicBezTo>
                <a:cubicBezTo>
                  <a:pt x="3594720" y="6380059"/>
                  <a:pt x="3587905" y="6376651"/>
                  <a:pt x="3577683" y="6376651"/>
                </a:cubicBezTo>
                <a:cubicBezTo>
                  <a:pt x="3594720" y="6288050"/>
                  <a:pt x="3611757" y="6199450"/>
                  <a:pt x="3628793" y="6114256"/>
                </a:cubicBezTo>
                <a:cubicBezTo>
                  <a:pt x="3618571" y="6117664"/>
                  <a:pt x="3601534" y="6127887"/>
                  <a:pt x="3581091" y="6138110"/>
                </a:cubicBezTo>
                <a:cubicBezTo>
                  <a:pt x="3594720" y="6049509"/>
                  <a:pt x="3662867" y="5974539"/>
                  <a:pt x="3639015" y="5885939"/>
                </a:cubicBezTo>
                <a:cubicBezTo>
                  <a:pt x="3632200" y="5885939"/>
                  <a:pt x="3621978" y="5882531"/>
                  <a:pt x="3611757" y="5882531"/>
                </a:cubicBezTo>
                <a:cubicBezTo>
                  <a:pt x="3540202" y="6029063"/>
                  <a:pt x="3468649" y="6179003"/>
                  <a:pt x="3397095" y="6325535"/>
                </a:cubicBezTo>
                <a:cubicBezTo>
                  <a:pt x="3390281" y="6325535"/>
                  <a:pt x="3386873" y="6325535"/>
                  <a:pt x="3380058" y="6328942"/>
                </a:cubicBezTo>
                <a:cubicBezTo>
                  <a:pt x="3380058" y="6281235"/>
                  <a:pt x="3380058" y="6233527"/>
                  <a:pt x="3380058" y="6185819"/>
                </a:cubicBezTo>
                <a:cubicBezTo>
                  <a:pt x="3373244" y="6182410"/>
                  <a:pt x="3369837" y="6182410"/>
                  <a:pt x="3366429" y="6179003"/>
                </a:cubicBezTo>
                <a:cubicBezTo>
                  <a:pt x="3226730" y="6468659"/>
                  <a:pt x="3087030" y="6758316"/>
                  <a:pt x="2947330" y="7051380"/>
                </a:cubicBezTo>
                <a:cubicBezTo>
                  <a:pt x="2943922" y="7047973"/>
                  <a:pt x="2937107" y="7044565"/>
                  <a:pt x="2930293" y="7044565"/>
                </a:cubicBezTo>
                <a:cubicBezTo>
                  <a:pt x="2960959" y="6935518"/>
                  <a:pt x="2991625" y="6826471"/>
                  <a:pt x="3022291" y="6717423"/>
                </a:cubicBezTo>
                <a:cubicBezTo>
                  <a:pt x="3018883" y="6717423"/>
                  <a:pt x="3015476" y="6714016"/>
                  <a:pt x="3008661" y="6714016"/>
                </a:cubicBezTo>
                <a:cubicBezTo>
                  <a:pt x="2971181" y="6792393"/>
                  <a:pt x="2933701" y="6867364"/>
                  <a:pt x="2896220" y="6945741"/>
                </a:cubicBezTo>
                <a:cubicBezTo>
                  <a:pt x="2889405" y="6942334"/>
                  <a:pt x="2882591" y="6938925"/>
                  <a:pt x="2875776" y="6935518"/>
                </a:cubicBezTo>
                <a:cubicBezTo>
                  <a:pt x="2977996" y="6652677"/>
                  <a:pt x="3076807" y="6369835"/>
                  <a:pt x="3179027" y="6086995"/>
                </a:cubicBezTo>
                <a:cubicBezTo>
                  <a:pt x="3172212" y="6086995"/>
                  <a:pt x="3165398" y="6083587"/>
                  <a:pt x="3161990" y="6080179"/>
                </a:cubicBezTo>
                <a:cubicBezTo>
                  <a:pt x="3090437" y="6233527"/>
                  <a:pt x="3015476" y="6383466"/>
                  <a:pt x="2943922" y="6536814"/>
                </a:cubicBezTo>
                <a:cubicBezTo>
                  <a:pt x="2937107" y="6536814"/>
                  <a:pt x="2926886" y="6536814"/>
                  <a:pt x="2920072" y="6536814"/>
                </a:cubicBezTo>
                <a:cubicBezTo>
                  <a:pt x="2920072" y="6506145"/>
                  <a:pt x="2913257" y="6475475"/>
                  <a:pt x="2920072" y="6448213"/>
                </a:cubicBezTo>
                <a:cubicBezTo>
                  <a:pt x="2974588" y="6291458"/>
                  <a:pt x="3032512" y="6134702"/>
                  <a:pt x="3090437" y="5977947"/>
                </a:cubicBezTo>
                <a:cubicBezTo>
                  <a:pt x="3083622" y="5974539"/>
                  <a:pt x="3073401" y="5971132"/>
                  <a:pt x="3066586" y="5967724"/>
                </a:cubicBezTo>
                <a:cubicBezTo>
                  <a:pt x="3046141" y="6022247"/>
                  <a:pt x="3022291" y="6073364"/>
                  <a:pt x="2995032" y="6144926"/>
                </a:cubicBezTo>
                <a:cubicBezTo>
                  <a:pt x="2960959" y="6018840"/>
                  <a:pt x="3042735" y="5933647"/>
                  <a:pt x="3059771" y="5838231"/>
                </a:cubicBezTo>
                <a:cubicBezTo>
                  <a:pt x="2923478" y="5793930"/>
                  <a:pt x="2920072" y="5916608"/>
                  <a:pt x="2879183" y="5984763"/>
                </a:cubicBezTo>
                <a:cubicBezTo>
                  <a:pt x="2834888" y="6052917"/>
                  <a:pt x="2811037" y="6134702"/>
                  <a:pt x="2776964" y="6213080"/>
                </a:cubicBezTo>
                <a:cubicBezTo>
                  <a:pt x="2763334" y="6243750"/>
                  <a:pt x="2753113" y="6274419"/>
                  <a:pt x="2742890" y="6305089"/>
                </a:cubicBezTo>
                <a:cubicBezTo>
                  <a:pt x="2736076" y="6291458"/>
                  <a:pt x="2729261" y="6281235"/>
                  <a:pt x="2712224" y="6250565"/>
                </a:cubicBezTo>
                <a:cubicBezTo>
                  <a:pt x="2674744" y="6332351"/>
                  <a:pt x="2637264" y="6400505"/>
                  <a:pt x="2603190" y="6468659"/>
                </a:cubicBezTo>
                <a:cubicBezTo>
                  <a:pt x="2596376" y="6468659"/>
                  <a:pt x="2589561" y="6465252"/>
                  <a:pt x="2586154" y="6465252"/>
                </a:cubicBezTo>
                <a:cubicBezTo>
                  <a:pt x="2603190" y="6390282"/>
                  <a:pt x="2623634" y="6318720"/>
                  <a:pt x="2644079" y="6243750"/>
                </a:cubicBezTo>
                <a:cubicBezTo>
                  <a:pt x="2640671" y="6243750"/>
                  <a:pt x="2637264" y="6243750"/>
                  <a:pt x="2633857" y="6243750"/>
                </a:cubicBezTo>
                <a:cubicBezTo>
                  <a:pt x="2603190" y="6291458"/>
                  <a:pt x="2572524" y="6339166"/>
                  <a:pt x="2541859" y="6386874"/>
                </a:cubicBezTo>
                <a:cubicBezTo>
                  <a:pt x="2535045" y="6386874"/>
                  <a:pt x="2528230" y="6383466"/>
                  <a:pt x="2518008" y="6380059"/>
                </a:cubicBezTo>
                <a:cubicBezTo>
                  <a:pt x="2555488" y="6257381"/>
                  <a:pt x="2592969" y="6134702"/>
                  <a:pt x="2630449" y="6012025"/>
                </a:cubicBezTo>
                <a:cubicBezTo>
                  <a:pt x="2627042" y="6008616"/>
                  <a:pt x="2620227" y="6008616"/>
                  <a:pt x="2616819" y="6005209"/>
                </a:cubicBezTo>
                <a:cubicBezTo>
                  <a:pt x="2582747" y="6083587"/>
                  <a:pt x="2548674" y="6161964"/>
                  <a:pt x="2514600" y="6236934"/>
                </a:cubicBezTo>
                <a:cubicBezTo>
                  <a:pt x="2507785" y="6236934"/>
                  <a:pt x="2500971" y="6233527"/>
                  <a:pt x="2490750" y="6230119"/>
                </a:cubicBezTo>
                <a:cubicBezTo>
                  <a:pt x="2504379" y="6185819"/>
                  <a:pt x="2514600" y="6141518"/>
                  <a:pt x="2528230" y="6097217"/>
                </a:cubicBezTo>
                <a:cubicBezTo>
                  <a:pt x="2524822" y="6097217"/>
                  <a:pt x="2518008" y="6093810"/>
                  <a:pt x="2514600" y="6093810"/>
                </a:cubicBezTo>
                <a:cubicBezTo>
                  <a:pt x="2466898" y="6196041"/>
                  <a:pt x="2415788" y="6298273"/>
                  <a:pt x="2368086" y="6400505"/>
                </a:cubicBezTo>
                <a:cubicBezTo>
                  <a:pt x="2364679" y="6390282"/>
                  <a:pt x="2357864" y="6380059"/>
                  <a:pt x="2351049" y="6366428"/>
                </a:cubicBezTo>
                <a:cubicBezTo>
                  <a:pt x="2293125" y="6485698"/>
                  <a:pt x="2235201" y="6598153"/>
                  <a:pt x="2177276" y="6710608"/>
                </a:cubicBezTo>
                <a:cubicBezTo>
                  <a:pt x="2173868" y="6710608"/>
                  <a:pt x="2170461" y="6714016"/>
                  <a:pt x="2167054" y="6714016"/>
                </a:cubicBezTo>
                <a:cubicBezTo>
                  <a:pt x="2187497" y="6628822"/>
                  <a:pt x="2204534" y="6540222"/>
                  <a:pt x="2224978" y="6455028"/>
                </a:cubicBezTo>
                <a:cubicBezTo>
                  <a:pt x="2221572" y="6451621"/>
                  <a:pt x="2218163" y="6451621"/>
                  <a:pt x="2214757" y="6448213"/>
                </a:cubicBezTo>
                <a:cubicBezTo>
                  <a:pt x="2187497" y="6489105"/>
                  <a:pt x="2160239" y="6529998"/>
                  <a:pt x="2129573" y="6570891"/>
                </a:cubicBezTo>
                <a:cubicBezTo>
                  <a:pt x="2122759" y="6570891"/>
                  <a:pt x="2112537" y="6567484"/>
                  <a:pt x="2105723" y="6567484"/>
                </a:cubicBezTo>
                <a:cubicBezTo>
                  <a:pt x="2119352" y="6482290"/>
                  <a:pt x="2129573" y="6397097"/>
                  <a:pt x="2143202" y="6315311"/>
                </a:cubicBezTo>
                <a:cubicBezTo>
                  <a:pt x="2126166" y="6339166"/>
                  <a:pt x="2105723" y="6366428"/>
                  <a:pt x="2081871" y="6397097"/>
                </a:cubicBezTo>
                <a:cubicBezTo>
                  <a:pt x="2078464" y="6390282"/>
                  <a:pt x="2071649" y="6386874"/>
                  <a:pt x="2068242" y="6380059"/>
                </a:cubicBezTo>
                <a:cubicBezTo>
                  <a:pt x="2095500" y="6240342"/>
                  <a:pt x="2119352" y="6100625"/>
                  <a:pt x="2146610" y="5950685"/>
                </a:cubicBezTo>
                <a:cubicBezTo>
                  <a:pt x="2122759" y="5967724"/>
                  <a:pt x="2092094" y="5974539"/>
                  <a:pt x="2081871" y="5994985"/>
                </a:cubicBezTo>
                <a:cubicBezTo>
                  <a:pt x="2017132" y="6141518"/>
                  <a:pt x="1955800" y="6288050"/>
                  <a:pt x="1891061" y="6434583"/>
                </a:cubicBezTo>
                <a:cubicBezTo>
                  <a:pt x="1884247" y="6431174"/>
                  <a:pt x="1877432" y="6431174"/>
                  <a:pt x="1867210" y="6427767"/>
                </a:cubicBezTo>
                <a:cubicBezTo>
                  <a:pt x="1891061" y="6345982"/>
                  <a:pt x="1911505" y="6267604"/>
                  <a:pt x="1931949" y="6185819"/>
                </a:cubicBezTo>
                <a:cubicBezTo>
                  <a:pt x="1904690" y="6192634"/>
                  <a:pt x="1877432" y="6199450"/>
                  <a:pt x="1853581" y="6202857"/>
                </a:cubicBezTo>
                <a:cubicBezTo>
                  <a:pt x="1829730" y="6257381"/>
                  <a:pt x="1805878" y="6311904"/>
                  <a:pt x="1782027" y="6366428"/>
                </a:cubicBezTo>
                <a:cubicBezTo>
                  <a:pt x="1700251" y="6104033"/>
                  <a:pt x="1826322" y="5885939"/>
                  <a:pt x="1891061" y="5657621"/>
                </a:cubicBezTo>
                <a:cubicBezTo>
                  <a:pt x="1884247" y="5654213"/>
                  <a:pt x="1874025" y="5650806"/>
                  <a:pt x="1867210" y="5647397"/>
                </a:cubicBezTo>
                <a:cubicBezTo>
                  <a:pt x="1754769" y="5885939"/>
                  <a:pt x="1645735" y="6124479"/>
                  <a:pt x="1533293" y="6363020"/>
                </a:cubicBezTo>
                <a:cubicBezTo>
                  <a:pt x="1519664" y="6349389"/>
                  <a:pt x="1509442" y="6339166"/>
                  <a:pt x="1495813" y="6322127"/>
                </a:cubicBezTo>
                <a:cubicBezTo>
                  <a:pt x="1488998" y="6339166"/>
                  <a:pt x="1482183" y="6352797"/>
                  <a:pt x="1475368" y="6366428"/>
                </a:cubicBezTo>
                <a:cubicBezTo>
                  <a:pt x="1468554" y="6352797"/>
                  <a:pt x="1461739" y="6342573"/>
                  <a:pt x="1458332" y="6335758"/>
                </a:cubicBezTo>
                <a:cubicBezTo>
                  <a:pt x="1424259" y="6400505"/>
                  <a:pt x="1393594" y="6465252"/>
                  <a:pt x="1359520" y="6529998"/>
                </a:cubicBezTo>
                <a:cubicBezTo>
                  <a:pt x="1352705" y="6526591"/>
                  <a:pt x="1349298" y="6523183"/>
                  <a:pt x="1342484" y="6523183"/>
                </a:cubicBezTo>
                <a:cubicBezTo>
                  <a:pt x="1345890" y="6485698"/>
                  <a:pt x="1352705" y="6448213"/>
                  <a:pt x="1356113" y="6410728"/>
                </a:cubicBezTo>
                <a:cubicBezTo>
                  <a:pt x="1349298" y="6403913"/>
                  <a:pt x="1345890" y="6400505"/>
                  <a:pt x="1339076" y="6397097"/>
                </a:cubicBezTo>
                <a:cubicBezTo>
                  <a:pt x="1315224" y="6424359"/>
                  <a:pt x="1291374" y="6455028"/>
                  <a:pt x="1243671" y="6506145"/>
                </a:cubicBezTo>
                <a:cubicBezTo>
                  <a:pt x="1284559" y="6349389"/>
                  <a:pt x="1318632" y="6213080"/>
                  <a:pt x="1352705" y="6080179"/>
                </a:cubicBezTo>
                <a:cubicBezTo>
                  <a:pt x="1349298" y="6076771"/>
                  <a:pt x="1345890" y="6076771"/>
                  <a:pt x="1342484" y="6073364"/>
                </a:cubicBezTo>
                <a:cubicBezTo>
                  <a:pt x="1172117" y="6397097"/>
                  <a:pt x="1001751" y="6720831"/>
                  <a:pt x="834793" y="7044565"/>
                </a:cubicBezTo>
                <a:cubicBezTo>
                  <a:pt x="831386" y="7044565"/>
                  <a:pt x="827978" y="7044565"/>
                  <a:pt x="824571" y="7041158"/>
                </a:cubicBezTo>
                <a:cubicBezTo>
                  <a:pt x="855237" y="6935518"/>
                  <a:pt x="885902" y="6826471"/>
                  <a:pt x="916568" y="6720831"/>
                </a:cubicBezTo>
                <a:cubicBezTo>
                  <a:pt x="913162" y="6717423"/>
                  <a:pt x="909754" y="6714016"/>
                  <a:pt x="902939" y="6714016"/>
                </a:cubicBezTo>
                <a:cubicBezTo>
                  <a:pt x="865459" y="6788986"/>
                  <a:pt x="827978" y="6867364"/>
                  <a:pt x="790497" y="6942334"/>
                </a:cubicBezTo>
                <a:cubicBezTo>
                  <a:pt x="783683" y="6942334"/>
                  <a:pt x="780276" y="6938925"/>
                  <a:pt x="773461" y="6938925"/>
                </a:cubicBezTo>
                <a:cubicBezTo>
                  <a:pt x="862052" y="6686754"/>
                  <a:pt x="947235" y="6437990"/>
                  <a:pt x="1032417" y="6189226"/>
                </a:cubicBezTo>
                <a:cubicBezTo>
                  <a:pt x="1025603" y="6182410"/>
                  <a:pt x="1015381" y="6179003"/>
                  <a:pt x="1005159" y="6175595"/>
                </a:cubicBezTo>
                <a:cubicBezTo>
                  <a:pt x="950641" y="6294865"/>
                  <a:pt x="896125" y="6414136"/>
                  <a:pt x="841607" y="6533407"/>
                </a:cubicBezTo>
                <a:cubicBezTo>
                  <a:pt x="787091" y="6526591"/>
                  <a:pt x="793905" y="6499329"/>
                  <a:pt x="814349" y="6455028"/>
                </a:cubicBezTo>
                <a:cubicBezTo>
                  <a:pt x="885902" y="6288050"/>
                  <a:pt x="950641" y="6117664"/>
                  <a:pt x="1018788" y="5947277"/>
                </a:cubicBezTo>
                <a:cubicBezTo>
                  <a:pt x="1025603" y="5933647"/>
                  <a:pt x="1022196" y="5920016"/>
                  <a:pt x="1008566" y="5899570"/>
                </a:cubicBezTo>
                <a:cubicBezTo>
                  <a:pt x="954049" y="6005209"/>
                  <a:pt x="899532" y="6107441"/>
                  <a:pt x="845015" y="6213080"/>
                </a:cubicBezTo>
                <a:cubicBezTo>
                  <a:pt x="841607" y="6209672"/>
                  <a:pt x="834793" y="6209672"/>
                  <a:pt x="831386" y="6206265"/>
                </a:cubicBezTo>
                <a:cubicBezTo>
                  <a:pt x="845015" y="6141518"/>
                  <a:pt x="862052" y="6076771"/>
                  <a:pt x="875681" y="6012025"/>
                </a:cubicBezTo>
                <a:cubicBezTo>
                  <a:pt x="865459" y="6008616"/>
                  <a:pt x="858644" y="6005209"/>
                  <a:pt x="848422" y="6001801"/>
                </a:cubicBezTo>
                <a:cubicBezTo>
                  <a:pt x="827978" y="6039286"/>
                  <a:pt x="810942" y="6073364"/>
                  <a:pt x="790497" y="6110848"/>
                </a:cubicBezTo>
                <a:cubicBezTo>
                  <a:pt x="787091" y="6107441"/>
                  <a:pt x="780276" y="6107441"/>
                  <a:pt x="773461" y="6104033"/>
                </a:cubicBezTo>
                <a:cubicBezTo>
                  <a:pt x="872273" y="5821191"/>
                  <a:pt x="974493" y="5534943"/>
                  <a:pt x="1076712" y="5252101"/>
                </a:cubicBezTo>
                <a:cubicBezTo>
                  <a:pt x="1069898" y="5248694"/>
                  <a:pt x="1063083" y="5245286"/>
                  <a:pt x="1052861" y="5241878"/>
                </a:cubicBezTo>
                <a:cubicBezTo>
                  <a:pt x="984715" y="5388411"/>
                  <a:pt x="916568" y="5531535"/>
                  <a:pt x="848422" y="5678068"/>
                </a:cubicBezTo>
                <a:cubicBezTo>
                  <a:pt x="814349" y="5643990"/>
                  <a:pt x="814349" y="5643990"/>
                  <a:pt x="851830" y="5531535"/>
                </a:cubicBezTo>
                <a:cubicBezTo>
                  <a:pt x="872273" y="5473603"/>
                  <a:pt x="896125" y="5419081"/>
                  <a:pt x="919976" y="5364557"/>
                </a:cubicBezTo>
                <a:cubicBezTo>
                  <a:pt x="916568" y="5361149"/>
                  <a:pt x="909754" y="5354333"/>
                  <a:pt x="906346" y="5354333"/>
                </a:cubicBezTo>
                <a:cubicBezTo>
                  <a:pt x="793905" y="5419081"/>
                  <a:pt x="667834" y="5449750"/>
                  <a:pt x="599688" y="5596282"/>
                </a:cubicBezTo>
                <a:cubicBezTo>
                  <a:pt x="551985" y="5705329"/>
                  <a:pt x="473617" y="5821191"/>
                  <a:pt x="350954" y="5879123"/>
                </a:cubicBezTo>
                <a:cubicBezTo>
                  <a:pt x="313473" y="5899570"/>
                  <a:pt x="272586" y="5916608"/>
                  <a:pt x="231698" y="5926832"/>
                </a:cubicBezTo>
                <a:cubicBezTo>
                  <a:pt x="173773" y="5943870"/>
                  <a:pt x="115849" y="5954093"/>
                  <a:pt x="51110" y="5967724"/>
                </a:cubicBezTo>
                <a:cubicBezTo>
                  <a:pt x="102220" y="5872308"/>
                  <a:pt x="214661" y="5790522"/>
                  <a:pt x="156736" y="5650806"/>
                </a:cubicBezTo>
                <a:cubicBezTo>
                  <a:pt x="115849" y="5681475"/>
                  <a:pt x="71554" y="5718960"/>
                  <a:pt x="13629" y="5763260"/>
                </a:cubicBezTo>
                <a:cubicBezTo>
                  <a:pt x="64739" y="5555389"/>
                  <a:pt x="235105" y="5415672"/>
                  <a:pt x="279401" y="5218024"/>
                </a:cubicBezTo>
                <a:cubicBezTo>
                  <a:pt x="272586" y="5214617"/>
                  <a:pt x="262364" y="5211209"/>
                  <a:pt x="255549" y="5207801"/>
                </a:cubicBezTo>
                <a:cubicBezTo>
                  <a:pt x="286215" y="5160093"/>
                  <a:pt x="316880" y="5112385"/>
                  <a:pt x="357769" y="5054454"/>
                </a:cubicBezTo>
                <a:cubicBezTo>
                  <a:pt x="245327" y="5081715"/>
                  <a:pt x="153330" y="5105569"/>
                  <a:pt x="71554" y="5126015"/>
                </a:cubicBezTo>
                <a:cubicBezTo>
                  <a:pt x="109034" y="5040823"/>
                  <a:pt x="153330" y="4938591"/>
                  <a:pt x="201032" y="4836359"/>
                </a:cubicBezTo>
                <a:cubicBezTo>
                  <a:pt x="190810" y="4829544"/>
                  <a:pt x="180588" y="4822728"/>
                  <a:pt x="170366" y="4819320"/>
                </a:cubicBezTo>
                <a:cubicBezTo>
                  <a:pt x="146515" y="4832951"/>
                  <a:pt x="122663" y="4849990"/>
                  <a:pt x="95405" y="4867029"/>
                </a:cubicBezTo>
                <a:cubicBezTo>
                  <a:pt x="71554" y="4880659"/>
                  <a:pt x="44295" y="4897698"/>
                  <a:pt x="0" y="4928368"/>
                </a:cubicBezTo>
                <a:cubicBezTo>
                  <a:pt x="197625" y="4550110"/>
                  <a:pt x="385027" y="4192299"/>
                  <a:pt x="572429" y="3831080"/>
                </a:cubicBezTo>
                <a:cubicBezTo>
                  <a:pt x="562208" y="3824265"/>
                  <a:pt x="548579" y="3817449"/>
                  <a:pt x="538356" y="3810634"/>
                </a:cubicBezTo>
                <a:cubicBezTo>
                  <a:pt x="511098" y="3851527"/>
                  <a:pt x="480432" y="3892420"/>
                  <a:pt x="453174" y="3929904"/>
                </a:cubicBezTo>
                <a:cubicBezTo>
                  <a:pt x="449766" y="3929904"/>
                  <a:pt x="446359" y="3926497"/>
                  <a:pt x="442951" y="3926497"/>
                </a:cubicBezTo>
                <a:cubicBezTo>
                  <a:pt x="497469" y="3807227"/>
                  <a:pt x="551985" y="3687956"/>
                  <a:pt x="609910" y="3568685"/>
                </a:cubicBezTo>
                <a:cubicBezTo>
                  <a:pt x="698500" y="3384669"/>
                  <a:pt x="793905" y="3204059"/>
                  <a:pt x="882496" y="3016634"/>
                </a:cubicBezTo>
                <a:cubicBezTo>
                  <a:pt x="1035825" y="2692900"/>
                  <a:pt x="1240264" y="2403244"/>
                  <a:pt x="1444703" y="2110179"/>
                </a:cubicBezTo>
                <a:cubicBezTo>
                  <a:pt x="1468554" y="2072694"/>
                  <a:pt x="1526478" y="2055656"/>
                  <a:pt x="1570773" y="2038617"/>
                </a:cubicBezTo>
                <a:lnTo>
                  <a:pt x="1601812" y="2026687"/>
                </a:lnTo>
                <a:lnTo>
                  <a:pt x="1639611" y="1950489"/>
                </a:lnTo>
                <a:cubicBezTo>
                  <a:pt x="1680597" y="1868886"/>
                  <a:pt x="1721583" y="1786904"/>
                  <a:pt x="1761051" y="1703404"/>
                </a:cubicBezTo>
                <a:cubicBezTo>
                  <a:pt x="1897671" y="1414949"/>
                  <a:pt x="2079832" y="1156858"/>
                  <a:pt x="2261992" y="895729"/>
                </a:cubicBezTo>
                <a:cubicBezTo>
                  <a:pt x="2283245" y="862329"/>
                  <a:pt x="2334856" y="847148"/>
                  <a:pt x="2374324" y="831966"/>
                </a:cubicBezTo>
                <a:cubicBezTo>
                  <a:pt x="2441117" y="801602"/>
                  <a:pt x="2510945" y="783384"/>
                  <a:pt x="2577737" y="756057"/>
                </a:cubicBezTo>
                <a:cubicBezTo>
                  <a:pt x="2671853" y="713547"/>
                  <a:pt x="2680962" y="768202"/>
                  <a:pt x="2680962" y="844111"/>
                </a:cubicBezTo>
                <a:cubicBezTo>
                  <a:pt x="2984562" y="616384"/>
                  <a:pt x="3282090" y="391692"/>
                  <a:pt x="3591763" y="157891"/>
                </a:cubicBezTo>
                <a:cubicBezTo>
                  <a:pt x="3512827" y="248982"/>
                  <a:pt x="3442999" y="334001"/>
                  <a:pt x="3373171" y="415983"/>
                </a:cubicBezTo>
                <a:cubicBezTo>
                  <a:pt x="3379242" y="422056"/>
                  <a:pt x="3385315" y="428128"/>
                  <a:pt x="3391386" y="434201"/>
                </a:cubicBezTo>
                <a:cubicBezTo>
                  <a:pt x="3528007" y="294528"/>
                  <a:pt x="3667663" y="154855"/>
                  <a:pt x="3807320" y="12146"/>
                </a:cubicBezTo>
                <a:cubicBezTo>
                  <a:pt x="3810356" y="18219"/>
                  <a:pt x="3816427" y="24291"/>
                  <a:pt x="3822500" y="27327"/>
                </a:cubicBezTo>
                <a:cubicBezTo>
                  <a:pt x="3816427" y="45546"/>
                  <a:pt x="3813392" y="63764"/>
                  <a:pt x="3807320" y="81983"/>
                </a:cubicBezTo>
                <a:cubicBezTo>
                  <a:pt x="3752672" y="85019"/>
                  <a:pt x="3767852" y="127528"/>
                  <a:pt x="3752672" y="160928"/>
                </a:cubicBezTo>
                <a:cubicBezTo>
                  <a:pt x="3734455" y="203437"/>
                  <a:pt x="3694987" y="236837"/>
                  <a:pt x="3655520" y="282383"/>
                </a:cubicBezTo>
                <a:cubicBezTo>
                  <a:pt x="3688915" y="276310"/>
                  <a:pt x="3707131" y="270237"/>
                  <a:pt x="3722311" y="267201"/>
                </a:cubicBezTo>
                <a:cubicBezTo>
                  <a:pt x="3701059" y="309710"/>
                  <a:pt x="3679807" y="352219"/>
                  <a:pt x="3655520" y="394729"/>
                </a:cubicBezTo>
                <a:cubicBezTo>
                  <a:pt x="3658555" y="397765"/>
                  <a:pt x="3661591" y="403837"/>
                  <a:pt x="3664627" y="406874"/>
                </a:cubicBezTo>
                <a:cubicBezTo>
                  <a:pt x="3770888" y="303638"/>
                  <a:pt x="3880184" y="197364"/>
                  <a:pt x="3989480" y="94127"/>
                </a:cubicBezTo>
                <a:cubicBezTo>
                  <a:pt x="3953048" y="188255"/>
                  <a:pt x="3916616" y="276310"/>
                  <a:pt x="3883220" y="364364"/>
                </a:cubicBezTo>
                <a:cubicBezTo>
                  <a:pt x="3889292" y="370438"/>
                  <a:pt x="3895364" y="373474"/>
                  <a:pt x="3901436" y="376510"/>
                </a:cubicBezTo>
                <a:cubicBezTo>
                  <a:pt x="3925724" y="352219"/>
                  <a:pt x="3950012" y="324892"/>
                  <a:pt x="3974300" y="297564"/>
                </a:cubicBezTo>
                <a:cubicBezTo>
                  <a:pt x="3977336" y="303638"/>
                  <a:pt x="3983408" y="306674"/>
                  <a:pt x="3989480" y="312746"/>
                </a:cubicBezTo>
                <a:cubicBezTo>
                  <a:pt x="3946976" y="364364"/>
                  <a:pt x="3904472" y="412946"/>
                  <a:pt x="3852860" y="479746"/>
                </a:cubicBezTo>
                <a:cubicBezTo>
                  <a:pt x="3886255" y="467601"/>
                  <a:pt x="3910544" y="464565"/>
                  <a:pt x="3928760" y="449383"/>
                </a:cubicBezTo>
                <a:cubicBezTo>
                  <a:pt x="4001624" y="382583"/>
                  <a:pt x="4071452" y="306674"/>
                  <a:pt x="4147352" y="236837"/>
                </a:cubicBezTo>
                <a:cubicBezTo>
                  <a:pt x="4159496" y="224692"/>
                  <a:pt x="4189857" y="163964"/>
                  <a:pt x="4211108" y="239874"/>
                </a:cubicBezTo>
                <a:cubicBezTo>
                  <a:pt x="4211108" y="242910"/>
                  <a:pt x="4253612" y="242910"/>
                  <a:pt x="4256648" y="236837"/>
                </a:cubicBezTo>
                <a:cubicBezTo>
                  <a:pt x="4302189" y="163964"/>
                  <a:pt x="4353801" y="130564"/>
                  <a:pt x="4444881" y="151819"/>
                </a:cubicBezTo>
                <a:cubicBezTo>
                  <a:pt x="4466134" y="157891"/>
                  <a:pt x="4502565" y="112346"/>
                  <a:pt x="4535962" y="88055"/>
                </a:cubicBezTo>
                <a:cubicBezTo>
                  <a:pt x="4532926" y="115382"/>
                  <a:pt x="4529889" y="136637"/>
                  <a:pt x="4526853" y="157891"/>
                </a:cubicBezTo>
                <a:cubicBezTo>
                  <a:pt x="4529889" y="163964"/>
                  <a:pt x="4535962" y="167001"/>
                  <a:pt x="4538997" y="173074"/>
                </a:cubicBezTo>
                <a:cubicBezTo>
                  <a:pt x="4605790" y="115382"/>
                  <a:pt x="4675618" y="57692"/>
                  <a:pt x="4742410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8753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>
            <a:spLocks noGrp="1"/>
          </p:cNvSpPr>
          <p:nvPr>
            <p:ph type="pic" sz="quarter" idx="11"/>
          </p:nvPr>
        </p:nvSpPr>
        <p:spPr>
          <a:xfrm>
            <a:off x="590551" y="261939"/>
            <a:ext cx="5867400" cy="6334125"/>
          </a:xfrm>
          <a:custGeom>
            <a:avLst/>
            <a:gdLst>
              <a:gd name="connsiteX0" fmla="*/ 2216240 w 5867400"/>
              <a:gd name="connsiteY0" fmla="*/ 5488401 h 6334125"/>
              <a:gd name="connsiteX1" fmla="*/ 2217838 w 5867400"/>
              <a:gd name="connsiteY1" fmla="*/ 5488902 h 6334125"/>
              <a:gd name="connsiteX2" fmla="*/ 2216709 w 5867400"/>
              <a:gd name="connsiteY2" fmla="*/ 5493099 h 6334125"/>
              <a:gd name="connsiteX3" fmla="*/ 2216240 w 5867400"/>
              <a:gd name="connsiteY3" fmla="*/ 5488401 h 6334125"/>
              <a:gd name="connsiteX4" fmla="*/ 608997 w 5867400"/>
              <a:gd name="connsiteY4" fmla="*/ 4291701 h 6334125"/>
              <a:gd name="connsiteX5" fmla="*/ 609527 w 5867400"/>
              <a:gd name="connsiteY5" fmla="*/ 4292163 h 6334125"/>
              <a:gd name="connsiteX6" fmla="*/ 608527 w 5867400"/>
              <a:gd name="connsiteY6" fmla="*/ 4293110 h 6334125"/>
              <a:gd name="connsiteX7" fmla="*/ 608997 w 5867400"/>
              <a:gd name="connsiteY7" fmla="*/ 4291701 h 6334125"/>
              <a:gd name="connsiteX8" fmla="*/ 672385 w 5867400"/>
              <a:gd name="connsiteY8" fmla="*/ 3969855 h 6334125"/>
              <a:gd name="connsiteX9" fmla="*/ 676141 w 5867400"/>
              <a:gd name="connsiteY9" fmla="*/ 3969855 h 6334125"/>
              <a:gd name="connsiteX10" fmla="*/ 675322 w 5867400"/>
              <a:gd name="connsiteY10" fmla="*/ 3972210 h 6334125"/>
              <a:gd name="connsiteX11" fmla="*/ 608997 w 5867400"/>
              <a:gd name="connsiteY11" fmla="*/ 3129651 h 6334125"/>
              <a:gd name="connsiteX12" fmla="*/ 609527 w 5867400"/>
              <a:gd name="connsiteY12" fmla="*/ 3130113 h 6334125"/>
              <a:gd name="connsiteX13" fmla="*/ 608527 w 5867400"/>
              <a:gd name="connsiteY13" fmla="*/ 3131060 h 6334125"/>
              <a:gd name="connsiteX14" fmla="*/ 608997 w 5867400"/>
              <a:gd name="connsiteY14" fmla="*/ 3129651 h 6334125"/>
              <a:gd name="connsiteX15" fmla="*/ 672385 w 5867400"/>
              <a:gd name="connsiteY15" fmla="*/ 2807805 h 6334125"/>
              <a:gd name="connsiteX16" fmla="*/ 676141 w 5867400"/>
              <a:gd name="connsiteY16" fmla="*/ 2807805 h 6334125"/>
              <a:gd name="connsiteX17" fmla="*/ 675322 w 5867400"/>
              <a:gd name="connsiteY17" fmla="*/ 2810160 h 6334125"/>
              <a:gd name="connsiteX18" fmla="*/ 1442434 w 5867400"/>
              <a:gd name="connsiteY18" fmla="*/ 0 h 6334125"/>
              <a:gd name="connsiteX19" fmla="*/ 1720403 w 5867400"/>
              <a:gd name="connsiteY19" fmla="*/ 0 h 6334125"/>
              <a:gd name="connsiteX20" fmla="*/ 1720403 w 5867400"/>
              <a:gd name="connsiteY20" fmla="*/ 56382 h 6334125"/>
              <a:gd name="connsiteX21" fmla="*/ 1874413 w 5867400"/>
              <a:gd name="connsiteY21" fmla="*/ 165386 h 6334125"/>
              <a:gd name="connsiteX22" fmla="*/ 1859388 w 5867400"/>
              <a:gd name="connsiteY22" fmla="*/ 199215 h 6334125"/>
              <a:gd name="connsiteX23" fmla="*/ 1889438 w 5867400"/>
              <a:gd name="connsiteY23" fmla="*/ 187939 h 6334125"/>
              <a:gd name="connsiteX24" fmla="*/ 1945783 w 5867400"/>
              <a:gd name="connsiteY24" fmla="*/ 225527 h 6334125"/>
              <a:gd name="connsiteX25" fmla="*/ 2069742 w 5867400"/>
              <a:gd name="connsiteY25" fmla="*/ 259356 h 6334125"/>
              <a:gd name="connsiteX26" fmla="*/ 2178676 w 5867400"/>
              <a:gd name="connsiteY26" fmla="*/ 353325 h 6334125"/>
              <a:gd name="connsiteX27" fmla="*/ 2253803 w 5867400"/>
              <a:gd name="connsiteY27" fmla="*/ 372119 h 6334125"/>
              <a:gd name="connsiteX28" fmla="*/ 2317661 w 5867400"/>
              <a:gd name="connsiteY28" fmla="*/ 387154 h 6334125"/>
              <a:gd name="connsiteX29" fmla="*/ 2313904 w 5867400"/>
              <a:gd name="connsiteY29" fmla="*/ 413465 h 6334125"/>
              <a:gd name="connsiteX30" fmla="*/ 2238778 w 5867400"/>
              <a:gd name="connsiteY30" fmla="*/ 413465 h 6334125"/>
              <a:gd name="connsiteX31" fmla="*/ 2332686 w 5867400"/>
              <a:gd name="connsiteY31" fmla="*/ 514952 h 6334125"/>
              <a:gd name="connsiteX32" fmla="*/ 2434107 w 5867400"/>
              <a:gd name="connsiteY32" fmla="*/ 518711 h 6334125"/>
              <a:gd name="connsiteX33" fmla="*/ 2396544 w 5867400"/>
              <a:gd name="connsiteY33" fmla="*/ 590128 h 6334125"/>
              <a:gd name="connsiteX34" fmla="*/ 2479183 w 5867400"/>
              <a:gd name="connsiteY34" fmla="*/ 657786 h 6334125"/>
              <a:gd name="connsiteX35" fmla="*/ 2486696 w 5867400"/>
              <a:gd name="connsiteY35" fmla="*/ 601404 h 6334125"/>
              <a:gd name="connsiteX36" fmla="*/ 2584361 w 5867400"/>
              <a:gd name="connsiteY36" fmla="*/ 684097 h 6334125"/>
              <a:gd name="connsiteX37" fmla="*/ 2723345 w 5867400"/>
              <a:gd name="connsiteY37" fmla="*/ 849483 h 6334125"/>
              <a:gd name="connsiteX38" fmla="*/ 2805985 w 5867400"/>
              <a:gd name="connsiteY38" fmla="*/ 898347 h 6334125"/>
              <a:gd name="connsiteX39" fmla="*/ 2839792 w 5867400"/>
              <a:gd name="connsiteY39" fmla="*/ 849483 h 6334125"/>
              <a:gd name="connsiteX40" fmla="*/ 2881112 w 5867400"/>
              <a:gd name="connsiteY40" fmla="*/ 966005 h 6334125"/>
              <a:gd name="connsiteX41" fmla="*/ 2997558 w 5867400"/>
              <a:gd name="connsiteY41" fmla="*/ 1059975 h 6334125"/>
              <a:gd name="connsiteX42" fmla="*/ 3076441 w 5867400"/>
              <a:gd name="connsiteY42" fmla="*/ 1075010 h 6334125"/>
              <a:gd name="connsiteX43" fmla="*/ 3181618 w 5867400"/>
              <a:gd name="connsiteY43" fmla="*/ 1029905 h 6334125"/>
              <a:gd name="connsiteX44" fmla="*/ 3159080 w 5867400"/>
              <a:gd name="connsiteY44" fmla="*/ 950970 h 6334125"/>
              <a:gd name="connsiteX45" fmla="*/ 3192887 w 5867400"/>
              <a:gd name="connsiteY45" fmla="*/ 969764 h 6334125"/>
              <a:gd name="connsiteX46" fmla="*/ 3219182 w 5867400"/>
              <a:gd name="connsiteY46" fmla="*/ 879554 h 6334125"/>
              <a:gd name="connsiteX47" fmla="*/ 3244537 w 5867400"/>
              <a:gd name="connsiteY47" fmla="*/ 857001 h 6334125"/>
              <a:gd name="connsiteX48" fmla="*/ 3286796 w 5867400"/>
              <a:gd name="connsiteY48" fmla="*/ 834448 h 6334125"/>
              <a:gd name="connsiteX49" fmla="*/ 3290552 w 5867400"/>
              <a:gd name="connsiteY49" fmla="*/ 836328 h 6334125"/>
              <a:gd name="connsiteX50" fmla="*/ 3316847 w 5867400"/>
              <a:gd name="connsiteY50" fmla="*/ 849483 h 6334125"/>
              <a:gd name="connsiteX51" fmla="*/ 3301821 w 5867400"/>
              <a:gd name="connsiteY51" fmla="*/ 778067 h 6334125"/>
              <a:gd name="connsiteX52" fmla="*/ 3391973 w 5867400"/>
              <a:gd name="connsiteY52" fmla="*/ 785584 h 6334125"/>
              <a:gd name="connsiteX53" fmla="*/ 3527202 w 5867400"/>
              <a:gd name="connsiteY53" fmla="*/ 860760 h 6334125"/>
              <a:gd name="connsiteX54" fmla="*/ 3553496 w 5867400"/>
              <a:gd name="connsiteY54" fmla="*/ 898347 h 6334125"/>
              <a:gd name="connsiteX55" fmla="*/ 3497151 w 5867400"/>
              <a:gd name="connsiteY55" fmla="*/ 962247 h 6334125"/>
              <a:gd name="connsiteX56" fmla="*/ 3602328 w 5867400"/>
              <a:gd name="connsiteY56" fmla="*/ 1044940 h 6334125"/>
              <a:gd name="connsiteX57" fmla="*/ 3699993 w 5867400"/>
              <a:gd name="connsiteY57" fmla="*/ 1165221 h 6334125"/>
              <a:gd name="connsiteX58" fmla="*/ 3778876 w 5867400"/>
              <a:gd name="connsiteY58" fmla="*/ 1326848 h 6334125"/>
              <a:gd name="connsiteX59" fmla="*/ 3730044 w 5867400"/>
              <a:gd name="connsiteY59" fmla="*/ 1262949 h 6334125"/>
              <a:gd name="connsiteX60" fmla="*/ 3711262 w 5867400"/>
              <a:gd name="connsiteY60" fmla="*/ 1277984 h 6334125"/>
              <a:gd name="connsiteX61" fmla="*/ 3797658 w 5867400"/>
              <a:gd name="connsiteY61" fmla="*/ 1364436 h 6334125"/>
              <a:gd name="connsiteX62" fmla="*/ 3921617 w 5867400"/>
              <a:gd name="connsiteY62" fmla="*/ 1420817 h 6334125"/>
              <a:gd name="connsiteX63" fmla="*/ 3955424 w 5867400"/>
              <a:gd name="connsiteY63" fmla="*/ 1495993 h 6334125"/>
              <a:gd name="connsiteX64" fmla="*/ 3996744 w 5867400"/>
              <a:gd name="connsiteY64" fmla="*/ 1635068 h 6334125"/>
              <a:gd name="connsiteX65" fmla="*/ 4075627 w 5867400"/>
              <a:gd name="connsiteY65" fmla="*/ 1574927 h 6334125"/>
              <a:gd name="connsiteX66" fmla="*/ 4105678 w 5867400"/>
              <a:gd name="connsiteY66" fmla="*/ 1574927 h 6334125"/>
              <a:gd name="connsiteX67" fmla="*/ 4109434 w 5867400"/>
              <a:gd name="connsiteY67" fmla="*/ 1593721 h 6334125"/>
              <a:gd name="connsiteX68" fmla="*/ 4109434 w 5867400"/>
              <a:gd name="connsiteY68" fmla="*/ 1612515 h 6334125"/>
              <a:gd name="connsiteX69" fmla="*/ 4124459 w 5867400"/>
              <a:gd name="connsiteY69" fmla="*/ 1612515 h 6334125"/>
              <a:gd name="connsiteX70" fmla="*/ 4165779 w 5867400"/>
              <a:gd name="connsiteY70" fmla="*/ 1665138 h 6334125"/>
              <a:gd name="connsiteX71" fmla="*/ 4222124 w 5867400"/>
              <a:gd name="connsiteY71" fmla="*/ 1762866 h 6334125"/>
              <a:gd name="connsiteX72" fmla="*/ 4237150 w 5867400"/>
              <a:gd name="connsiteY72" fmla="*/ 1777901 h 6334125"/>
              <a:gd name="connsiteX73" fmla="*/ 4240906 w 5867400"/>
              <a:gd name="connsiteY73" fmla="*/ 1796695 h 6334125"/>
              <a:gd name="connsiteX74" fmla="*/ 4297251 w 5867400"/>
              <a:gd name="connsiteY74" fmla="*/ 1834283 h 6334125"/>
              <a:gd name="connsiteX75" fmla="*/ 4331058 w 5867400"/>
              <a:gd name="connsiteY75" fmla="*/ 1871870 h 6334125"/>
              <a:gd name="connsiteX76" fmla="*/ 4368621 w 5867400"/>
              <a:gd name="connsiteY76" fmla="*/ 1905699 h 6334125"/>
              <a:gd name="connsiteX77" fmla="*/ 4402428 w 5867400"/>
              <a:gd name="connsiteY77" fmla="*/ 1962081 h 6334125"/>
              <a:gd name="connsiteX78" fmla="*/ 4515119 w 5867400"/>
              <a:gd name="connsiteY78" fmla="*/ 2108673 h 6334125"/>
              <a:gd name="connsiteX79" fmla="*/ 4548926 w 5867400"/>
              <a:gd name="connsiteY79" fmla="*/ 2097397 h 6334125"/>
              <a:gd name="connsiteX80" fmla="*/ 4537657 w 5867400"/>
              <a:gd name="connsiteY80" fmla="*/ 2056050 h 6334125"/>
              <a:gd name="connsiteX81" fmla="*/ 4533900 w 5867400"/>
              <a:gd name="connsiteY81" fmla="*/ 1984634 h 6334125"/>
              <a:gd name="connsiteX82" fmla="*/ 4605271 w 5867400"/>
              <a:gd name="connsiteY82" fmla="*/ 2082362 h 6334125"/>
              <a:gd name="connsiteX83" fmla="*/ 4642834 w 5867400"/>
              <a:gd name="connsiteY83" fmla="*/ 2052292 h 6334125"/>
              <a:gd name="connsiteX84" fmla="*/ 4714204 w 5867400"/>
              <a:gd name="connsiteY84" fmla="*/ 2150020 h 6334125"/>
              <a:gd name="connsiteX85" fmla="*/ 4744255 w 5867400"/>
              <a:gd name="connsiteY85" fmla="*/ 2195125 h 6334125"/>
              <a:gd name="connsiteX86" fmla="*/ 4909534 w 5867400"/>
              <a:gd name="connsiteY86" fmla="*/ 2439445 h 6334125"/>
              <a:gd name="connsiteX87" fmla="*/ 4935828 w 5867400"/>
              <a:gd name="connsiteY87" fmla="*/ 2446963 h 6334125"/>
              <a:gd name="connsiteX88" fmla="*/ 5014712 w 5867400"/>
              <a:gd name="connsiteY88" fmla="*/ 2507104 h 6334125"/>
              <a:gd name="connsiteX89" fmla="*/ 5059788 w 5867400"/>
              <a:gd name="connsiteY89" fmla="*/ 2548450 h 6334125"/>
              <a:gd name="connsiteX90" fmla="*/ 5104864 w 5867400"/>
              <a:gd name="connsiteY90" fmla="*/ 2510862 h 6334125"/>
              <a:gd name="connsiteX91" fmla="*/ 5127402 w 5867400"/>
              <a:gd name="connsiteY91" fmla="*/ 2461998 h 6334125"/>
              <a:gd name="connsiteX92" fmla="*/ 5149940 w 5867400"/>
              <a:gd name="connsiteY92" fmla="*/ 2461998 h 6334125"/>
              <a:gd name="connsiteX93" fmla="*/ 5273899 w 5867400"/>
              <a:gd name="connsiteY93" fmla="*/ 2488309 h 6334125"/>
              <a:gd name="connsiteX94" fmla="*/ 5326488 w 5867400"/>
              <a:gd name="connsiteY94" fmla="*/ 2507104 h 6334125"/>
              <a:gd name="connsiteX95" fmla="*/ 5364051 w 5867400"/>
              <a:gd name="connsiteY95" fmla="*/ 2612349 h 6334125"/>
              <a:gd name="connsiteX96" fmla="*/ 5356538 w 5867400"/>
              <a:gd name="connsiteY96" fmla="*/ 2804047 h 6334125"/>
              <a:gd name="connsiteX97" fmla="*/ 5303950 w 5867400"/>
              <a:gd name="connsiteY97" fmla="*/ 2954398 h 6334125"/>
              <a:gd name="connsiteX98" fmla="*/ 5367807 w 5867400"/>
              <a:gd name="connsiteY98" fmla="*/ 2973191 h 6334125"/>
              <a:gd name="connsiteX99" fmla="*/ 5142427 w 5867400"/>
              <a:gd name="connsiteY99" fmla="*/ 3063402 h 6334125"/>
              <a:gd name="connsiteX100" fmla="*/ 5108620 w 5867400"/>
              <a:gd name="connsiteY100" fmla="*/ 3221271 h 6334125"/>
              <a:gd name="connsiteX101" fmla="*/ 5093595 w 5867400"/>
              <a:gd name="connsiteY101" fmla="*/ 3277652 h 6334125"/>
              <a:gd name="connsiteX102" fmla="*/ 5131158 w 5867400"/>
              <a:gd name="connsiteY102" fmla="*/ 3296446 h 6334125"/>
              <a:gd name="connsiteX103" fmla="*/ 5146183 w 5867400"/>
              <a:gd name="connsiteY103" fmla="*/ 3315240 h 6334125"/>
              <a:gd name="connsiteX104" fmla="*/ 5164965 w 5867400"/>
              <a:gd name="connsiteY104" fmla="*/ 3352828 h 6334125"/>
              <a:gd name="connsiteX105" fmla="*/ 5172478 w 5867400"/>
              <a:gd name="connsiteY105" fmla="*/ 3352828 h 6334125"/>
              <a:gd name="connsiteX106" fmla="*/ 5183747 w 5867400"/>
              <a:gd name="connsiteY106" fmla="*/ 3352828 h 6334125"/>
              <a:gd name="connsiteX107" fmla="*/ 5202528 w 5867400"/>
              <a:gd name="connsiteY107" fmla="*/ 3352828 h 6334125"/>
              <a:gd name="connsiteX108" fmla="*/ 5334000 w 5867400"/>
              <a:gd name="connsiteY108" fmla="*/ 3315240 h 6334125"/>
              <a:gd name="connsiteX109" fmla="*/ 5514304 w 5867400"/>
              <a:gd name="connsiteY109" fmla="*/ 3375380 h 6334125"/>
              <a:gd name="connsiteX110" fmla="*/ 5548112 w 5867400"/>
              <a:gd name="connsiteY110" fmla="*/ 3458074 h 6334125"/>
              <a:gd name="connsiteX111" fmla="*/ 5548112 w 5867400"/>
              <a:gd name="connsiteY111" fmla="*/ 3544525 h 6334125"/>
              <a:gd name="connsiteX112" fmla="*/ 5604457 w 5867400"/>
              <a:gd name="connsiteY112" fmla="*/ 3800122 h 6334125"/>
              <a:gd name="connsiteX113" fmla="*/ 5623238 w 5867400"/>
              <a:gd name="connsiteY113" fmla="*/ 4033166 h 6334125"/>
              <a:gd name="connsiteX114" fmla="*/ 5672071 w 5867400"/>
              <a:gd name="connsiteY114" fmla="*/ 4307557 h 6334125"/>
              <a:gd name="connsiteX115" fmla="*/ 5596944 w 5867400"/>
              <a:gd name="connsiteY115" fmla="*/ 4292522 h 6334125"/>
              <a:gd name="connsiteX116" fmla="*/ 5673010 w 5867400"/>
              <a:gd name="connsiteY116" fmla="*/ 4353602 h 6334125"/>
              <a:gd name="connsiteX117" fmla="*/ 5742387 w 5867400"/>
              <a:gd name="connsiteY117" fmla="*/ 4408214 h 6334125"/>
              <a:gd name="connsiteX118" fmla="*/ 5739215 w 5867400"/>
              <a:gd name="connsiteY118" fmla="*/ 4417031 h 6334125"/>
              <a:gd name="connsiteX119" fmla="*/ 5743441 w 5867400"/>
              <a:gd name="connsiteY119" fmla="*/ 4409044 h 6334125"/>
              <a:gd name="connsiteX120" fmla="*/ 5742387 w 5867400"/>
              <a:gd name="connsiteY120" fmla="*/ 4408214 h 6334125"/>
              <a:gd name="connsiteX121" fmla="*/ 5743441 w 5867400"/>
              <a:gd name="connsiteY121" fmla="*/ 4405285 h 6334125"/>
              <a:gd name="connsiteX122" fmla="*/ 5765979 w 5867400"/>
              <a:gd name="connsiteY122" fmla="*/ 4600741 h 6334125"/>
              <a:gd name="connsiteX123" fmla="*/ 5867400 w 5867400"/>
              <a:gd name="connsiteY123" fmla="*/ 4668399 h 6334125"/>
              <a:gd name="connsiteX124" fmla="*/ 5852375 w 5867400"/>
              <a:gd name="connsiteY124" fmla="*/ 4871373 h 6334125"/>
              <a:gd name="connsiteX125" fmla="*/ 5811055 w 5867400"/>
              <a:gd name="connsiteY125" fmla="*/ 4856338 h 6334125"/>
              <a:gd name="connsiteX126" fmla="*/ 5818568 w 5867400"/>
              <a:gd name="connsiteY126" fmla="*/ 4961584 h 6334125"/>
              <a:gd name="connsiteX127" fmla="*/ 5672071 w 5867400"/>
              <a:gd name="connsiteY127" fmla="*/ 5021724 h 6334125"/>
              <a:gd name="connsiteX128" fmla="*/ 5637325 w 5867400"/>
              <a:gd name="connsiteY128" fmla="*/ 5074347 h 6334125"/>
              <a:gd name="connsiteX129" fmla="*/ 5613845 w 5867400"/>
              <a:gd name="connsiteY129" fmla="*/ 5107695 h 6334125"/>
              <a:gd name="connsiteX130" fmla="*/ 5612381 w 5867400"/>
              <a:gd name="connsiteY130" fmla="*/ 5139246 h 6334125"/>
              <a:gd name="connsiteX131" fmla="*/ 5623238 w 5867400"/>
              <a:gd name="connsiteY131" fmla="*/ 5195216 h 6334125"/>
              <a:gd name="connsiteX132" fmla="*/ 5672071 w 5867400"/>
              <a:gd name="connsiteY132" fmla="*/ 5469607 h 6334125"/>
              <a:gd name="connsiteX133" fmla="*/ 5596944 w 5867400"/>
              <a:gd name="connsiteY133" fmla="*/ 5454572 h 6334125"/>
              <a:gd name="connsiteX134" fmla="*/ 5673010 w 5867400"/>
              <a:gd name="connsiteY134" fmla="*/ 5515652 h 6334125"/>
              <a:gd name="connsiteX135" fmla="*/ 5742387 w 5867400"/>
              <a:gd name="connsiteY135" fmla="*/ 5570264 h 6334125"/>
              <a:gd name="connsiteX136" fmla="*/ 5739215 w 5867400"/>
              <a:gd name="connsiteY136" fmla="*/ 5579081 h 6334125"/>
              <a:gd name="connsiteX137" fmla="*/ 5743441 w 5867400"/>
              <a:gd name="connsiteY137" fmla="*/ 5571094 h 6334125"/>
              <a:gd name="connsiteX138" fmla="*/ 5742387 w 5867400"/>
              <a:gd name="connsiteY138" fmla="*/ 5570264 h 6334125"/>
              <a:gd name="connsiteX139" fmla="*/ 5743441 w 5867400"/>
              <a:gd name="connsiteY139" fmla="*/ 5567335 h 6334125"/>
              <a:gd name="connsiteX140" fmla="*/ 5765979 w 5867400"/>
              <a:gd name="connsiteY140" fmla="*/ 5762791 h 6334125"/>
              <a:gd name="connsiteX141" fmla="*/ 5867400 w 5867400"/>
              <a:gd name="connsiteY141" fmla="*/ 5830449 h 6334125"/>
              <a:gd name="connsiteX142" fmla="*/ 5852375 w 5867400"/>
              <a:gd name="connsiteY142" fmla="*/ 6033423 h 6334125"/>
              <a:gd name="connsiteX143" fmla="*/ 5811055 w 5867400"/>
              <a:gd name="connsiteY143" fmla="*/ 6018388 h 6334125"/>
              <a:gd name="connsiteX144" fmla="*/ 5818568 w 5867400"/>
              <a:gd name="connsiteY144" fmla="*/ 6123634 h 6334125"/>
              <a:gd name="connsiteX145" fmla="*/ 5672071 w 5867400"/>
              <a:gd name="connsiteY145" fmla="*/ 6183774 h 6334125"/>
              <a:gd name="connsiteX146" fmla="*/ 5608213 w 5867400"/>
              <a:gd name="connsiteY146" fmla="*/ 6277744 h 6334125"/>
              <a:gd name="connsiteX147" fmla="*/ 5555624 w 5867400"/>
              <a:gd name="connsiteY147" fmla="*/ 6273985 h 6334125"/>
              <a:gd name="connsiteX148" fmla="*/ 5555624 w 5867400"/>
              <a:gd name="connsiteY148" fmla="*/ 6296537 h 6334125"/>
              <a:gd name="connsiteX149" fmla="*/ 5551868 w 5867400"/>
              <a:gd name="connsiteY149" fmla="*/ 6311573 h 6334125"/>
              <a:gd name="connsiteX150" fmla="*/ 5382833 w 5867400"/>
              <a:gd name="connsiteY150" fmla="*/ 6296537 h 6334125"/>
              <a:gd name="connsiteX151" fmla="*/ 5052275 w 5867400"/>
              <a:gd name="connsiteY151" fmla="*/ 6334125 h 6334125"/>
              <a:gd name="connsiteX152" fmla="*/ 5093595 w 5867400"/>
              <a:gd name="connsiteY152" fmla="*/ 6258950 h 6334125"/>
              <a:gd name="connsiteX153" fmla="*/ 5048519 w 5867400"/>
              <a:gd name="connsiteY153" fmla="*/ 6217603 h 6334125"/>
              <a:gd name="connsiteX154" fmla="*/ 4759281 w 5867400"/>
              <a:gd name="connsiteY154" fmla="*/ 6191292 h 6334125"/>
              <a:gd name="connsiteX155" fmla="*/ 4789331 w 5867400"/>
              <a:gd name="connsiteY155" fmla="*/ 6255191 h 6334125"/>
              <a:gd name="connsiteX156" fmla="*/ 4744255 w 5867400"/>
              <a:gd name="connsiteY156" fmla="*/ 6251432 h 6334125"/>
              <a:gd name="connsiteX157" fmla="*/ 4530144 w 5867400"/>
              <a:gd name="connsiteY157" fmla="*/ 6191292 h 6334125"/>
              <a:gd name="connsiteX158" fmla="*/ 4263444 w 5867400"/>
              <a:gd name="connsiteY158" fmla="*/ 6104840 h 6334125"/>
              <a:gd name="connsiteX159" fmla="*/ 4203343 w 5867400"/>
              <a:gd name="connsiteY159" fmla="*/ 6127393 h 6334125"/>
              <a:gd name="connsiteX160" fmla="*/ 4146997 w 5867400"/>
              <a:gd name="connsiteY160" fmla="*/ 6123634 h 6334125"/>
              <a:gd name="connsiteX161" fmla="*/ 3977962 w 5867400"/>
              <a:gd name="connsiteY161" fmla="*/ 6123634 h 6334125"/>
              <a:gd name="connsiteX162" fmla="*/ 3767607 w 5867400"/>
              <a:gd name="connsiteY162" fmla="*/ 6055976 h 6334125"/>
              <a:gd name="connsiteX163" fmla="*/ 3823952 w 5867400"/>
              <a:gd name="connsiteY163" fmla="*/ 6168739 h 6334125"/>
              <a:gd name="connsiteX164" fmla="*/ 3797658 w 5867400"/>
              <a:gd name="connsiteY164" fmla="*/ 6183774 h 6334125"/>
              <a:gd name="connsiteX165" fmla="*/ 3609841 w 5867400"/>
              <a:gd name="connsiteY165" fmla="*/ 6082287 h 6334125"/>
              <a:gd name="connsiteX166" fmla="*/ 3534714 w 5867400"/>
              <a:gd name="connsiteY166" fmla="*/ 6210086 h 6334125"/>
              <a:gd name="connsiteX167" fmla="*/ 3463344 w 5867400"/>
              <a:gd name="connsiteY167" fmla="*/ 6131151 h 6334125"/>
              <a:gd name="connsiteX168" fmla="*/ 3260502 w 5867400"/>
              <a:gd name="connsiteY168" fmla="*/ 6018388 h 6334125"/>
              <a:gd name="connsiteX169" fmla="*/ 3245476 w 5867400"/>
              <a:gd name="connsiteY169" fmla="*/ 6059735 h 6334125"/>
              <a:gd name="connsiteX170" fmla="*/ 3185375 w 5867400"/>
              <a:gd name="connsiteY170" fmla="*/ 5958248 h 6334125"/>
              <a:gd name="connsiteX171" fmla="*/ 3144055 w 5867400"/>
              <a:gd name="connsiteY171" fmla="*/ 6059735 h 6334125"/>
              <a:gd name="connsiteX172" fmla="*/ 3102736 w 5867400"/>
              <a:gd name="connsiteY172" fmla="*/ 5977042 h 6334125"/>
              <a:gd name="connsiteX173" fmla="*/ 3016340 w 5867400"/>
              <a:gd name="connsiteY173" fmla="*/ 6014629 h 6334125"/>
              <a:gd name="connsiteX174" fmla="*/ 2794716 w 5867400"/>
              <a:gd name="connsiteY174" fmla="*/ 5845484 h 6334125"/>
              <a:gd name="connsiteX175" fmla="*/ 2685782 w 5867400"/>
              <a:gd name="connsiteY175" fmla="*/ 5826691 h 6334125"/>
              <a:gd name="connsiteX176" fmla="*/ 2651975 w 5867400"/>
              <a:gd name="connsiteY176" fmla="*/ 5822932 h 6334125"/>
              <a:gd name="connsiteX177" fmla="*/ 2351468 w 5867400"/>
              <a:gd name="connsiteY177" fmla="*/ 5698892 h 6334125"/>
              <a:gd name="connsiteX178" fmla="*/ 2306392 w 5867400"/>
              <a:gd name="connsiteY178" fmla="*/ 5646269 h 6334125"/>
              <a:gd name="connsiteX179" fmla="*/ 2321417 w 5867400"/>
              <a:gd name="connsiteY179" fmla="*/ 5627475 h 6334125"/>
              <a:gd name="connsiteX180" fmla="*/ 2456645 w 5867400"/>
              <a:gd name="connsiteY180" fmla="*/ 5683857 h 6334125"/>
              <a:gd name="connsiteX181" fmla="*/ 2310148 w 5867400"/>
              <a:gd name="connsiteY181" fmla="*/ 5525989 h 6334125"/>
              <a:gd name="connsiteX182" fmla="*/ 2271646 w 5867400"/>
              <a:gd name="connsiteY182" fmla="*/ 5505785 h 6334125"/>
              <a:gd name="connsiteX183" fmla="*/ 2217838 w 5867400"/>
              <a:gd name="connsiteY183" fmla="*/ 5488902 h 6334125"/>
              <a:gd name="connsiteX184" fmla="*/ 2219996 w 5867400"/>
              <a:gd name="connsiteY184" fmla="*/ 5480883 h 6334125"/>
              <a:gd name="connsiteX185" fmla="*/ 2058474 w 5867400"/>
              <a:gd name="connsiteY185" fmla="*/ 5432019 h 6334125"/>
              <a:gd name="connsiteX186" fmla="*/ 1885682 w 5867400"/>
              <a:gd name="connsiteY186" fmla="*/ 5353085 h 6334125"/>
              <a:gd name="connsiteX187" fmla="*/ 1881926 w 5867400"/>
              <a:gd name="connsiteY187" fmla="*/ 5338050 h 6334125"/>
              <a:gd name="connsiteX188" fmla="*/ 1776748 w 5867400"/>
              <a:gd name="connsiteY188" fmla="*/ 5214010 h 6334125"/>
              <a:gd name="connsiteX189" fmla="*/ 1727916 w 5867400"/>
              <a:gd name="connsiteY189" fmla="*/ 5168905 h 6334125"/>
              <a:gd name="connsiteX190" fmla="*/ 1727916 w 5867400"/>
              <a:gd name="connsiteY190" fmla="*/ 5229045 h 6334125"/>
              <a:gd name="connsiteX191" fmla="*/ 1709134 w 5867400"/>
              <a:gd name="connsiteY191" fmla="*/ 5251598 h 6334125"/>
              <a:gd name="connsiteX192" fmla="*/ 1694109 w 5867400"/>
              <a:gd name="connsiteY192" fmla="*/ 5206492 h 6334125"/>
              <a:gd name="connsiteX193" fmla="*/ 1412383 w 5867400"/>
              <a:gd name="connsiteY193" fmla="*/ 5003519 h 6334125"/>
              <a:gd name="connsiteX194" fmla="*/ 1254617 w 5867400"/>
              <a:gd name="connsiteY194" fmla="*/ 4808062 h 6334125"/>
              <a:gd name="connsiteX195" fmla="*/ 1190759 w 5867400"/>
              <a:gd name="connsiteY195" fmla="*/ 4751681 h 6334125"/>
              <a:gd name="connsiteX196" fmla="*/ 1187003 w 5867400"/>
              <a:gd name="connsiteY196" fmla="*/ 4725369 h 6334125"/>
              <a:gd name="connsiteX197" fmla="*/ 1164465 w 5867400"/>
              <a:gd name="connsiteY197" fmla="*/ 4684023 h 6334125"/>
              <a:gd name="connsiteX198" fmla="*/ 1123145 w 5867400"/>
              <a:gd name="connsiteY198" fmla="*/ 4646435 h 6334125"/>
              <a:gd name="connsiteX199" fmla="*/ 1149440 w 5867400"/>
              <a:gd name="connsiteY199" fmla="*/ 4623882 h 6334125"/>
              <a:gd name="connsiteX200" fmla="*/ 1360750 w 5867400"/>
              <a:gd name="connsiteY200" fmla="*/ 4805511 h 6334125"/>
              <a:gd name="connsiteX201" fmla="*/ 1427409 w 5867400"/>
              <a:gd name="connsiteY201" fmla="*/ 4886997 h 6334125"/>
              <a:gd name="connsiteX202" fmla="*/ 1442434 w 5867400"/>
              <a:gd name="connsiteY202" fmla="*/ 4875720 h 6334125"/>
              <a:gd name="connsiteX203" fmla="*/ 1360750 w 5867400"/>
              <a:gd name="connsiteY203" fmla="*/ 4805511 h 6334125"/>
              <a:gd name="connsiteX204" fmla="*/ 1336318 w 5867400"/>
              <a:gd name="connsiteY204" fmla="*/ 4775643 h 6334125"/>
              <a:gd name="connsiteX205" fmla="*/ 1250861 w 5867400"/>
              <a:gd name="connsiteY205" fmla="*/ 4661470 h 6334125"/>
              <a:gd name="connsiteX206" fmla="*/ 1108120 w 5867400"/>
              <a:gd name="connsiteY206" fmla="*/ 4496084 h 6334125"/>
              <a:gd name="connsiteX207" fmla="*/ 1032993 w 5867400"/>
              <a:gd name="connsiteY207" fmla="*/ 4383321 h 6334125"/>
              <a:gd name="connsiteX208" fmla="*/ 991673 w 5867400"/>
              <a:gd name="connsiteY208" fmla="*/ 4353250 h 6334125"/>
              <a:gd name="connsiteX209" fmla="*/ 863958 w 5867400"/>
              <a:gd name="connsiteY209" fmla="*/ 4326939 h 6334125"/>
              <a:gd name="connsiteX210" fmla="*/ 1126902 w 5867400"/>
              <a:gd name="connsiteY210" fmla="*/ 4582536 h 6334125"/>
              <a:gd name="connsiteX211" fmla="*/ 1108120 w 5867400"/>
              <a:gd name="connsiteY211" fmla="*/ 4642676 h 6334125"/>
              <a:gd name="connsiteX212" fmla="*/ 841420 w 5867400"/>
              <a:gd name="connsiteY212" fmla="*/ 4402115 h 6334125"/>
              <a:gd name="connsiteX213" fmla="*/ 503349 w 5867400"/>
              <a:gd name="connsiteY213" fmla="*/ 4375803 h 6334125"/>
              <a:gd name="connsiteX214" fmla="*/ 623552 w 5867400"/>
              <a:gd name="connsiteY214" fmla="*/ 4304386 h 6334125"/>
              <a:gd name="connsiteX215" fmla="*/ 609527 w 5867400"/>
              <a:gd name="connsiteY215" fmla="*/ 4292163 h 6334125"/>
              <a:gd name="connsiteX216" fmla="*/ 652194 w 5867400"/>
              <a:gd name="connsiteY216" fmla="*/ 4251764 h 6334125"/>
              <a:gd name="connsiteX217" fmla="*/ 687410 w 5867400"/>
              <a:gd name="connsiteY217" fmla="*/ 4210417 h 6334125"/>
              <a:gd name="connsiteX218" fmla="*/ 702435 w 5867400"/>
              <a:gd name="connsiteY218" fmla="*/ 4120207 h 6334125"/>
              <a:gd name="connsiteX219" fmla="*/ 770049 w 5867400"/>
              <a:gd name="connsiteY219" fmla="*/ 4093895 h 6334125"/>
              <a:gd name="connsiteX220" fmla="*/ 666618 w 5867400"/>
              <a:gd name="connsiteY220" fmla="*/ 3997231 h 6334125"/>
              <a:gd name="connsiteX221" fmla="*/ 675322 w 5867400"/>
              <a:gd name="connsiteY221" fmla="*/ 3972210 h 6334125"/>
              <a:gd name="connsiteX222" fmla="*/ 716639 w 5867400"/>
              <a:gd name="connsiteY222" fmla="*/ 4005329 h 6334125"/>
              <a:gd name="connsiteX223" fmla="*/ 867714 w 5867400"/>
              <a:gd name="connsiteY223" fmla="*/ 4075101 h 6334125"/>
              <a:gd name="connsiteX224" fmla="*/ 897765 w 5867400"/>
              <a:gd name="connsiteY224" fmla="*/ 4105171 h 6334125"/>
              <a:gd name="connsiteX225" fmla="*/ 1029237 w 5867400"/>
              <a:gd name="connsiteY225" fmla="*/ 4259281 h 6334125"/>
              <a:gd name="connsiteX226" fmla="*/ 972892 w 5867400"/>
              <a:gd name="connsiteY226" fmla="*/ 4184106 h 6334125"/>
              <a:gd name="connsiteX227" fmla="*/ 1055531 w 5867400"/>
              <a:gd name="connsiteY227" fmla="*/ 4199141 h 6334125"/>
              <a:gd name="connsiteX228" fmla="*/ 972892 w 5867400"/>
              <a:gd name="connsiteY228" fmla="*/ 4060066 h 6334125"/>
              <a:gd name="connsiteX229" fmla="*/ 1051775 w 5867400"/>
              <a:gd name="connsiteY229" fmla="*/ 4071342 h 6334125"/>
              <a:gd name="connsiteX230" fmla="*/ 1051775 w 5867400"/>
              <a:gd name="connsiteY230" fmla="*/ 3954820 h 6334125"/>
              <a:gd name="connsiteX231" fmla="*/ 1093095 w 5867400"/>
              <a:gd name="connsiteY231" fmla="*/ 4022478 h 6334125"/>
              <a:gd name="connsiteX232" fmla="*/ 1111876 w 5867400"/>
              <a:gd name="connsiteY232" fmla="*/ 3969855 h 6334125"/>
              <a:gd name="connsiteX233" fmla="*/ 939085 w 5867400"/>
              <a:gd name="connsiteY233" fmla="*/ 3793193 h 6334125"/>
              <a:gd name="connsiteX234" fmla="*/ 954110 w 5867400"/>
              <a:gd name="connsiteY234" fmla="*/ 3770640 h 6334125"/>
              <a:gd name="connsiteX235" fmla="*/ 1168221 w 5867400"/>
              <a:gd name="connsiteY235" fmla="*/ 3868369 h 6334125"/>
              <a:gd name="connsiteX236" fmla="*/ 1175734 w 5867400"/>
              <a:gd name="connsiteY236" fmla="*/ 3793193 h 6334125"/>
              <a:gd name="connsiteX237" fmla="*/ 1126902 w 5867400"/>
              <a:gd name="connsiteY237" fmla="*/ 3785676 h 6334125"/>
              <a:gd name="connsiteX238" fmla="*/ 1044262 w 5867400"/>
              <a:gd name="connsiteY238" fmla="*/ 3537596 h 6334125"/>
              <a:gd name="connsiteX239" fmla="*/ 1017968 w 5867400"/>
              <a:gd name="connsiteY239" fmla="*/ 3545114 h 6334125"/>
              <a:gd name="connsiteX240" fmla="*/ 1029237 w 5867400"/>
              <a:gd name="connsiteY240" fmla="*/ 3620289 h 6334125"/>
              <a:gd name="connsiteX241" fmla="*/ 905278 w 5867400"/>
              <a:gd name="connsiteY241" fmla="*/ 3477456 h 6334125"/>
              <a:gd name="connsiteX242" fmla="*/ 890252 w 5867400"/>
              <a:gd name="connsiteY242" fmla="*/ 3421074 h 6334125"/>
              <a:gd name="connsiteX243" fmla="*/ 999186 w 5867400"/>
              <a:gd name="connsiteY243" fmla="*/ 3383486 h 6334125"/>
              <a:gd name="connsiteX244" fmla="*/ 999186 w 5867400"/>
              <a:gd name="connsiteY244" fmla="*/ 3382369 h 6334125"/>
              <a:gd name="connsiteX245" fmla="*/ 955995 w 5867400"/>
              <a:gd name="connsiteY245" fmla="*/ 3343410 h 6334125"/>
              <a:gd name="connsiteX246" fmla="*/ 926407 w 5867400"/>
              <a:gd name="connsiteY246" fmla="*/ 3323346 h 6334125"/>
              <a:gd name="connsiteX247" fmla="*/ 845176 w 5867400"/>
              <a:gd name="connsiteY247" fmla="*/ 3342140 h 6334125"/>
              <a:gd name="connsiteX248" fmla="*/ 811369 w 5867400"/>
              <a:gd name="connsiteY248" fmla="*/ 3323346 h 6334125"/>
              <a:gd name="connsiteX249" fmla="*/ 743755 w 5867400"/>
              <a:gd name="connsiteY249" fmla="*/ 3263206 h 6334125"/>
              <a:gd name="connsiteX250" fmla="*/ 757239 w 5867400"/>
              <a:gd name="connsiteY250" fmla="*/ 3255534 h 6334125"/>
              <a:gd name="connsiteX251" fmla="*/ 679428 w 5867400"/>
              <a:gd name="connsiteY251" fmla="*/ 3243823 h 6334125"/>
              <a:gd name="connsiteX252" fmla="*/ 503349 w 5867400"/>
              <a:gd name="connsiteY252" fmla="*/ 3213753 h 6334125"/>
              <a:gd name="connsiteX253" fmla="*/ 623552 w 5867400"/>
              <a:gd name="connsiteY253" fmla="*/ 3142336 h 6334125"/>
              <a:gd name="connsiteX254" fmla="*/ 609527 w 5867400"/>
              <a:gd name="connsiteY254" fmla="*/ 3130113 h 6334125"/>
              <a:gd name="connsiteX255" fmla="*/ 652194 w 5867400"/>
              <a:gd name="connsiteY255" fmla="*/ 3089714 h 6334125"/>
              <a:gd name="connsiteX256" fmla="*/ 687410 w 5867400"/>
              <a:gd name="connsiteY256" fmla="*/ 3048367 h 6334125"/>
              <a:gd name="connsiteX257" fmla="*/ 702435 w 5867400"/>
              <a:gd name="connsiteY257" fmla="*/ 2958157 h 6334125"/>
              <a:gd name="connsiteX258" fmla="*/ 770049 w 5867400"/>
              <a:gd name="connsiteY258" fmla="*/ 2931845 h 6334125"/>
              <a:gd name="connsiteX259" fmla="*/ 666618 w 5867400"/>
              <a:gd name="connsiteY259" fmla="*/ 2835181 h 6334125"/>
              <a:gd name="connsiteX260" fmla="*/ 675322 w 5867400"/>
              <a:gd name="connsiteY260" fmla="*/ 2810160 h 6334125"/>
              <a:gd name="connsiteX261" fmla="*/ 716639 w 5867400"/>
              <a:gd name="connsiteY261" fmla="*/ 2843279 h 6334125"/>
              <a:gd name="connsiteX262" fmla="*/ 748020 w 5867400"/>
              <a:gd name="connsiteY262" fmla="*/ 2871426 h 6334125"/>
              <a:gd name="connsiteX263" fmla="*/ 759548 w 5867400"/>
              <a:gd name="connsiteY263" fmla="*/ 2879757 h 6334125"/>
              <a:gd name="connsiteX264" fmla="*/ 717461 w 5867400"/>
              <a:gd name="connsiteY264" fmla="*/ 2812153 h 6334125"/>
              <a:gd name="connsiteX265" fmla="*/ 702435 w 5867400"/>
              <a:gd name="connsiteY265" fmla="*/ 2718183 h 6334125"/>
              <a:gd name="connsiteX266" fmla="*/ 679897 w 5867400"/>
              <a:gd name="connsiteY266" fmla="*/ 2646767 h 6334125"/>
              <a:gd name="connsiteX267" fmla="*/ 649847 w 5867400"/>
              <a:gd name="connsiteY267" fmla="*/ 2654284 h 6334125"/>
              <a:gd name="connsiteX268" fmla="*/ 657359 w 5867400"/>
              <a:gd name="connsiteY268" fmla="*/ 2624214 h 6334125"/>
              <a:gd name="connsiteX269" fmla="*/ 454517 w 5867400"/>
              <a:gd name="connsiteY269" fmla="*/ 2447551 h 6334125"/>
              <a:gd name="connsiteX270" fmla="*/ 262944 w 5867400"/>
              <a:gd name="connsiteY270" fmla="*/ 2413722 h 6334125"/>
              <a:gd name="connsiteX271" fmla="*/ 424466 w 5867400"/>
              <a:gd name="connsiteY271" fmla="*/ 2206990 h 6334125"/>
              <a:gd name="connsiteX272" fmla="*/ 364365 w 5867400"/>
              <a:gd name="connsiteY272" fmla="*/ 2176920 h 6334125"/>
              <a:gd name="connsiteX273" fmla="*/ 300507 w 5867400"/>
              <a:gd name="connsiteY273" fmla="*/ 2191955 h 6334125"/>
              <a:gd name="connsiteX274" fmla="*/ 187817 w 5867400"/>
              <a:gd name="connsiteY274" fmla="*/ 2150608 h 6334125"/>
              <a:gd name="connsiteX275" fmla="*/ 0 w 5867400"/>
              <a:gd name="connsiteY275" fmla="*/ 2097985 h 6334125"/>
              <a:gd name="connsiteX276" fmla="*/ 123959 w 5867400"/>
              <a:gd name="connsiteY276" fmla="*/ 2052880 h 6334125"/>
              <a:gd name="connsiteX277" fmla="*/ 63858 w 5867400"/>
              <a:gd name="connsiteY277" fmla="*/ 1977704 h 6334125"/>
              <a:gd name="connsiteX278" fmla="*/ 176548 w 5867400"/>
              <a:gd name="connsiteY278" fmla="*/ 1988981 h 6334125"/>
              <a:gd name="connsiteX279" fmla="*/ 150254 w 5867400"/>
              <a:gd name="connsiteY279" fmla="*/ 1921323 h 6334125"/>
              <a:gd name="connsiteX280" fmla="*/ 135228 w 5867400"/>
              <a:gd name="connsiteY280" fmla="*/ 1868700 h 6334125"/>
              <a:gd name="connsiteX281" fmla="*/ 187817 w 5867400"/>
              <a:gd name="connsiteY281" fmla="*/ 1834871 h 6334125"/>
              <a:gd name="connsiteX282" fmla="*/ 338071 w 5867400"/>
              <a:gd name="connsiteY282" fmla="*/ 1763454 h 6334125"/>
              <a:gd name="connsiteX283" fmla="*/ 409441 w 5867400"/>
              <a:gd name="connsiteY283" fmla="*/ 1752178 h 6334125"/>
              <a:gd name="connsiteX284" fmla="*/ 142741 w 5867400"/>
              <a:gd name="connsiteY284" fmla="*/ 1677002 h 6334125"/>
              <a:gd name="connsiteX285" fmla="*/ 142741 w 5867400"/>
              <a:gd name="connsiteY285" fmla="*/ 1661967 h 6334125"/>
              <a:gd name="connsiteX286" fmla="*/ 232893 w 5867400"/>
              <a:gd name="connsiteY286" fmla="*/ 1654450 h 6334125"/>
              <a:gd name="connsiteX287" fmla="*/ 210355 w 5867400"/>
              <a:gd name="connsiteY287" fmla="*/ 1590551 h 6334125"/>
              <a:gd name="connsiteX288" fmla="*/ 300507 w 5867400"/>
              <a:gd name="connsiteY288" fmla="*/ 1477787 h 6334125"/>
              <a:gd name="connsiteX289" fmla="*/ 334314 w 5867400"/>
              <a:gd name="connsiteY289" fmla="*/ 1436441 h 6334125"/>
              <a:gd name="connsiteX290" fmla="*/ 424466 w 5867400"/>
              <a:gd name="connsiteY290" fmla="*/ 1387577 h 6334125"/>
              <a:gd name="connsiteX291" fmla="*/ 510862 w 5867400"/>
              <a:gd name="connsiteY291" fmla="*/ 1432682 h 6334125"/>
              <a:gd name="connsiteX292" fmla="*/ 642334 w 5867400"/>
              <a:gd name="connsiteY292" fmla="*/ 1571757 h 6334125"/>
              <a:gd name="connsiteX293" fmla="*/ 687410 w 5867400"/>
              <a:gd name="connsiteY293" fmla="*/ 1601827 h 6334125"/>
              <a:gd name="connsiteX294" fmla="*/ 664872 w 5867400"/>
              <a:gd name="connsiteY294" fmla="*/ 1654450 h 6334125"/>
              <a:gd name="connsiteX295" fmla="*/ 732486 w 5867400"/>
              <a:gd name="connsiteY295" fmla="*/ 1710831 h 6334125"/>
              <a:gd name="connsiteX296" fmla="*/ 713704 w 5867400"/>
              <a:gd name="connsiteY296" fmla="*/ 1729625 h 6334125"/>
              <a:gd name="connsiteX297" fmla="*/ 574720 w 5867400"/>
              <a:gd name="connsiteY297" fmla="*/ 1631897 h 6334125"/>
              <a:gd name="connsiteX298" fmla="*/ 709948 w 5867400"/>
              <a:gd name="connsiteY298" fmla="*/ 1868700 h 6334125"/>
              <a:gd name="connsiteX299" fmla="*/ 758781 w 5867400"/>
              <a:gd name="connsiteY299" fmla="*/ 1733384 h 6334125"/>
              <a:gd name="connsiteX300" fmla="*/ 771001 w 5867400"/>
              <a:gd name="connsiteY300" fmla="*/ 1736102 h 6334125"/>
              <a:gd name="connsiteX301" fmla="*/ 770989 w 5867400"/>
              <a:gd name="connsiteY301" fmla="*/ 1736085 h 6334125"/>
              <a:gd name="connsiteX302" fmla="*/ 717461 w 5867400"/>
              <a:gd name="connsiteY302" fmla="*/ 1650103 h 6334125"/>
              <a:gd name="connsiteX303" fmla="*/ 702435 w 5867400"/>
              <a:gd name="connsiteY303" fmla="*/ 1556133 h 6334125"/>
              <a:gd name="connsiteX304" fmla="*/ 679897 w 5867400"/>
              <a:gd name="connsiteY304" fmla="*/ 1484717 h 6334125"/>
              <a:gd name="connsiteX305" fmla="*/ 649847 w 5867400"/>
              <a:gd name="connsiteY305" fmla="*/ 1492234 h 6334125"/>
              <a:gd name="connsiteX306" fmla="*/ 657359 w 5867400"/>
              <a:gd name="connsiteY306" fmla="*/ 1462164 h 6334125"/>
              <a:gd name="connsiteX307" fmla="*/ 454517 w 5867400"/>
              <a:gd name="connsiteY307" fmla="*/ 1285501 h 6334125"/>
              <a:gd name="connsiteX308" fmla="*/ 262944 w 5867400"/>
              <a:gd name="connsiteY308" fmla="*/ 1251672 h 6334125"/>
              <a:gd name="connsiteX309" fmla="*/ 424466 w 5867400"/>
              <a:gd name="connsiteY309" fmla="*/ 1044940 h 6334125"/>
              <a:gd name="connsiteX310" fmla="*/ 364365 w 5867400"/>
              <a:gd name="connsiteY310" fmla="*/ 1014870 h 6334125"/>
              <a:gd name="connsiteX311" fmla="*/ 300507 w 5867400"/>
              <a:gd name="connsiteY311" fmla="*/ 1029905 h 6334125"/>
              <a:gd name="connsiteX312" fmla="*/ 187817 w 5867400"/>
              <a:gd name="connsiteY312" fmla="*/ 988558 h 6334125"/>
              <a:gd name="connsiteX313" fmla="*/ 0 w 5867400"/>
              <a:gd name="connsiteY313" fmla="*/ 935935 h 6334125"/>
              <a:gd name="connsiteX314" fmla="*/ 123959 w 5867400"/>
              <a:gd name="connsiteY314" fmla="*/ 890830 h 6334125"/>
              <a:gd name="connsiteX315" fmla="*/ 63858 w 5867400"/>
              <a:gd name="connsiteY315" fmla="*/ 815654 h 6334125"/>
              <a:gd name="connsiteX316" fmla="*/ 176548 w 5867400"/>
              <a:gd name="connsiteY316" fmla="*/ 826931 h 6334125"/>
              <a:gd name="connsiteX317" fmla="*/ 150254 w 5867400"/>
              <a:gd name="connsiteY317" fmla="*/ 759273 h 6334125"/>
              <a:gd name="connsiteX318" fmla="*/ 135228 w 5867400"/>
              <a:gd name="connsiteY318" fmla="*/ 706650 h 6334125"/>
              <a:gd name="connsiteX319" fmla="*/ 187817 w 5867400"/>
              <a:gd name="connsiteY319" fmla="*/ 672821 h 6334125"/>
              <a:gd name="connsiteX320" fmla="*/ 338071 w 5867400"/>
              <a:gd name="connsiteY320" fmla="*/ 601404 h 6334125"/>
              <a:gd name="connsiteX321" fmla="*/ 409441 w 5867400"/>
              <a:gd name="connsiteY321" fmla="*/ 590128 h 6334125"/>
              <a:gd name="connsiteX322" fmla="*/ 142741 w 5867400"/>
              <a:gd name="connsiteY322" fmla="*/ 514952 h 6334125"/>
              <a:gd name="connsiteX323" fmla="*/ 142741 w 5867400"/>
              <a:gd name="connsiteY323" fmla="*/ 499917 h 6334125"/>
              <a:gd name="connsiteX324" fmla="*/ 232893 w 5867400"/>
              <a:gd name="connsiteY324" fmla="*/ 492400 h 6334125"/>
              <a:gd name="connsiteX325" fmla="*/ 210355 w 5867400"/>
              <a:gd name="connsiteY325" fmla="*/ 428501 h 6334125"/>
              <a:gd name="connsiteX326" fmla="*/ 300507 w 5867400"/>
              <a:gd name="connsiteY326" fmla="*/ 315737 h 6334125"/>
              <a:gd name="connsiteX327" fmla="*/ 334314 w 5867400"/>
              <a:gd name="connsiteY327" fmla="*/ 274391 h 6334125"/>
              <a:gd name="connsiteX328" fmla="*/ 424466 w 5867400"/>
              <a:gd name="connsiteY328" fmla="*/ 225527 h 6334125"/>
              <a:gd name="connsiteX329" fmla="*/ 510862 w 5867400"/>
              <a:gd name="connsiteY329" fmla="*/ 270632 h 6334125"/>
              <a:gd name="connsiteX330" fmla="*/ 642334 w 5867400"/>
              <a:gd name="connsiteY330" fmla="*/ 409707 h 6334125"/>
              <a:gd name="connsiteX331" fmla="*/ 687410 w 5867400"/>
              <a:gd name="connsiteY331" fmla="*/ 439777 h 6334125"/>
              <a:gd name="connsiteX332" fmla="*/ 664872 w 5867400"/>
              <a:gd name="connsiteY332" fmla="*/ 492400 h 6334125"/>
              <a:gd name="connsiteX333" fmla="*/ 732486 w 5867400"/>
              <a:gd name="connsiteY333" fmla="*/ 548781 h 6334125"/>
              <a:gd name="connsiteX334" fmla="*/ 713704 w 5867400"/>
              <a:gd name="connsiteY334" fmla="*/ 567575 h 6334125"/>
              <a:gd name="connsiteX335" fmla="*/ 574720 w 5867400"/>
              <a:gd name="connsiteY335" fmla="*/ 469847 h 6334125"/>
              <a:gd name="connsiteX336" fmla="*/ 709948 w 5867400"/>
              <a:gd name="connsiteY336" fmla="*/ 706650 h 6334125"/>
              <a:gd name="connsiteX337" fmla="*/ 758781 w 5867400"/>
              <a:gd name="connsiteY337" fmla="*/ 571334 h 6334125"/>
              <a:gd name="connsiteX338" fmla="*/ 837664 w 5867400"/>
              <a:gd name="connsiteY338" fmla="*/ 590128 h 6334125"/>
              <a:gd name="connsiteX339" fmla="*/ 905278 w 5867400"/>
              <a:gd name="connsiteY339" fmla="*/ 563816 h 6334125"/>
              <a:gd name="connsiteX340" fmla="*/ 920303 w 5867400"/>
              <a:gd name="connsiteY340" fmla="*/ 582610 h 6334125"/>
              <a:gd name="connsiteX341" fmla="*/ 935328 w 5867400"/>
              <a:gd name="connsiteY341" fmla="*/ 507435 h 6334125"/>
              <a:gd name="connsiteX342" fmla="*/ 871471 w 5867400"/>
              <a:gd name="connsiteY342" fmla="*/ 507435 h 6334125"/>
              <a:gd name="connsiteX343" fmla="*/ 860202 w 5867400"/>
              <a:gd name="connsiteY343" fmla="*/ 488641 h 6334125"/>
              <a:gd name="connsiteX344" fmla="*/ 901521 w 5867400"/>
              <a:gd name="connsiteY344" fmla="*/ 477365 h 6334125"/>
              <a:gd name="connsiteX345" fmla="*/ 815126 w 5867400"/>
              <a:gd name="connsiteY345" fmla="*/ 409707 h 6334125"/>
              <a:gd name="connsiteX346" fmla="*/ 826395 w 5867400"/>
              <a:gd name="connsiteY346" fmla="*/ 383395 h 6334125"/>
              <a:gd name="connsiteX347" fmla="*/ 1006699 w 5867400"/>
              <a:gd name="connsiteY347" fmla="*/ 462330 h 6334125"/>
              <a:gd name="connsiteX348" fmla="*/ 999186 w 5867400"/>
              <a:gd name="connsiteY348" fmla="*/ 402189 h 6334125"/>
              <a:gd name="connsiteX349" fmla="*/ 1089338 w 5867400"/>
              <a:gd name="connsiteY349" fmla="*/ 251838 h 6334125"/>
              <a:gd name="connsiteX350" fmla="*/ 1258373 w 5867400"/>
              <a:gd name="connsiteY350" fmla="*/ 334531 h 6334125"/>
              <a:gd name="connsiteX351" fmla="*/ 1341013 w 5867400"/>
              <a:gd name="connsiteY351" fmla="*/ 432259 h 6334125"/>
              <a:gd name="connsiteX352" fmla="*/ 1386089 w 5867400"/>
              <a:gd name="connsiteY352" fmla="*/ 420983 h 6334125"/>
              <a:gd name="connsiteX353" fmla="*/ 1386089 w 5867400"/>
              <a:gd name="connsiteY353" fmla="*/ 372119 h 6334125"/>
              <a:gd name="connsiteX354" fmla="*/ 1374820 w 5867400"/>
              <a:gd name="connsiteY354" fmla="*/ 334531 h 6334125"/>
              <a:gd name="connsiteX355" fmla="*/ 1322231 w 5867400"/>
              <a:gd name="connsiteY355" fmla="*/ 330772 h 6334125"/>
              <a:gd name="connsiteX356" fmla="*/ 1322231 w 5867400"/>
              <a:gd name="connsiteY356" fmla="*/ 311979 h 6334125"/>
              <a:gd name="connsiteX357" fmla="*/ 1389845 w 5867400"/>
              <a:gd name="connsiteY357" fmla="*/ 308220 h 6334125"/>
              <a:gd name="connsiteX358" fmla="*/ 1333500 w 5867400"/>
              <a:gd name="connsiteY358" fmla="*/ 255597 h 6334125"/>
              <a:gd name="connsiteX359" fmla="*/ 1367307 w 5867400"/>
              <a:gd name="connsiteY359" fmla="*/ 199215 h 6334125"/>
              <a:gd name="connsiteX360" fmla="*/ 1442434 w 5867400"/>
              <a:gd name="connsiteY360" fmla="*/ 0 h 633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</a:cxnLst>
            <a:rect l="l" t="t" r="r" b="b"/>
            <a:pathLst>
              <a:path w="5867400" h="6334125">
                <a:moveTo>
                  <a:pt x="2216240" y="5488401"/>
                </a:moveTo>
                <a:lnTo>
                  <a:pt x="2217838" y="5488902"/>
                </a:lnTo>
                <a:lnTo>
                  <a:pt x="2216709" y="5493099"/>
                </a:lnTo>
                <a:cubicBezTo>
                  <a:pt x="2216240" y="5494979"/>
                  <a:pt x="2216240" y="5494039"/>
                  <a:pt x="2216240" y="5488401"/>
                </a:cubicBezTo>
                <a:close/>
                <a:moveTo>
                  <a:pt x="608997" y="4291701"/>
                </a:moveTo>
                <a:lnTo>
                  <a:pt x="609527" y="4292163"/>
                </a:lnTo>
                <a:lnTo>
                  <a:pt x="608527" y="4293110"/>
                </a:lnTo>
                <a:cubicBezTo>
                  <a:pt x="604771" y="4289351"/>
                  <a:pt x="605710" y="4289351"/>
                  <a:pt x="608997" y="4291701"/>
                </a:cubicBezTo>
                <a:close/>
                <a:moveTo>
                  <a:pt x="672385" y="3969855"/>
                </a:moveTo>
                <a:cubicBezTo>
                  <a:pt x="672385" y="3969855"/>
                  <a:pt x="672385" y="3969855"/>
                  <a:pt x="676141" y="3969855"/>
                </a:cubicBezTo>
                <a:lnTo>
                  <a:pt x="675322" y="3972210"/>
                </a:lnTo>
                <a:close/>
                <a:moveTo>
                  <a:pt x="608997" y="3129651"/>
                </a:moveTo>
                <a:lnTo>
                  <a:pt x="609527" y="3130113"/>
                </a:lnTo>
                <a:lnTo>
                  <a:pt x="608527" y="3131060"/>
                </a:lnTo>
                <a:cubicBezTo>
                  <a:pt x="604771" y="3127301"/>
                  <a:pt x="605710" y="3127301"/>
                  <a:pt x="608997" y="3129651"/>
                </a:cubicBezTo>
                <a:close/>
                <a:moveTo>
                  <a:pt x="672385" y="2807805"/>
                </a:moveTo>
                <a:cubicBezTo>
                  <a:pt x="672385" y="2807805"/>
                  <a:pt x="672385" y="2807805"/>
                  <a:pt x="676141" y="2807805"/>
                </a:cubicBezTo>
                <a:lnTo>
                  <a:pt x="675322" y="2810160"/>
                </a:lnTo>
                <a:close/>
                <a:moveTo>
                  <a:pt x="1442434" y="0"/>
                </a:moveTo>
                <a:cubicBezTo>
                  <a:pt x="1536343" y="0"/>
                  <a:pt x="1630251" y="0"/>
                  <a:pt x="1720403" y="0"/>
                </a:cubicBezTo>
                <a:cubicBezTo>
                  <a:pt x="1720403" y="18794"/>
                  <a:pt x="1720403" y="37588"/>
                  <a:pt x="1720403" y="56382"/>
                </a:cubicBezTo>
                <a:cubicBezTo>
                  <a:pt x="1772992" y="93970"/>
                  <a:pt x="1821824" y="131557"/>
                  <a:pt x="1874413" y="165386"/>
                </a:cubicBezTo>
                <a:cubicBezTo>
                  <a:pt x="1870657" y="176663"/>
                  <a:pt x="1863144" y="187939"/>
                  <a:pt x="1859388" y="199215"/>
                </a:cubicBezTo>
                <a:cubicBezTo>
                  <a:pt x="1870657" y="195456"/>
                  <a:pt x="1878169" y="191698"/>
                  <a:pt x="1889438" y="187939"/>
                </a:cubicBezTo>
                <a:cubicBezTo>
                  <a:pt x="1908220" y="199215"/>
                  <a:pt x="1923245" y="218009"/>
                  <a:pt x="1945783" y="225527"/>
                </a:cubicBezTo>
                <a:cubicBezTo>
                  <a:pt x="1987103" y="240562"/>
                  <a:pt x="2032179" y="266873"/>
                  <a:pt x="2069742" y="259356"/>
                </a:cubicBezTo>
                <a:cubicBezTo>
                  <a:pt x="2193702" y="236803"/>
                  <a:pt x="2201214" y="240562"/>
                  <a:pt x="2178676" y="353325"/>
                </a:cubicBezTo>
                <a:cubicBezTo>
                  <a:pt x="2201214" y="375878"/>
                  <a:pt x="2261316" y="296943"/>
                  <a:pt x="2253803" y="372119"/>
                </a:cubicBezTo>
                <a:cubicBezTo>
                  <a:pt x="2276341" y="379636"/>
                  <a:pt x="2295123" y="383395"/>
                  <a:pt x="2317661" y="387154"/>
                </a:cubicBezTo>
                <a:cubicBezTo>
                  <a:pt x="2313904" y="394672"/>
                  <a:pt x="2313904" y="405948"/>
                  <a:pt x="2313904" y="413465"/>
                </a:cubicBezTo>
                <a:cubicBezTo>
                  <a:pt x="2291366" y="413465"/>
                  <a:pt x="2265072" y="413465"/>
                  <a:pt x="2238778" y="413465"/>
                </a:cubicBezTo>
                <a:cubicBezTo>
                  <a:pt x="2276341" y="454812"/>
                  <a:pt x="2310148" y="488641"/>
                  <a:pt x="2332686" y="514952"/>
                </a:cubicBezTo>
                <a:cubicBezTo>
                  <a:pt x="2370249" y="514952"/>
                  <a:pt x="2400300" y="518711"/>
                  <a:pt x="2434107" y="518711"/>
                </a:cubicBezTo>
                <a:cubicBezTo>
                  <a:pt x="2422838" y="541264"/>
                  <a:pt x="2411569" y="563816"/>
                  <a:pt x="2396544" y="590128"/>
                </a:cubicBezTo>
                <a:cubicBezTo>
                  <a:pt x="2419082" y="608922"/>
                  <a:pt x="2449133" y="631474"/>
                  <a:pt x="2479183" y="657786"/>
                </a:cubicBezTo>
                <a:cubicBezTo>
                  <a:pt x="2482940" y="638992"/>
                  <a:pt x="2486696" y="620198"/>
                  <a:pt x="2486696" y="601404"/>
                </a:cubicBezTo>
                <a:cubicBezTo>
                  <a:pt x="2524259" y="631474"/>
                  <a:pt x="2588117" y="661545"/>
                  <a:pt x="2584361" y="684097"/>
                </a:cubicBezTo>
                <a:cubicBezTo>
                  <a:pt x="2576848" y="793102"/>
                  <a:pt x="2670757" y="800619"/>
                  <a:pt x="2723345" y="849483"/>
                </a:cubicBezTo>
                <a:cubicBezTo>
                  <a:pt x="2745883" y="872036"/>
                  <a:pt x="2775934" y="883312"/>
                  <a:pt x="2805985" y="898347"/>
                </a:cubicBezTo>
                <a:cubicBezTo>
                  <a:pt x="2817254" y="883312"/>
                  <a:pt x="2828523" y="864519"/>
                  <a:pt x="2839792" y="849483"/>
                </a:cubicBezTo>
                <a:cubicBezTo>
                  <a:pt x="2851061" y="887071"/>
                  <a:pt x="2854817" y="939694"/>
                  <a:pt x="2881112" y="966005"/>
                </a:cubicBezTo>
                <a:cubicBezTo>
                  <a:pt x="2914918" y="996076"/>
                  <a:pt x="2986289" y="984799"/>
                  <a:pt x="2997558" y="1059975"/>
                </a:cubicBezTo>
                <a:cubicBezTo>
                  <a:pt x="3001314" y="1067492"/>
                  <a:pt x="3050147" y="1082528"/>
                  <a:pt x="3076441" y="1075010"/>
                </a:cubicBezTo>
                <a:cubicBezTo>
                  <a:pt x="3110248" y="1071251"/>
                  <a:pt x="3144055" y="1048699"/>
                  <a:pt x="3181618" y="1029905"/>
                </a:cubicBezTo>
                <a:cubicBezTo>
                  <a:pt x="3177862" y="1011111"/>
                  <a:pt x="3170349" y="988558"/>
                  <a:pt x="3159080" y="950970"/>
                </a:cubicBezTo>
                <a:cubicBezTo>
                  <a:pt x="3181618" y="962247"/>
                  <a:pt x="3189131" y="969764"/>
                  <a:pt x="3192887" y="969764"/>
                </a:cubicBezTo>
                <a:cubicBezTo>
                  <a:pt x="3200400" y="939694"/>
                  <a:pt x="3204156" y="905865"/>
                  <a:pt x="3219182" y="879554"/>
                </a:cubicBezTo>
                <a:cubicBezTo>
                  <a:pt x="3222938" y="870157"/>
                  <a:pt x="3232329" y="863579"/>
                  <a:pt x="3244537" y="857001"/>
                </a:cubicBezTo>
                <a:lnTo>
                  <a:pt x="3286796" y="834448"/>
                </a:lnTo>
                <a:lnTo>
                  <a:pt x="3290552" y="836328"/>
                </a:lnTo>
                <a:cubicBezTo>
                  <a:pt x="3296187" y="839147"/>
                  <a:pt x="3305578" y="843845"/>
                  <a:pt x="3316847" y="849483"/>
                </a:cubicBezTo>
                <a:cubicBezTo>
                  <a:pt x="3309334" y="815654"/>
                  <a:pt x="3305578" y="793102"/>
                  <a:pt x="3301821" y="778067"/>
                </a:cubicBezTo>
                <a:cubicBezTo>
                  <a:pt x="3339385" y="781825"/>
                  <a:pt x="3376948" y="785584"/>
                  <a:pt x="3391973" y="785584"/>
                </a:cubicBezTo>
                <a:cubicBezTo>
                  <a:pt x="3448318" y="819413"/>
                  <a:pt x="3489638" y="838207"/>
                  <a:pt x="3527202" y="860760"/>
                </a:cubicBezTo>
                <a:cubicBezTo>
                  <a:pt x="3538471" y="868277"/>
                  <a:pt x="3553496" y="894589"/>
                  <a:pt x="3553496" y="898347"/>
                </a:cubicBezTo>
                <a:cubicBezTo>
                  <a:pt x="3538471" y="920900"/>
                  <a:pt x="3515933" y="939694"/>
                  <a:pt x="3497151" y="962247"/>
                </a:cubicBezTo>
                <a:cubicBezTo>
                  <a:pt x="3530958" y="992317"/>
                  <a:pt x="3572278" y="1022387"/>
                  <a:pt x="3602328" y="1044940"/>
                </a:cubicBezTo>
                <a:cubicBezTo>
                  <a:pt x="3684968" y="1063734"/>
                  <a:pt x="3497151" y="1221602"/>
                  <a:pt x="3699993" y="1165221"/>
                </a:cubicBezTo>
                <a:cubicBezTo>
                  <a:pt x="3662430" y="1251672"/>
                  <a:pt x="3838978" y="1225361"/>
                  <a:pt x="3778876" y="1326848"/>
                </a:cubicBezTo>
                <a:cubicBezTo>
                  <a:pt x="3760094" y="1300536"/>
                  <a:pt x="3745069" y="1281743"/>
                  <a:pt x="3730044" y="1262949"/>
                </a:cubicBezTo>
                <a:cubicBezTo>
                  <a:pt x="3726287" y="1266708"/>
                  <a:pt x="3718775" y="1274225"/>
                  <a:pt x="3711262" y="1277984"/>
                </a:cubicBezTo>
                <a:cubicBezTo>
                  <a:pt x="3733800" y="1311813"/>
                  <a:pt x="3718775" y="1368194"/>
                  <a:pt x="3797658" y="1364436"/>
                </a:cubicBezTo>
                <a:cubicBezTo>
                  <a:pt x="3835221" y="1364436"/>
                  <a:pt x="3872785" y="1417059"/>
                  <a:pt x="3921617" y="1420817"/>
                </a:cubicBezTo>
                <a:cubicBezTo>
                  <a:pt x="3936642" y="1420817"/>
                  <a:pt x="3944155" y="1469681"/>
                  <a:pt x="3955424" y="1495993"/>
                </a:cubicBezTo>
                <a:cubicBezTo>
                  <a:pt x="3966693" y="1541098"/>
                  <a:pt x="3981718" y="1582445"/>
                  <a:pt x="3996744" y="1635068"/>
                </a:cubicBezTo>
                <a:cubicBezTo>
                  <a:pt x="4030551" y="1608756"/>
                  <a:pt x="4053089" y="1589962"/>
                  <a:pt x="4075627" y="1574927"/>
                </a:cubicBezTo>
                <a:cubicBezTo>
                  <a:pt x="4086896" y="1574927"/>
                  <a:pt x="4098165" y="1574927"/>
                  <a:pt x="4105678" y="1574927"/>
                </a:cubicBezTo>
                <a:cubicBezTo>
                  <a:pt x="4109434" y="1578686"/>
                  <a:pt x="4109434" y="1586204"/>
                  <a:pt x="4109434" y="1593721"/>
                </a:cubicBezTo>
                <a:cubicBezTo>
                  <a:pt x="4109434" y="1597480"/>
                  <a:pt x="4109434" y="1604997"/>
                  <a:pt x="4109434" y="1612515"/>
                </a:cubicBezTo>
                <a:cubicBezTo>
                  <a:pt x="4113190" y="1612515"/>
                  <a:pt x="4120703" y="1612515"/>
                  <a:pt x="4124459" y="1612515"/>
                </a:cubicBezTo>
                <a:cubicBezTo>
                  <a:pt x="4139485" y="1631309"/>
                  <a:pt x="4154510" y="1650103"/>
                  <a:pt x="4165779" y="1665138"/>
                </a:cubicBezTo>
                <a:cubicBezTo>
                  <a:pt x="4113190" y="1740313"/>
                  <a:pt x="4203343" y="1729037"/>
                  <a:pt x="4222124" y="1762866"/>
                </a:cubicBezTo>
                <a:lnTo>
                  <a:pt x="4237150" y="1777901"/>
                </a:lnTo>
                <a:lnTo>
                  <a:pt x="4240906" y="1796695"/>
                </a:lnTo>
                <a:cubicBezTo>
                  <a:pt x="4259688" y="1807971"/>
                  <a:pt x="4278469" y="1823006"/>
                  <a:pt x="4297251" y="1834283"/>
                </a:cubicBezTo>
                <a:cubicBezTo>
                  <a:pt x="4308520" y="1845559"/>
                  <a:pt x="4319789" y="1856835"/>
                  <a:pt x="4331058" y="1871870"/>
                </a:cubicBezTo>
                <a:cubicBezTo>
                  <a:pt x="4346083" y="1883147"/>
                  <a:pt x="4357352" y="1894423"/>
                  <a:pt x="4368621" y="1905699"/>
                </a:cubicBezTo>
                <a:cubicBezTo>
                  <a:pt x="4379890" y="1924493"/>
                  <a:pt x="4391159" y="1943287"/>
                  <a:pt x="4402428" y="1962081"/>
                </a:cubicBezTo>
                <a:cubicBezTo>
                  <a:pt x="4439992" y="2010945"/>
                  <a:pt x="4477555" y="2063568"/>
                  <a:pt x="4515119" y="2108673"/>
                </a:cubicBezTo>
                <a:cubicBezTo>
                  <a:pt x="4518875" y="2112432"/>
                  <a:pt x="4548926" y="2104914"/>
                  <a:pt x="4548926" y="2097397"/>
                </a:cubicBezTo>
                <a:cubicBezTo>
                  <a:pt x="4552682" y="2086121"/>
                  <a:pt x="4545169" y="2067327"/>
                  <a:pt x="4537657" y="2056050"/>
                </a:cubicBezTo>
                <a:cubicBezTo>
                  <a:pt x="4526388" y="2037257"/>
                  <a:pt x="4518875" y="1999669"/>
                  <a:pt x="4533900" y="1984634"/>
                </a:cubicBezTo>
                <a:cubicBezTo>
                  <a:pt x="4556438" y="2014704"/>
                  <a:pt x="4578976" y="2048533"/>
                  <a:pt x="4605271" y="2082362"/>
                </a:cubicBezTo>
                <a:cubicBezTo>
                  <a:pt x="4612783" y="2074844"/>
                  <a:pt x="4627809" y="2063568"/>
                  <a:pt x="4642834" y="2052292"/>
                </a:cubicBezTo>
                <a:cubicBezTo>
                  <a:pt x="4635321" y="2108673"/>
                  <a:pt x="4778062" y="2056050"/>
                  <a:pt x="4714204" y="2150020"/>
                </a:cubicBezTo>
                <a:cubicBezTo>
                  <a:pt x="4710448" y="2157537"/>
                  <a:pt x="4732986" y="2180090"/>
                  <a:pt x="4744255" y="2195125"/>
                </a:cubicBezTo>
                <a:cubicBezTo>
                  <a:pt x="4811869" y="2266542"/>
                  <a:pt x="4917047" y="2315406"/>
                  <a:pt x="4909534" y="2439445"/>
                </a:cubicBezTo>
                <a:cubicBezTo>
                  <a:pt x="4909534" y="2443204"/>
                  <a:pt x="4928316" y="2443204"/>
                  <a:pt x="4935828" y="2446963"/>
                </a:cubicBezTo>
                <a:cubicBezTo>
                  <a:pt x="4962123" y="2465757"/>
                  <a:pt x="4992173" y="2484551"/>
                  <a:pt x="5014712" y="2507104"/>
                </a:cubicBezTo>
                <a:cubicBezTo>
                  <a:pt x="5033493" y="2522138"/>
                  <a:pt x="5044762" y="2548450"/>
                  <a:pt x="5059788" y="2548450"/>
                </a:cubicBezTo>
                <a:cubicBezTo>
                  <a:pt x="5074813" y="2548450"/>
                  <a:pt x="5093595" y="2525897"/>
                  <a:pt x="5104864" y="2510862"/>
                </a:cubicBezTo>
                <a:cubicBezTo>
                  <a:pt x="5116133" y="2495827"/>
                  <a:pt x="5119889" y="2480792"/>
                  <a:pt x="5127402" y="2461998"/>
                </a:cubicBezTo>
                <a:cubicBezTo>
                  <a:pt x="5134914" y="2461998"/>
                  <a:pt x="5142427" y="2461998"/>
                  <a:pt x="5149940" y="2461998"/>
                </a:cubicBezTo>
                <a:cubicBezTo>
                  <a:pt x="5183747" y="2499586"/>
                  <a:pt x="5217554" y="2555967"/>
                  <a:pt x="5273899" y="2488309"/>
                </a:cubicBezTo>
                <a:cubicBezTo>
                  <a:pt x="5277655" y="2480792"/>
                  <a:pt x="5318975" y="2495827"/>
                  <a:pt x="5326488" y="2507104"/>
                </a:cubicBezTo>
                <a:cubicBezTo>
                  <a:pt x="5345269" y="2540933"/>
                  <a:pt x="5375320" y="2601073"/>
                  <a:pt x="5364051" y="2612349"/>
                </a:cubicBezTo>
                <a:cubicBezTo>
                  <a:pt x="5296437" y="2676248"/>
                  <a:pt x="5341513" y="2755183"/>
                  <a:pt x="5356538" y="2804047"/>
                </a:cubicBezTo>
                <a:cubicBezTo>
                  <a:pt x="5379076" y="2875463"/>
                  <a:pt x="5390345" y="2916810"/>
                  <a:pt x="5303950" y="2954398"/>
                </a:cubicBezTo>
                <a:cubicBezTo>
                  <a:pt x="5330244" y="2961915"/>
                  <a:pt x="5341513" y="2965674"/>
                  <a:pt x="5367807" y="2973191"/>
                </a:cubicBezTo>
                <a:cubicBezTo>
                  <a:pt x="5288924" y="3003262"/>
                  <a:pt x="5217554" y="3033332"/>
                  <a:pt x="5142427" y="3063402"/>
                </a:cubicBezTo>
                <a:cubicBezTo>
                  <a:pt x="5179990" y="3131060"/>
                  <a:pt x="5161209" y="3183683"/>
                  <a:pt x="5108620" y="3221271"/>
                </a:cubicBezTo>
                <a:cubicBezTo>
                  <a:pt x="5101107" y="3240065"/>
                  <a:pt x="5097351" y="3258858"/>
                  <a:pt x="5093595" y="3277652"/>
                </a:cubicBezTo>
                <a:cubicBezTo>
                  <a:pt x="5104864" y="3285170"/>
                  <a:pt x="5116133" y="3288929"/>
                  <a:pt x="5131158" y="3296446"/>
                </a:cubicBezTo>
                <a:cubicBezTo>
                  <a:pt x="5134914" y="3303964"/>
                  <a:pt x="5142427" y="3307723"/>
                  <a:pt x="5146183" y="3315240"/>
                </a:cubicBezTo>
                <a:cubicBezTo>
                  <a:pt x="5153696" y="3326516"/>
                  <a:pt x="5161209" y="3341551"/>
                  <a:pt x="5164965" y="3352828"/>
                </a:cubicBezTo>
                <a:cubicBezTo>
                  <a:pt x="5172478" y="3352828"/>
                  <a:pt x="5172478" y="3352828"/>
                  <a:pt x="5172478" y="3352828"/>
                </a:cubicBezTo>
                <a:cubicBezTo>
                  <a:pt x="5183747" y="3352828"/>
                  <a:pt x="5183747" y="3352828"/>
                  <a:pt x="5183747" y="3352828"/>
                </a:cubicBezTo>
                <a:cubicBezTo>
                  <a:pt x="5187503" y="3352828"/>
                  <a:pt x="5195016" y="3352828"/>
                  <a:pt x="5202528" y="3352828"/>
                </a:cubicBezTo>
                <a:cubicBezTo>
                  <a:pt x="5255117" y="3367863"/>
                  <a:pt x="5303950" y="3382898"/>
                  <a:pt x="5334000" y="3315240"/>
                </a:cubicBezTo>
                <a:cubicBezTo>
                  <a:pt x="5405371" y="3300205"/>
                  <a:pt x="5457959" y="3345310"/>
                  <a:pt x="5514304" y="3375380"/>
                </a:cubicBezTo>
                <a:cubicBezTo>
                  <a:pt x="5533086" y="3386657"/>
                  <a:pt x="5540599" y="3428003"/>
                  <a:pt x="5548112" y="3458074"/>
                </a:cubicBezTo>
                <a:cubicBezTo>
                  <a:pt x="5551868" y="3484385"/>
                  <a:pt x="5555624" y="3518214"/>
                  <a:pt x="5548112" y="3544525"/>
                </a:cubicBezTo>
                <a:cubicBezTo>
                  <a:pt x="5518061" y="3642254"/>
                  <a:pt x="5555624" y="3717429"/>
                  <a:pt x="5604457" y="3800122"/>
                </a:cubicBezTo>
                <a:cubicBezTo>
                  <a:pt x="5638264" y="3864021"/>
                  <a:pt x="5593188" y="3965508"/>
                  <a:pt x="5623238" y="4033166"/>
                </a:cubicBezTo>
                <a:cubicBezTo>
                  <a:pt x="5657045" y="4119618"/>
                  <a:pt x="5548112" y="4232381"/>
                  <a:pt x="5672071" y="4307557"/>
                </a:cubicBezTo>
                <a:cubicBezTo>
                  <a:pt x="5653289" y="4303798"/>
                  <a:pt x="5634507" y="4300039"/>
                  <a:pt x="5596944" y="4292522"/>
                </a:cubicBezTo>
                <a:cubicBezTo>
                  <a:pt x="5625116" y="4315074"/>
                  <a:pt x="5649533" y="4334808"/>
                  <a:pt x="5673010" y="4353602"/>
                </a:cubicBezTo>
                <a:lnTo>
                  <a:pt x="5742387" y="4408214"/>
                </a:lnTo>
                <a:lnTo>
                  <a:pt x="5739215" y="4417031"/>
                </a:lnTo>
                <a:cubicBezTo>
                  <a:pt x="5738746" y="4418441"/>
                  <a:pt x="5739685" y="4416561"/>
                  <a:pt x="5743441" y="4409044"/>
                </a:cubicBezTo>
                <a:lnTo>
                  <a:pt x="5742387" y="4408214"/>
                </a:lnTo>
                <a:lnTo>
                  <a:pt x="5743441" y="4405285"/>
                </a:lnTo>
                <a:cubicBezTo>
                  <a:pt x="5811055" y="4574430"/>
                  <a:pt x="5811055" y="4574430"/>
                  <a:pt x="5765979" y="4600741"/>
                </a:cubicBezTo>
                <a:cubicBezTo>
                  <a:pt x="5803543" y="4623294"/>
                  <a:pt x="5833593" y="4645847"/>
                  <a:pt x="5867400" y="4668399"/>
                </a:cubicBezTo>
                <a:cubicBezTo>
                  <a:pt x="5863644" y="4732299"/>
                  <a:pt x="5859888" y="4799956"/>
                  <a:pt x="5852375" y="4871373"/>
                </a:cubicBezTo>
                <a:cubicBezTo>
                  <a:pt x="5841106" y="4867614"/>
                  <a:pt x="5826081" y="4860097"/>
                  <a:pt x="5811055" y="4856338"/>
                </a:cubicBezTo>
                <a:cubicBezTo>
                  <a:pt x="5811055" y="4890167"/>
                  <a:pt x="5814812" y="4927755"/>
                  <a:pt x="5818568" y="4961584"/>
                </a:cubicBezTo>
                <a:cubicBezTo>
                  <a:pt x="5765979" y="4984136"/>
                  <a:pt x="5709634" y="5006689"/>
                  <a:pt x="5672071" y="5021724"/>
                </a:cubicBezTo>
                <a:cubicBezTo>
                  <a:pt x="5658924" y="5042398"/>
                  <a:pt x="5647655" y="5059312"/>
                  <a:pt x="5637325" y="5074347"/>
                </a:cubicBezTo>
                <a:lnTo>
                  <a:pt x="5613845" y="5107695"/>
                </a:lnTo>
                <a:lnTo>
                  <a:pt x="5612381" y="5139246"/>
                </a:lnTo>
                <a:cubicBezTo>
                  <a:pt x="5612909" y="5159273"/>
                  <a:pt x="5615726" y="5178302"/>
                  <a:pt x="5623238" y="5195216"/>
                </a:cubicBezTo>
                <a:cubicBezTo>
                  <a:pt x="5657045" y="5281668"/>
                  <a:pt x="5548112" y="5394431"/>
                  <a:pt x="5672071" y="5469607"/>
                </a:cubicBezTo>
                <a:cubicBezTo>
                  <a:pt x="5653289" y="5465848"/>
                  <a:pt x="5634507" y="5462089"/>
                  <a:pt x="5596944" y="5454572"/>
                </a:cubicBezTo>
                <a:cubicBezTo>
                  <a:pt x="5625116" y="5477124"/>
                  <a:pt x="5649533" y="5496858"/>
                  <a:pt x="5673010" y="5515652"/>
                </a:cubicBezTo>
                <a:lnTo>
                  <a:pt x="5742387" y="5570264"/>
                </a:lnTo>
                <a:lnTo>
                  <a:pt x="5739215" y="5579081"/>
                </a:lnTo>
                <a:cubicBezTo>
                  <a:pt x="5738746" y="5580491"/>
                  <a:pt x="5739685" y="5578611"/>
                  <a:pt x="5743441" y="5571094"/>
                </a:cubicBezTo>
                <a:lnTo>
                  <a:pt x="5742387" y="5570264"/>
                </a:lnTo>
                <a:lnTo>
                  <a:pt x="5743441" y="5567335"/>
                </a:lnTo>
                <a:cubicBezTo>
                  <a:pt x="5811055" y="5736480"/>
                  <a:pt x="5811055" y="5736480"/>
                  <a:pt x="5765979" y="5762791"/>
                </a:cubicBezTo>
                <a:cubicBezTo>
                  <a:pt x="5803543" y="5785344"/>
                  <a:pt x="5833593" y="5807897"/>
                  <a:pt x="5867400" y="5830449"/>
                </a:cubicBezTo>
                <a:cubicBezTo>
                  <a:pt x="5863644" y="5894349"/>
                  <a:pt x="5859888" y="5962006"/>
                  <a:pt x="5852375" y="6033423"/>
                </a:cubicBezTo>
                <a:cubicBezTo>
                  <a:pt x="5841106" y="6029664"/>
                  <a:pt x="5826081" y="6022147"/>
                  <a:pt x="5811055" y="6018388"/>
                </a:cubicBezTo>
                <a:cubicBezTo>
                  <a:pt x="5811055" y="6052217"/>
                  <a:pt x="5814812" y="6089805"/>
                  <a:pt x="5818568" y="6123634"/>
                </a:cubicBezTo>
                <a:cubicBezTo>
                  <a:pt x="5765979" y="6146186"/>
                  <a:pt x="5709634" y="6168739"/>
                  <a:pt x="5672071" y="6183774"/>
                </a:cubicBezTo>
                <a:cubicBezTo>
                  <a:pt x="5645776" y="6225121"/>
                  <a:pt x="5626995" y="6251432"/>
                  <a:pt x="5608213" y="6277744"/>
                </a:cubicBezTo>
                <a:cubicBezTo>
                  <a:pt x="5589431" y="6277744"/>
                  <a:pt x="5574406" y="6273985"/>
                  <a:pt x="5555624" y="6273985"/>
                </a:cubicBezTo>
                <a:cubicBezTo>
                  <a:pt x="5555624" y="6281502"/>
                  <a:pt x="5555624" y="6289020"/>
                  <a:pt x="5555624" y="6296537"/>
                </a:cubicBezTo>
                <a:cubicBezTo>
                  <a:pt x="5555624" y="6300296"/>
                  <a:pt x="5551868" y="6307814"/>
                  <a:pt x="5551868" y="6311573"/>
                </a:cubicBezTo>
                <a:cubicBezTo>
                  <a:pt x="5495523" y="6307814"/>
                  <a:pt x="5435421" y="6311573"/>
                  <a:pt x="5382833" y="6296537"/>
                </a:cubicBezTo>
                <a:cubicBezTo>
                  <a:pt x="5266386" y="6262709"/>
                  <a:pt x="5161209" y="6262709"/>
                  <a:pt x="5052275" y="6334125"/>
                </a:cubicBezTo>
                <a:cubicBezTo>
                  <a:pt x="5067300" y="6311573"/>
                  <a:pt x="5078569" y="6285261"/>
                  <a:pt x="5093595" y="6258950"/>
                </a:cubicBezTo>
                <a:cubicBezTo>
                  <a:pt x="5086082" y="6247673"/>
                  <a:pt x="5067300" y="6232638"/>
                  <a:pt x="5048519" y="6217603"/>
                </a:cubicBezTo>
                <a:cubicBezTo>
                  <a:pt x="4947097" y="6270226"/>
                  <a:pt x="4853189" y="6262709"/>
                  <a:pt x="4759281" y="6191292"/>
                </a:cubicBezTo>
                <a:cubicBezTo>
                  <a:pt x="4766793" y="6210086"/>
                  <a:pt x="4778062" y="6228880"/>
                  <a:pt x="4789331" y="6255191"/>
                </a:cubicBezTo>
                <a:cubicBezTo>
                  <a:pt x="4770550" y="6255191"/>
                  <a:pt x="4755524" y="6255191"/>
                  <a:pt x="4744255" y="6251432"/>
                </a:cubicBezTo>
                <a:cubicBezTo>
                  <a:pt x="4672885" y="6228880"/>
                  <a:pt x="4601514" y="6210086"/>
                  <a:pt x="4530144" y="6191292"/>
                </a:cubicBezTo>
                <a:cubicBezTo>
                  <a:pt x="4439992" y="6164980"/>
                  <a:pt x="4353596" y="6131151"/>
                  <a:pt x="4263444" y="6104840"/>
                </a:cubicBezTo>
                <a:cubicBezTo>
                  <a:pt x="4248419" y="6101081"/>
                  <a:pt x="4222124" y="6119875"/>
                  <a:pt x="4203343" y="6127393"/>
                </a:cubicBezTo>
                <a:cubicBezTo>
                  <a:pt x="4184561" y="6127393"/>
                  <a:pt x="4165779" y="6127393"/>
                  <a:pt x="4146997" y="6123634"/>
                </a:cubicBezTo>
                <a:cubicBezTo>
                  <a:pt x="4094409" y="6123634"/>
                  <a:pt x="4038064" y="6123634"/>
                  <a:pt x="3977962" y="6123634"/>
                </a:cubicBezTo>
                <a:cubicBezTo>
                  <a:pt x="3914104" y="6104840"/>
                  <a:pt x="3838978" y="6078529"/>
                  <a:pt x="3767607" y="6055976"/>
                </a:cubicBezTo>
                <a:cubicBezTo>
                  <a:pt x="3786389" y="6093564"/>
                  <a:pt x="3805171" y="6131151"/>
                  <a:pt x="3823952" y="6168739"/>
                </a:cubicBezTo>
                <a:cubicBezTo>
                  <a:pt x="3816440" y="6172498"/>
                  <a:pt x="3805171" y="6180015"/>
                  <a:pt x="3797658" y="6183774"/>
                </a:cubicBezTo>
                <a:cubicBezTo>
                  <a:pt x="3733800" y="6149945"/>
                  <a:pt x="3666186" y="6112357"/>
                  <a:pt x="3609841" y="6082287"/>
                </a:cubicBezTo>
                <a:cubicBezTo>
                  <a:pt x="3583547" y="6127393"/>
                  <a:pt x="3561009" y="6168739"/>
                  <a:pt x="3534714" y="6210086"/>
                </a:cubicBezTo>
                <a:cubicBezTo>
                  <a:pt x="3508420" y="6176257"/>
                  <a:pt x="3478369" y="6146186"/>
                  <a:pt x="3463344" y="6131151"/>
                </a:cubicBezTo>
                <a:cubicBezTo>
                  <a:pt x="3388217" y="6089805"/>
                  <a:pt x="3324359" y="6055976"/>
                  <a:pt x="3260502" y="6018388"/>
                </a:cubicBezTo>
                <a:cubicBezTo>
                  <a:pt x="3260502" y="6018388"/>
                  <a:pt x="3252989" y="6033423"/>
                  <a:pt x="3245476" y="6059735"/>
                </a:cubicBezTo>
                <a:cubicBezTo>
                  <a:pt x="3226694" y="6029664"/>
                  <a:pt x="3211669" y="6003353"/>
                  <a:pt x="3185375" y="5958248"/>
                </a:cubicBezTo>
                <a:cubicBezTo>
                  <a:pt x="3170349" y="5999594"/>
                  <a:pt x="3159080" y="6022147"/>
                  <a:pt x="3144055" y="6059735"/>
                </a:cubicBezTo>
                <a:cubicBezTo>
                  <a:pt x="3129030" y="6029664"/>
                  <a:pt x="3117761" y="6007112"/>
                  <a:pt x="3102736" y="5977042"/>
                </a:cubicBezTo>
                <a:cubicBezTo>
                  <a:pt x="3072685" y="5988318"/>
                  <a:pt x="3042634" y="6003353"/>
                  <a:pt x="3016340" y="6014629"/>
                </a:cubicBezTo>
                <a:cubicBezTo>
                  <a:pt x="2941213" y="5954489"/>
                  <a:pt x="2873599" y="5894349"/>
                  <a:pt x="2794716" y="5845484"/>
                </a:cubicBezTo>
                <a:cubicBezTo>
                  <a:pt x="2768421" y="5826691"/>
                  <a:pt x="2730858" y="5774068"/>
                  <a:pt x="2685782" y="5826691"/>
                </a:cubicBezTo>
                <a:cubicBezTo>
                  <a:pt x="2682025" y="5834208"/>
                  <a:pt x="2663244" y="5826691"/>
                  <a:pt x="2651975" y="5822932"/>
                </a:cubicBezTo>
                <a:cubicBezTo>
                  <a:pt x="2546798" y="5792862"/>
                  <a:pt x="2445376" y="5751515"/>
                  <a:pt x="2351468" y="5698892"/>
                </a:cubicBezTo>
                <a:cubicBezTo>
                  <a:pt x="2332686" y="5691375"/>
                  <a:pt x="2321417" y="5665063"/>
                  <a:pt x="2306392" y="5646269"/>
                </a:cubicBezTo>
                <a:cubicBezTo>
                  <a:pt x="2310148" y="5642511"/>
                  <a:pt x="2317661" y="5634993"/>
                  <a:pt x="2321417" y="5627475"/>
                </a:cubicBezTo>
                <a:cubicBezTo>
                  <a:pt x="2366493" y="5646269"/>
                  <a:pt x="2411569" y="5665063"/>
                  <a:pt x="2456645" y="5683857"/>
                </a:cubicBezTo>
                <a:cubicBezTo>
                  <a:pt x="2404057" y="5623717"/>
                  <a:pt x="2362737" y="5571094"/>
                  <a:pt x="2310148" y="5525989"/>
                </a:cubicBezTo>
                <a:cubicBezTo>
                  <a:pt x="2300757" y="5516592"/>
                  <a:pt x="2287610" y="5510954"/>
                  <a:pt x="2271646" y="5505785"/>
                </a:cubicBezTo>
                <a:lnTo>
                  <a:pt x="2217838" y="5488902"/>
                </a:lnTo>
                <a:lnTo>
                  <a:pt x="2219996" y="5480883"/>
                </a:lnTo>
                <a:cubicBezTo>
                  <a:pt x="2163651" y="5473366"/>
                  <a:pt x="2129844" y="5398190"/>
                  <a:pt x="2058474" y="5432019"/>
                </a:cubicBezTo>
                <a:cubicBezTo>
                  <a:pt x="1990859" y="5462089"/>
                  <a:pt x="1911976" y="5424502"/>
                  <a:pt x="1885682" y="5353085"/>
                </a:cubicBezTo>
                <a:cubicBezTo>
                  <a:pt x="1885682" y="5345567"/>
                  <a:pt x="1881926" y="5338050"/>
                  <a:pt x="1881926" y="5338050"/>
                </a:cubicBezTo>
                <a:cubicBezTo>
                  <a:pt x="1814312" y="5319256"/>
                  <a:pt x="1795530" y="5270392"/>
                  <a:pt x="1776748" y="5214010"/>
                </a:cubicBezTo>
                <a:cubicBezTo>
                  <a:pt x="1772992" y="5198975"/>
                  <a:pt x="1754210" y="5191457"/>
                  <a:pt x="1727916" y="5168905"/>
                </a:cubicBezTo>
                <a:cubicBezTo>
                  <a:pt x="1727916" y="5198975"/>
                  <a:pt x="1727916" y="5214010"/>
                  <a:pt x="1727916" y="5229045"/>
                </a:cubicBezTo>
                <a:cubicBezTo>
                  <a:pt x="1720403" y="5236563"/>
                  <a:pt x="1716647" y="5244080"/>
                  <a:pt x="1709134" y="5251598"/>
                </a:cubicBezTo>
                <a:cubicBezTo>
                  <a:pt x="1705378" y="5236563"/>
                  <a:pt x="1701621" y="5206492"/>
                  <a:pt x="1694109" y="5206492"/>
                </a:cubicBezTo>
                <a:cubicBezTo>
                  <a:pt x="1562637" y="5187699"/>
                  <a:pt x="1472485" y="5089970"/>
                  <a:pt x="1412383" y="5003519"/>
                </a:cubicBezTo>
                <a:cubicBezTo>
                  <a:pt x="1363551" y="4935861"/>
                  <a:pt x="1258373" y="4913308"/>
                  <a:pt x="1254617" y="4808062"/>
                </a:cubicBezTo>
                <a:cubicBezTo>
                  <a:pt x="1254617" y="4789268"/>
                  <a:pt x="1213297" y="4774233"/>
                  <a:pt x="1190759" y="4751681"/>
                </a:cubicBezTo>
                <a:cubicBezTo>
                  <a:pt x="1183247" y="4747922"/>
                  <a:pt x="1190759" y="4732887"/>
                  <a:pt x="1187003" y="4725369"/>
                </a:cubicBezTo>
                <a:cubicBezTo>
                  <a:pt x="1179490" y="4710334"/>
                  <a:pt x="1175734" y="4695299"/>
                  <a:pt x="1164465" y="4684023"/>
                </a:cubicBezTo>
                <a:cubicBezTo>
                  <a:pt x="1153196" y="4668988"/>
                  <a:pt x="1138171" y="4657711"/>
                  <a:pt x="1123145" y="4646435"/>
                </a:cubicBezTo>
                <a:cubicBezTo>
                  <a:pt x="1130658" y="4638917"/>
                  <a:pt x="1138171" y="4631400"/>
                  <a:pt x="1149440" y="4623882"/>
                </a:cubicBezTo>
                <a:lnTo>
                  <a:pt x="1360750" y="4805511"/>
                </a:lnTo>
                <a:lnTo>
                  <a:pt x="1427409" y="4886997"/>
                </a:lnTo>
                <a:cubicBezTo>
                  <a:pt x="1431165" y="4883238"/>
                  <a:pt x="1438678" y="4879479"/>
                  <a:pt x="1442434" y="4875720"/>
                </a:cubicBezTo>
                <a:lnTo>
                  <a:pt x="1360750" y="4805511"/>
                </a:lnTo>
                <a:lnTo>
                  <a:pt x="1336318" y="4775643"/>
                </a:lnTo>
                <a:cubicBezTo>
                  <a:pt x="1306267" y="4738525"/>
                  <a:pt x="1277155" y="4700937"/>
                  <a:pt x="1250861" y="4661470"/>
                </a:cubicBezTo>
                <a:cubicBezTo>
                  <a:pt x="1209541" y="4597571"/>
                  <a:pt x="1104364" y="4567501"/>
                  <a:pt x="1108120" y="4496084"/>
                </a:cubicBezTo>
                <a:cubicBezTo>
                  <a:pt x="1074313" y="4447220"/>
                  <a:pt x="1055531" y="4413391"/>
                  <a:pt x="1032993" y="4383321"/>
                </a:cubicBezTo>
                <a:cubicBezTo>
                  <a:pt x="1021724" y="4368286"/>
                  <a:pt x="1006699" y="4357009"/>
                  <a:pt x="991673" y="4353250"/>
                </a:cubicBezTo>
                <a:cubicBezTo>
                  <a:pt x="950354" y="4341974"/>
                  <a:pt x="905278" y="4334457"/>
                  <a:pt x="863958" y="4326939"/>
                </a:cubicBezTo>
                <a:cubicBezTo>
                  <a:pt x="856445" y="4372044"/>
                  <a:pt x="1021724" y="4541189"/>
                  <a:pt x="1126902" y="4582536"/>
                </a:cubicBezTo>
                <a:cubicBezTo>
                  <a:pt x="1119389" y="4605088"/>
                  <a:pt x="1111876" y="4627641"/>
                  <a:pt x="1108120" y="4642676"/>
                </a:cubicBezTo>
                <a:cubicBezTo>
                  <a:pt x="1021724" y="4563742"/>
                  <a:pt x="931572" y="4481049"/>
                  <a:pt x="841420" y="4402115"/>
                </a:cubicBezTo>
                <a:cubicBezTo>
                  <a:pt x="732486" y="4450979"/>
                  <a:pt x="631065" y="4372044"/>
                  <a:pt x="503349" y="4375803"/>
                </a:cubicBezTo>
                <a:cubicBezTo>
                  <a:pt x="552182" y="4345733"/>
                  <a:pt x="585989" y="4323180"/>
                  <a:pt x="623552" y="4304386"/>
                </a:cubicBezTo>
                <a:lnTo>
                  <a:pt x="609527" y="4292163"/>
                </a:lnTo>
                <a:lnTo>
                  <a:pt x="652194" y="4251764"/>
                </a:lnTo>
                <a:cubicBezTo>
                  <a:pt x="665811" y="4238608"/>
                  <a:pt x="678019" y="4225452"/>
                  <a:pt x="687410" y="4210417"/>
                </a:cubicBezTo>
                <a:cubicBezTo>
                  <a:pt x="698679" y="4187864"/>
                  <a:pt x="694923" y="4157794"/>
                  <a:pt x="702435" y="4120207"/>
                </a:cubicBezTo>
                <a:cubicBezTo>
                  <a:pt x="709948" y="4116448"/>
                  <a:pt x="736242" y="4108930"/>
                  <a:pt x="770049" y="4093895"/>
                </a:cubicBezTo>
                <a:cubicBezTo>
                  <a:pt x="733895" y="4057717"/>
                  <a:pt x="657477" y="4053194"/>
                  <a:pt x="666618" y="3997231"/>
                </a:cubicBezTo>
                <a:lnTo>
                  <a:pt x="675322" y="3972210"/>
                </a:lnTo>
                <a:lnTo>
                  <a:pt x="716639" y="4005329"/>
                </a:lnTo>
                <a:cubicBezTo>
                  <a:pt x="758546" y="4043386"/>
                  <a:pt x="797283" y="4083558"/>
                  <a:pt x="867714" y="4075101"/>
                </a:cubicBezTo>
                <a:cubicBezTo>
                  <a:pt x="875227" y="4071342"/>
                  <a:pt x="897765" y="4093895"/>
                  <a:pt x="897765" y="4105171"/>
                </a:cubicBezTo>
                <a:cubicBezTo>
                  <a:pt x="901521" y="4180347"/>
                  <a:pt x="946597" y="4221693"/>
                  <a:pt x="1029237" y="4259281"/>
                </a:cubicBezTo>
                <a:cubicBezTo>
                  <a:pt x="1002942" y="4225452"/>
                  <a:pt x="991673" y="4210417"/>
                  <a:pt x="972892" y="4184106"/>
                </a:cubicBezTo>
                <a:cubicBezTo>
                  <a:pt x="1006699" y="4187864"/>
                  <a:pt x="1025480" y="4191623"/>
                  <a:pt x="1055531" y="4199141"/>
                </a:cubicBezTo>
                <a:cubicBezTo>
                  <a:pt x="1025480" y="4150277"/>
                  <a:pt x="999186" y="4108930"/>
                  <a:pt x="972892" y="4060066"/>
                </a:cubicBezTo>
                <a:cubicBezTo>
                  <a:pt x="1010455" y="4067584"/>
                  <a:pt x="1032993" y="4067584"/>
                  <a:pt x="1051775" y="4071342"/>
                </a:cubicBezTo>
                <a:cubicBezTo>
                  <a:pt x="1051775" y="4037513"/>
                  <a:pt x="1051775" y="4007443"/>
                  <a:pt x="1051775" y="3954820"/>
                </a:cubicBezTo>
                <a:cubicBezTo>
                  <a:pt x="1070557" y="3988649"/>
                  <a:pt x="1081826" y="4003685"/>
                  <a:pt x="1093095" y="4022478"/>
                </a:cubicBezTo>
                <a:cubicBezTo>
                  <a:pt x="1100607" y="3992408"/>
                  <a:pt x="1108120" y="3973614"/>
                  <a:pt x="1111876" y="3969855"/>
                </a:cubicBezTo>
                <a:cubicBezTo>
                  <a:pt x="1051775" y="3909715"/>
                  <a:pt x="995430" y="3853333"/>
                  <a:pt x="939085" y="3793193"/>
                </a:cubicBezTo>
                <a:cubicBezTo>
                  <a:pt x="942841" y="3785676"/>
                  <a:pt x="950354" y="3778158"/>
                  <a:pt x="954110" y="3770640"/>
                </a:cubicBezTo>
                <a:cubicBezTo>
                  <a:pt x="1025480" y="3800710"/>
                  <a:pt x="1096851" y="3834540"/>
                  <a:pt x="1168221" y="3868369"/>
                </a:cubicBezTo>
                <a:cubicBezTo>
                  <a:pt x="1168221" y="3845816"/>
                  <a:pt x="1171978" y="3823263"/>
                  <a:pt x="1175734" y="3793193"/>
                </a:cubicBezTo>
                <a:cubicBezTo>
                  <a:pt x="1164465" y="3793193"/>
                  <a:pt x="1134414" y="3785676"/>
                  <a:pt x="1126902" y="3785676"/>
                </a:cubicBezTo>
                <a:cubicBezTo>
                  <a:pt x="1096851" y="3699224"/>
                  <a:pt x="1070557" y="3620289"/>
                  <a:pt x="1044262" y="3537596"/>
                </a:cubicBezTo>
                <a:cubicBezTo>
                  <a:pt x="1032993" y="3541355"/>
                  <a:pt x="1025480" y="3541355"/>
                  <a:pt x="1017968" y="3545114"/>
                </a:cubicBezTo>
                <a:cubicBezTo>
                  <a:pt x="1021724" y="3571425"/>
                  <a:pt x="1025480" y="3597737"/>
                  <a:pt x="1029237" y="3620289"/>
                </a:cubicBezTo>
                <a:cubicBezTo>
                  <a:pt x="909034" y="3567666"/>
                  <a:pt x="909034" y="3567666"/>
                  <a:pt x="905278" y="3477456"/>
                </a:cubicBezTo>
                <a:cubicBezTo>
                  <a:pt x="897765" y="3451145"/>
                  <a:pt x="890252" y="3424833"/>
                  <a:pt x="890252" y="3421074"/>
                </a:cubicBezTo>
                <a:cubicBezTo>
                  <a:pt x="935328" y="3406039"/>
                  <a:pt x="969135" y="3394763"/>
                  <a:pt x="999186" y="3383486"/>
                </a:cubicBezTo>
                <a:lnTo>
                  <a:pt x="999186" y="3382369"/>
                </a:lnTo>
                <a:lnTo>
                  <a:pt x="955995" y="3343410"/>
                </a:lnTo>
                <a:lnTo>
                  <a:pt x="926407" y="3323346"/>
                </a:lnTo>
                <a:cubicBezTo>
                  <a:pt x="902460" y="3309251"/>
                  <a:pt x="877105" y="3304552"/>
                  <a:pt x="845176" y="3342140"/>
                </a:cubicBezTo>
                <a:cubicBezTo>
                  <a:pt x="841420" y="3342140"/>
                  <a:pt x="822638" y="3330864"/>
                  <a:pt x="811369" y="3323346"/>
                </a:cubicBezTo>
                <a:cubicBezTo>
                  <a:pt x="788831" y="3304552"/>
                  <a:pt x="766293" y="3282000"/>
                  <a:pt x="743755" y="3263206"/>
                </a:cubicBezTo>
                <a:lnTo>
                  <a:pt x="757239" y="3255534"/>
                </a:lnTo>
                <a:lnTo>
                  <a:pt x="679428" y="3243823"/>
                </a:lnTo>
                <a:cubicBezTo>
                  <a:pt x="624491" y="3230668"/>
                  <a:pt x="567207" y="3211874"/>
                  <a:pt x="503349" y="3213753"/>
                </a:cubicBezTo>
                <a:cubicBezTo>
                  <a:pt x="552182" y="3183683"/>
                  <a:pt x="585989" y="3161130"/>
                  <a:pt x="623552" y="3142336"/>
                </a:cubicBezTo>
                <a:lnTo>
                  <a:pt x="609527" y="3130113"/>
                </a:lnTo>
                <a:lnTo>
                  <a:pt x="652194" y="3089714"/>
                </a:lnTo>
                <a:cubicBezTo>
                  <a:pt x="665811" y="3076558"/>
                  <a:pt x="678019" y="3063402"/>
                  <a:pt x="687410" y="3048367"/>
                </a:cubicBezTo>
                <a:cubicBezTo>
                  <a:pt x="698679" y="3025814"/>
                  <a:pt x="694923" y="2995744"/>
                  <a:pt x="702435" y="2958157"/>
                </a:cubicBezTo>
                <a:cubicBezTo>
                  <a:pt x="709948" y="2954398"/>
                  <a:pt x="736242" y="2946880"/>
                  <a:pt x="770049" y="2931845"/>
                </a:cubicBezTo>
                <a:cubicBezTo>
                  <a:pt x="733895" y="2895667"/>
                  <a:pt x="657477" y="2891144"/>
                  <a:pt x="666618" y="2835181"/>
                </a:cubicBezTo>
                <a:lnTo>
                  <a:pt x="675322" y="2810160"/>
                </a:lnTo>
                <a:lnTo>
                  <a:pt x="716639" y="2843279"/>
                </a:lnTo>
                <a:cubicBezTo>
                  <a:pt x="727116" y="2852793"/>
                  <a:pt x="737395" y="2862440"/>
                  <a:pt x="748020" y="2871426"/>
                </a:cubicBezTo>
                <a:lnTo>
                  <a:pt x="759548" y="2879757"/>
                </a:lnTo>
                <a:lnTo>
                  <a:pt x="717461" y="2812153"/>
                </a:lnTo>
                <a:cubicBezTo>
                  <a:pt x="702435" y="2785841"/>
                  <a:pt x="709948" y="2748254"/>
                  <a:pt x="702435" y="2718183"/>
                </a:cubicBezTo>
                <a:cubicBezTo>
                  <a:pt x="698679" y="2691872"/>
                  <a:pt x="687410" y="2669319"/>
                  <a:pt x="679897" y="2646767"/>
                </a:cubicBezTo>
                <a:cubicBezTo>
                  <a:pt x="668628" y="2650525"/>
                  <a:pt x="661116" y="2650525"/>
                  <a:pt x="649847" y="2654284"/>
                </a:cubicBezTo>
                <a:cubicBezTo>
                  <a:pt x="653603" y="2635490"/>
                  <a:pt x="661116" y="2616696"/>
                  <a:pt x="657359" y="2624214"/>
                </a:cubicBezTo>
                <a:cubicBezTo>
                  <a:pt x="574720" y="2549038"/>
                  <a:pt x="503349" y="2488898"/>
                  <a:pt x="454517" y="2447551"/>
                </a:cubicBezTo>
                <a:cubicBezTo>
                  <a:pt x="375634" y="2432516"/>
                  <a:pt x="323045" y="2424999"/>
                  <a:pt x="262944" y="2413722"/>
                </a:cubicBezTo>
                <a:cubicBezTo>
                  <a:pt x="323045" y="2338547"/>
                  <a:pt x="375634" y="2270889"/>
                  <a:pt x="424466" y="2206990"/>
                </a:cubicBezTo>
                <a:cubicBezTo>
                  <a:pt x="405685" y="2195713"/>
                  <a:pt x="375634" y="2184437"/>
                  <a:pt x="364365" y="2176920"/>
                </a:cubicBezTo>
                <a:cubicBezTo>
                  <a:pt x="338071" y="2184437"/>
                  <a:pt x="315533" y="2195713"/>
                  <a:pt x="300507" y="2191955"/>
                </a:cubicBezTo>
                <a:cubicBezTo>
                  <a:pt x="266700" y="2176920"/>
                  <a:pt x="255431" y="2128055"/>
                  <a:pt x="187817" y="2150608"/>
                </a:cubicBezTo>
                <a:cubicBezTo>
                  <a:pt x="138985" y="2165643"/>
                  <a:pt x="63858" y="2116779"/>
                  <a:pt x="0" y="2097985"/>
                </a:cubicBezTo>
                <a:cubicBezTo>
                  <a:pt x="37564" y="2082950"/>
                  <a:pt x="78883" y="2067915"/>
                  <a:pt x="123959" y="2052880"/>
                </a:cubicBezTo>
                <a:cubicBezTo>
                  <a:pt x="101421" y="2026569"/>
                  <a:pt x="86396" y="2007775"/>
                  <a:pt x="63858" y="1977704"/>
                </a:cubicBezTo>
                <a:cubicBezTo>
                  <a:pt x="101421" y="1981463"/>
                  <a:pt x="127716" y="1985222"/>
                  <a:pt x="176548" y="1988981"/>
                </a:cubicBezTo>
                <a:cubicBezTo>
                  <a:pt x="169035" y="1970187"/>
                  <a:pt x="161523" y="1943875"/>
                  <a:pt x="150254" y="1921323"/>
                </a:cubicBezTo>
                <a:cubicBezTo>
                  <a:pt x="146497" y="1902529"/>
                  <a:pt x="127716" y="1879976"/>
                  <a:pt x="135228" y="1868700"/>
                </a:cubicBezTo>
                <a:cubicBezTo>
                  <a:pt x="146497" y="1853665"/>
                  <a:pt x="176548" y="1831112"/>
                  <a:pt x="187817" y="1834871"/>
                </a:cubicBezTo>
                <a:cubicBezTo>
                  <a:pt x="270457" y="1868700"/>
                  <a:pt x="311776" y="1838630"/>
                  <a:pt x="338071" y="1763454"/>
                </a:cubicBezTo>
                <a:cubicBezTo>
                  <a:pt x="341827" y="1755937"/>
                  <a:pt x="368121" y="1759696"/>
                  <a:pt x="409441" y="1752178"/>
                </a:cubicBezTo>
                <a:cubicBezTo>
                  <a:pt x="304264" y="1725866"/>
                  <a:pt x="225380" y="1699555"/>
                  <a:pt x="142741" y="1677002"/>
                </a:cubicBezTo>
                <a:cubicBezTo>
                  <a:pt x="142741" y="1673244"/>
                  <a:pt x="142741" y="1665726"/>
                  <a:pt x="142741" y="1661967"/>
                </a:cubicBezTo>
                <a:cubicBezTo>
                  <a:pt x="172792" y="1658209"/>
                  <a:pt x="202842" y="1654450"/>
                  <a:pt x="232893" y="1654450"/>
                </a:cubicBezTo>
                <a:cubicBezTo>
                  <a:pt x="225380" y="1635656"/>
                  <a:pt x="221624" y="1616862"/>
                  <a:pt x="210355" y="1590551"/>
                </a:cubicBezTo>
                <a:cubicBezTo>
                  <a:pt x="308020" y="1605586"/>
                  <a:pt x="296751" y="1522893"/>
                  <a:pt x="300507" y="1477787"/>
                </a:cubicBezTo>
                <a:cubicBezTo>
                  <a:pt x="304264" y="1443958"/>
                  <a:pt x="308020" y="1443958"/>
                  <a:pt x="334314" y="1436441"/>
                </a:cubicBezTo>
                <a:cubicBezTo>
                  <a:pt x="364365" y="1421406"/>
                  <a:pt x="394416" y="1391335"/>
                  <a:pt x="424466" y="1387577"/>
                </a:cubicBezTo>
                <a:cubicBezTo>
                  <a:pt x="454517" y="1387577"/>
                  <a:pt x="507106" y="1417647"/>
                  <a:pt x="510862" y="1432682"/>
                </a:cubicBezTo>
                <a:cubicBezTo>
                  <a:pt x="510862" y="1526651"/>
                  <a:pt x="567207" y="1556722"/>
                  <a:pt x="642334" y="1571757"/>
                </a:cubicBezTo>
                <a:cubicBezTo>
                  <a:pt x="657359" y="1575515"/>
                  <a:pt x="683654" y="1590551"/>
                  <a:pt x="687410" y="1601827"/>
                </a:cubicBezTo>
                <a:cubicBezTo>
                  <a:pt x="687410" y="1616862"/>
                  <a:pt x="672385" y="1639415"/>
                  <a:pt x="664872" y="1654450"/>
                </a:cubicBezTo>
                <a:cubicBezTo>
                  <a:pt x="683654" y="1669485"/>
                  <a:pt x="706192" y="1688279"/>
                  <a:pt x="732486" y="1710831"/>
                </a:cubicBezTo>
                <a:cubicBezTo>
                  <a:pt x="724974" y="1714590"/>
                  <a:pt x="721217" y="1722108"/>
                  <a:pt x="713704" y="1729625"/>
                </a:cubicBezTo>
                <a:cubicBezTo>
                  <a:pt x="672385" y="1699555"/>
                  <a:pt x="631065" y="1669485"/>
                  <a:pt x="574720" y="1631897"/>
                </a:cubicBezTo>
                <a:cubicBezTo>
                  <a:pt x="608527" y="1729625"/>
                  <a:pt x="597258" y="1831112"/>
                  <a:pt x="709948" y="1868700"/>
                </a:cubicBezTo>
                <a:cubicBezTo>
                  <a:pt x="728730" y="1823595"/>
                  <a:pt x="743755" y="1778489"/>
                  <a:pt x="758781" y="1733384"/>
                </a:cubicBezTo>
                <a:lnTo>
                  <a:pt x="771001" y="1736102"/>
                </a:lnTo>
                <a:lnTo>
                  <a:pt x="770989" y="1736085"/>
                </a:lnTo>
                <a:cubicBezTo>
                  <a:pt x="751268" y="1708364"/>
                  <a:pt x="732487" y="1680173"/>
                  <a:pt x="717461" y="1650103"/>
                </a:cubicBezTo>
                <a:cubicBezTo>
                  <a:pt x="702435" y="1623791"/>
                  <a:pt x="709948" y="1586204"/>
                  <a:pt x="702435" y="1556133"/>
                </a:cubicBezTo>
                <a:cubicBezTo>
                  <a:pt x="698679" y="1529822"/>
                  <a:pt x="687410" y="1507269"/>
                  <a:pt x="679897" y="1484717"/>
                </a:cubicBezTo>
                <a:cubicBezTo>
                  <a:pt x="668628" y="1488475"/>
                  <a:pt x="661116" y="1488475"/>
                  <a:pt x="649847" y="1492234"/>
                </a:cubicBezTo>
                <a:cubicBezTo>
                  <a:pt x="653603" y="1473440"/>
                  <a:pt x="661116" y="1454646"/>
                  <a:pt x="657359" y="1462164"/>
                </a:cubicBezTo>
                <a:cubicBezTo>
                  <a:pt x="574720" y="1386988"/>
                  <a:pt x="503349" y="1326848"/>
                  <a:pt x="454517" y="1285501"/>
                </a:cubicBezTo>
                <a:cubicBezTo>
                  <a:pt x="375634" y="1270466"/>
                  <a:pt x="323045" y="1262949"/>
                  <a:pt x="262944" y="1251672"/>
                </a:cubicBezTo>
                <a:cubicBezTo>
                  <a:pt x="323045" y="1176497"/>
                  <a:pt x="375634" y="1108839"/>
                  <a:pt x="424466" y="1044940"/>
                </a:cubicBezTo>
                <a:cubicBezTo>
                  <a:pt x="405685" y="1033663"/>
                  <a:pt x="375634" y="1022387"/>
                  <a:pt x="364365" y="1014870"/>
                </a:cubicBezTo>
                <a:cubicBezTo>
                  <a:pt x="338071" y="1022387"/>
                  <a:pt x="315533" y="1033663"/>
                  <a:pt x="300507" y="1029905"/>
                </a:cubicBezTo>
                <a:cubicBezTo>
                  <a:pt x="266700" y="1014870"/>
                  <a:pt x="255431" y="966005"/>
                  <a:pt x="187817" y="988558"/>
                </a:cubicBezTo>
                <a:cubicBezTo>
                  <a:pt x="138985" y="1003593"/>
                  <a:pt x="63858" y="954729"/>
                  <a:pt x="0" y="935935"/>
                </a:cubicBezTo>
                <a:cubicBezTo>
                  <a:pt x="37564" y="920900"/>
                  <a:pt x="78883" y="905865"/>
                  <a:pt x="123959" y="890830"/>
                </a:cubicBezTo>
                <a:cubicBezTo>
                  <a:pt x="101421" y="864519"/>
                  <a:pt x="86396" y="845725"/>
                  <a:pt x="63858" y="815654"/>
                </a:cubicBezTo>
                <a:cubicBezTo>
                  <a:pt x="101421" y="819413"/>
                  <a:pt x="127716" y="823172"/>
                  <a:pt x="176548" y="826931"/>
                </a:cubicBezTo>
                <a:cubicBezTo>
                  <a:pt x="169035" y="808137"/>
                  <a:pt x="161523" y="781825"/>
                  <a:pt x="150254" y="759273"/>
                </a:cubicBezTo>
                <a:cubicBezTo>
                  <a:pt x="146497" y="740479"/>
                  <a:pt x="127716" y="717926"/>
                  <a:pt x="135228" y="706650"/>
                </a:cubicBezTo>
                <a:cubicBezTo>
                  <a:pt x="146497" y="691615"/>
                  <a:pt x="176548" y="669062"/>
                  <a:pt x="187817" y="672821"/>
                </a:cubicBezTo>
                <a:cubicBezTo>
                  <a:pt x="270457" y="706650"/>
                  <a:pt x="311776" y="676580"/>
                  <a:pt x="338071" y="601404"/>
                </a:cubicBezTo>
                <a:cubicBezTo>
                  <a:pt x="341827" y="593887"/>
                  <a:pt x="368121" y="597646"/>
                  <a:pt x="409441" y="590128"/>
                </a:cubicBezTo>
                <a:cubicBezTo>
                  <a:pt x="304264" y="563816"/>
                  <a:pt x="225380" y="537505"/>
                  <a:pt x="142741" y="514952"/>
                </a:cubicBezTo>
                <a:cubicBezTo>
                  <a:pt x="142741" y="511194"/>
                  <a:pt x="142741" y="503676"/>
                  <a:pt x="142741" y="499917"/>
                </a:cubicBezTo>
                <a:cubicBezTo>
                  <a:pt x="172792" y="496159"/>
                  <a:pt x="202842" y="492400"/>
                  <a:pt x="232893" y="492400"/>
                </a:cubicBezTo>
                <a:cubicBezTo>
                  <a:pt x="225380" y="473606"/>
                  <a:pt x="221624" y="454812"/>
                  <a:pt x="210355" y="428501"/>
                </a:cubicBezTo>
                <a:cubicBezTo>
                  <a:pt x="308020" y="443536"/>
                  <a:pt x="296751" y="360843"/>
                  <a:pt x="300507" y="315737"/>
                </a:cubicBezTo>
                <a:cubicBezTo>
                  <a:pt x="304264" y="281908"/>
                  <a:pt x="308020" y="281908"/>
                  <a:pt x="334314" y="274391"/>
                </a:cubicBezTo>
                <a:cubicBezTo>
                  <a:pt x="364365" y="259356"/>
                  <a:pt x="394416" y="229285"/>
                  <a:pt x="424466" y="225527"/>
                </a:cubicBezTo>
                <a:cubicBezTo>
                  <a:pt x="454517" y="225527"/>
                  <a:pt x="507106" y="255597"/>
                  <a:pt x="510862" y="270632"/>
                </a:cubicBezTo>
                <a:cubicBezTo>
                  <a:pt x="510862" y="364601"/>
                  <a:pt x="567207" y="394672"/>
                  <a:pt x="642334" y="409707"/>
                </a:cubicBezTo>
                <a:cubicBezTo>
                  <a:pt x="657359" y="413465"/>
                  <a:pt x="683654" y="428501"/>
                  <a:pt x="687410" y="439777"/>
                </a:cubicBezTo>
                <a:cubicBezTo>
                  <a:pt x="687410" y="454812"/>
                  <a:pt x="672385" y="477365"/>
                  <a:pt x="664872" y="492400"/>
                </a:cubicBezTo>
                <a:cubicBezTo>
                  <a:pt x="683654" y="507435"/>
                  <a:pt x="706192" y="526229"/>
                  <a:pt x="732486" y="548781"/>
                </a:cubicBezTo>
                <a:cubicBezTo>
                  <a:pt x="724974" y="552540"/>
                  <a:pt x="721217" y="560058"/>
                  <a:pt x="713704" y="567575"/>
                </a:cubicBezTo>
                <a:cubicBezTo>
                  <a:pt x="672385" y="537505"/>
                  <a:pt x="631065" y="507435"/>
                  <a:pt x="574720" y="469847"/>
                </a:cubicBezTo>
                <a:cubicBezTo>
                  <a:pt x="608527" y="567575"/>
                  <a:pt x="597258" y="669062"/>
                  <a:pt x="709948" y="706650"/>
                </a:cubicBezTo>
                <a:cubicBezTo>
                  <a:pt x="728730" y="661545"/>
                  <a:pt x="743755" y="616439"/>
                  <a:pt x="758781" y="571334"/>
                </a:cubicBezTo>
                <a:cubicBezTo>
                  <a:pt x="773806" y="575093"/>
                  <a:pt x="796344" y="578852"/>
                  <a:pt x="837664" y="590128"/>
                </a:cubicBezTo>
                <a:cubicBezTo>
                  <a:pt x="848933" y="586369"/>
                  <a:pt x="875227" y="575093"/>
                  <a:pt x="905278" y="563816"/>
                </a:cubicBezTo>
                <a:cubicBezTo>
                  <a:pt x="909034" y="571334"/>
                  <a:pt x="912790" y="578852"/>
                  <a:pt x="920303" y="582610"/>
                </a:cubicBezTo>
                <a:cubicBezTo>
                  <a:pt x="924059" y="560058"/>
                  <a:pt x="931572" y="533746"/>
                  <a:pt x="935328" y="507435"/>
                </a:cubicBezTo>
                <a:cubicBezTo>
                  <a:pt x="916547" y="507435"/>
                  <a:pt x="894009" y="507435"/>
                  <a:pt x="871471" y="507435"/>
                </a:cubicBezTo>
                <a:cubicBezTo>
                  <a:pt x="867714" y="499917"/>
                  <a:pt x="863958" y="496159"/>
                  <a:pt x="860202" y="488641"/>
                </a:cubicBezTo>
                <a:cubicBezTo>
                  <a:pt x="875227" y="484882"/>
                  <a:pt x="890252" y="481123"/>
                  <a:pt x="901521" y="477365"/>
                </a:cubicBezTo>
                <a:cubicBezTo>
                  <a:pt x="867714" y="451053"/>
                  <a:pt x="841420" y="428501"/>
                  <a:pt x="815126" y="409707"/>
                </a:cubicBezTo>
                <a:cubicBezTo>
                  <a:pt x="818882" y="398430"/>
                  <a:pt x="822638" y="390913"/>
                  <a:pt x="826395" y="383395"/>
                </a:cubicBezTo>
                <a:cubicBezTo>
                  <a:pt x="886496" y="409707"/>
                  <a:pt x="942841" y="436018"/>
                  <a:pt x="1006699" y="462330"/>
                </a:cubicBezTo>
                <a:cubicBezTo>
                  <a:pt x="1006699" y="443536"/>
                  <a:pt x="1002942" y="424742"/>
                  <a:pt x="999186" y="402189"/>
                </a:cubicBezTo>
                <a:cubicBezTo>
                  <a:pt x="1104364" y="409707"/>
                  <a:pt x="1108120" y="345807"/>
                  <a:pt x="1089338" y="251838"/>
                </a:cubicBezTo>
                <a:cubicBezTo>
                  <a:pt x="1145683" y="304461"/>
                  <a:pt x="1175734" y="390913"/>
                  <a:pt x="1258373" y="334531"/>
                </a:cubicBezTo>
                <a:cubicBezTo>
                  <a:pt x="1284668" y="368360"/>
                  <a:pt x="1310962" y="402189"/>
                  <a:pt x="1341013" y="432259"/>
                </a:cubicBezTo>
                <a:cubicBezTo>
                  <a:pt x="1344769" y="439777"/>
                  <a:pt x="1378576" y="432259"/>
                  <a:pt x="1386089" y="420983"/>
                </a:cubicBezTo>
                <a:cubicBezTo>
                  <a:pt x="1393602" y="413465"/>
                  <a:pt x="1389845" y="390913"/>
                  <a:pt x="1386089" y="372119"/>
                </a:cubicBezTo>
                <a:cubicBezTo>
                  <a:pt x="1386089" y="364601"/>
                  <a:pt x="1382333" y="353325"/>
                  <a:pt x="1374820" y="334531"/>
                </a:cubicBezTo>
                <a:cubicBezTo>
                  <a:pt x="1371064" y="334531"/>
                  <a:pt x="1348526" y="330772"/>
                  <a:pt x="1322231" y="330772"/>
                </a:cubicBezTo>
                <a:cubicBezTo>
                  <a:pt x="1322231" y="323255"/>
                  <a:pt x="1322231" y="319496"/>
                  <a:pt x="1322231" y="311979"/>
                </a:cubicBezTo>
                <a:cubicBezTo>
                  <a:pt x="1341013" y="311979"/>
                  <a:pt x="1359795" y="308220"/>
                  <a:pt x="1389845" y="308220"/>
                </a:cubicBezTo>
                <a:cubicBezTo>
                  <a:pt x="1367307" y="289426"/>
                  <a:pt x="1352282" y="274391"/>
                  <a:pt x="1333500" y="255597"/>
                </a:cubicBezTo>
                <a:cubicBezTo>
                  <a:pt x="1344769" y="236803"/>
                  <a:pt x="1352282" y="210492"/>
                  <a:pt x="1367307" y="199215"/>
                </a:cubicBezTo>
                <a:cubicBezTo>
                  <a:pt x="1427409" y="142834"/>
                  <a:pt x="1453703" y="78934"/>
                  <a:pt x="1442434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4090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2" y="2"/>
            <a:ext cx="12356823" cy="4722863"/>
          </a:xfrm>
          <a:custGeom>
            <a:avLst/>
            <a:gdLst>
              <a:gd name="connsiteX0" fmla="*/ 10742574 w 12356823"/>
              <a:gd name="connsiteY0" fmla="*/ 1497163 h 4722863"/>
              <a:gd name="connsiteX1" fmla="*/ 10749584 w 12356823"/>
              <a:gd name="connsiteY1" fmla="*/ 1497163 h 4722863"/>
              <a:gd name="connsiteX2" fmla="*/ 10774118 w 12356823"/>
              <a:gd name="connsiteY2" fmla="*/ 1503116 h 4722863"/>
              <a:gd name="connsiteX3" fmla="*/ 10784633 w 12356823"/>
              <a:gd name="connsiteY3" fmla="*/ 1509071 h 4722863"/>
              <a:gd name="connsiteX4" fmla="*/ 10788138 w 12356823"/>
              <a:gd name="connsiteY4" fmla="*/ 1509071 h 4722863"/>
              <a:gd name="connsiteX5" fmla="*/ 10788138 w 12356823"/>
              <a:gd name="connsiteY5" fmla="*/ 1512048 h 4722863"/>
              <a:gd name="connsiteX6" fmla="*/ 10784633 w 12356823"/>
              <a:gd name="connsiteY6" fmla="*/ 1515024 h 4722863"/>
              <a:gd name="connsiteX7" fmla="*/ 10774118 w 12356823"/>
              <a:gd name="connsiteY7" fmla="*/ 1515024 h 4722863"/>
              <a:gd name="connsiteX8" fmla="*/ 10746079 w 12356823"/>
              <a:gd name="connsiteY8" fmla="*/ 1512048 h 4722863"/>
              <a:gd name="connsiteX9" fmla="*/ 10742574 w 12356823"/>
              <a:gd name="connsiteY9" fmla="*/ 1506094 h 4722863"/>
              <a:gd name="connsiteX10" fmla="*/ 10742574 w 12356823"/>
              <a:gd name="connsiteY10" fmla="*/ 1500141 h 4722863"/>
              <a:gd name="connsiteX11" fmla="*/ 10742574 w 12356823"/>
              <a:gd name="connsiteY11" fmla="*/ 1497163 h 4722863"/>
              <a:gd name="connsiteX12" fmla="*/ 10951795 w 12356823"/>
              <a:gd name="connsiteY12" fmla="*/ 1460091 h 4722863"/>
              <a:gd name="connsiteX13" fmla="*/ 10980311 w 12356823"/>
              <a:gd name="connsiteY13" fmla="*/ 1463180 h 4722863"/>
              <a:gd name="connsiteX14" fmla="*/ 11005263 w 12356823"/>
              <a:gd name="connsiteY14" fmla="*/ 1472453 h 4722863"/>
              <a:gd name="connsiteX15" fmla="*/ 11012391 w 12356823"/>
              <a:gd name="connsiteY15" fmla="*/ 1478634 h 4722863"/>
              <a:gd name="connsiteX16" fmla="*/ 11015956 w 12356823"/>
              <a:gd name="connsiteY16" fmla="*/ 1481724 h 4722863"/>
              <a:gd name="connsiteX17" fmla="*/ 11012391 w 12356823"/>
              <a:gd name="connsiteY17" fmla="*/ 1484816 h 4722863"/>
              <a:gd name="connsiteX18" fmla="*/ 11005263 w 12356823"/>
              <a:gd name="connsiteY18" fmla="*/ 1484816 h 4722863"/>
              <a:gd name="connsiteX19" fmla="*/ 10983876 w 12356823"/>
              <a:gd name="connsiteY19" fmla="*/ 1487906 h 4722863"/>
              <a:gd name="connsiteX20" fmla="*/ 10866247 w 12356823"/>
              <a:gd name="connsiteY20" fmla="*/ 1512631 h 4722863"/>
              <a:gd name="connsiteX21" fmla="*/ 10869811 w 12356823"/>
              <a:gd name="connsiteY21" fmla="*/ 1506450 h 4722863"/>
              <a:gd name="connsiteX22" fmla="*/ 10866247 w 12356823"/>
              <a:gd name="connsiteY22" fmla="*/ 1497178 h 4722863"/>
              <a:gd name="connsiteX23" fmla="*/ 10866247 w 12356823"/>
              <a:gd name="connsiteY23" fmla="*/ 1490997 h 4722863"/>
              <a:gd name="connsiteX24" fmla="*/ 10866247 w 12356823"/>
              <a:gd name="connsiteY24" fmla="*/ 1487906 h 4722863"/>
              <a:gd name="connsiteX25" fmla="*/ 10876940 w 12356823"/>
              <a:gd name="connsiteY25" fmla="*/ 1478634 h 4722863"/>
              <a:gd name="connsiteX26" fmla="*/ 10891199 w 12356823"/>
              <a:gd name="connsiteY26" fmla="*/ 1475543 h 4722863"/>
              <a:gd name="connsiteX27" fmla="*/ 10951795 w 12356823"/>
              <a:gd name="connsiteY27" fmla="*/ 1460091 h 4722863"/>
              <a:gd name="connsiteX28" fmla="*/ 225646 w 12356823"/>
              <a:gd name="connsiteY28" fmla="*/ 1240356 h 4722863"/>
              <a:gd name="connsiteX29" fmla="*/ 229263 w 12356823"/>
              <a:gd name="connsiteY29" fmla="*/ 1240356 h 4722863"/>
              <a:gd name="connsiteX30" fmla="*/ 236494 w 12356823"/>
              <a:gd name="connsiteY30" fmla="*/ 1249498 h 4722863"/>
              <a:gd name="connsiteX31" fmla="*/ 265424 w 12356823"/>
              <a:gd name="connsiteY31" fmla="*/ 1286065 h 4722863"/>
              <a:gd name="connsiteX32" fmla="*/ 269040 w 12356823"/>
              <a:gd name="connsiteY32" fmla="*/ 1301302 h 4722863"/>
              <a:gd name="connsiteX33" fmla="*/ 269040 w 12356823"/>
              <a:gd name="connsiteY33" fmla="*/ 1307397 h 4722863"/>
              <a:gd name="connsiteX34" fmla="*/ 269040 w 12356823"/>
              <a:gd name="connsiteY34" fmla="*/ 1310444 h 4722863"/>
              <a:gd name="connsiteX35" fmla="*/ 261807 w 12356823"/>
              <a:gd name="connsiteY35" fmla="*/ 1307397 h 4722863"/>
              <a:gd name="connsiteX36" fmla="*/ 236494 w 12356823"/>
              <a:gd name="connsiteY36" fmla="*/ 1267782 h 4722863"/>
              <a:gd name="connsiteX37" fmla="*/ 229263 w 12356823"/>
              <a:gd name="connsiteY37" fmla="*/ 1246450 h 4722863"/>
              <a:gd name="connsiteX38" fmla="*/ 225646 w 12356823"/>
              <a:gd name="connsiteY38" fmla="*/ 1243404 h 4722863"/>
              <a:gd name="connsiteX39" fmla="*/ 225646 w 12356823"/>
              <a:gd name="connsiteY39" fmla="*/ 1240356 h 4722863"/>
              <a:gd name="connsiteX40" fmla="*/ 10848 w 12356823"/>
              <a:gd name="connsiteY40" fmla="*/ 978949 h 4722863"/>
              <a:gd name="connsiteX41" fmla="*/ 14374 w 12356823"/>
              <a:gd name="connsiteY41" fmla="*/ 978949 h 4722863"/>
              <a:gd name="connsiteX42" fmla="*/ 17899 w 12356823"/>
              <a:gd name="connsiteY42" fmla="*/ 978949 h 4722863"/>
              <a:gd name="connsiteX43" fmla="*/ 21425 w 12356823"/>
              <a:gd name="connsiteY43" fmla="*/ 988265 h 4722863"/>
              <a:gd name="connsiteX44" fmla="*/ 42579 w 12356823"/>
              <a:gd name="connsiteY44" fmla="*/ 1016213 h 4722863"/>
              <a:gd name="connsiteX45" fmla="*/ 151878 w 12356823"/>
              <a:gd name="connsiteY45" fmla="*/ 1137321 h 4722863"/>
              <a:gd name="connsiteX46" fmla="*/ 148352 w 12356823"/>
              <a:gd name="connsiteY46" fmla="*/ 1140427 h 4722863"/>
              <a:gd name="connsiteX47" fmla="*/ 151878 w 12356823"/>
              <a:gd name="connsiteY47" fmla="*/ 1159059 h 4722863"/>
              <a:gd name="connsiteX48" fmla="*/ 151878 w 12356823"/>
              <a:gd name="connsiteY48" fmla="*/ 1165270 h 4722863"/>
              <a:gd name="connsiteX49" fmla="*/ 148352 w 12356823"/>
              <a:gd name="connsiteY49" fmla="*/ 1168375 h 4722863"/>
              <a:gd name="connsiteX50" fmla="*/ 141301 w 12356823"/>
              <a:gd name="connsiteY50" fmla="*/ 1165270 h 4722863"/>
              <a:gd name="connsiteX51" fmla="*/ 127198 w 12356823"/>
              <a:gd name="connsiteY51" fmla="*/ 1152848 h 4722863"/>
              <a:gd name="connsiteX52" fmla="*/ 70786 w 12356823"/>
              <a:gd name="connsiteY52" fmla="*/ 1087636 h 4722863"/>
              <a:gd name="connsiteX53" fmla="*/ 46106 w 12356823"/>
              <a:gd name="connsiteY53" fmla="*/ 1050371 h 4722863"/>
              <a:gd name="connsiteX54" fmla="*/ 21425 w 12356823"/>
              <a:gd name="connsiteY54" fmla="*/ 1000687 h 4722863"/>
              <a:gd name="connsiteX55" fmla="*/ 14374 w 12356823"/>
              <a:gd name="connsiteY55" fmla="*/ 982054 h 4722863"/>
              <a:gd name="connsiteX56" fmla="*/ 10848 w 12356823"/>
              <a:gd name="connsiteY56" fmla="*/ 978949 h 4722863"/>
              <a:gd name="connsiteX57" fmla="*/ 8697751 w 12356823"/>
              <a:gd name="connsiteY57" fmla="*/ 863228 h 4722863"/>
              <a:gd name="connsiteX58" fmla="*/ 8630343 w 12356823"/>
              <a:gd name="connsiteY58" fmla="*/ 865011 h 4722863"/>
              <a:gd name="connsiteX59" fmla="*/ 8594872 w 12356823"/>
              <a:gd name="connsiteY59" fmla="*/ 868108 h 4722863"/>
              <a:gd name="connsiteX60" fmla="*/ 8584229 w 12356823"/>
              <a:gd name="connsiteY60" fmla="*/ 868108 h 4722863"/>
              <a:gd name="connsiteX61" fmla="*/ 8580683 w 12356823"/>
              <a:gd name="connsiteY61" fmla="*/ 871205 h 4722863"/>
              <a:gd name="connsiteX62" fmla="*/ 8580240 w 12356823"/>
              <a:gd name="connsiteY62" fmla="*/ 890952 h 4722863"/>
              <a:gd name="connsiteX63" fmla="*/ 8579818 w 12356823"/>
              <a:gd name="connsiteY63" fmla="*/ 893321 h 4722863"/>
              <a:gd name="connsiteX64" fmla="*/ 9084385 w 12356823"/>
              <a:gd name="connsiteY64" fmla="*/ 626508 h 4722863"/>
              <a:gd name="connsiteX65" fmla="*/ 9080838 w 12356823"/>
              <a:gd name="connsiteY65" fmla="*/ 629606 h 4722863"/>
              <a:gd name="connsiteX66" fmla="*/ 9077292 w 12356823"/>
              <a:gd name="connsiteY66" fmla="*/ 629606 h 4722863"/>
              <a:gd name="connsiteX67" fmla="*/ 9063102 w 12356823"/>
              <a:gd name="connsiteY67" fmla="*/ 660580 h 4722863"/>
              <a:gd name="connsiteX68" fmla="*/ 9063102 w 12356823"/>
              <a:gd name="connsiteY68" fmla="*/ 663677 h 4722863"/>
              <a:gd name="connsiteX69" fmla="*/ 9073744 w 12356823"/>
              <a:gd name="connsiteY69" fmla="*/ 663677 h 4722863"/>
              <a:gd name="connsiteX70" fmla="*/ 9112764 w 12356823"/>
              <a:gd name="connsiteY70" fmla="*/ 666775 h 4722863"/>
              <a:gd name="connsiteX71" fmla="*/ 9220878 w 12356823"/>
              <a:gd name="connsiteY71" fmla="*/ 687437 h 4722863"/>
              <a:gd name="connsiteX72" fmla="*/ 9283231 w 12356823"/>
              <a:gd name="connsiteY72" fmla="*/ 662690 h 4722863"/>
              <a:gd name="connsiteX73" fmla="*/ 9162424 w 12356823"/>
              <a:gd name="connsiteY73" fmla="*/ 635800 h 4722863"/>
              <a:gd name="connsiteX74" fmla="*/ 9102121 w 12356823"/>
              <a:gd name="connsiteY74" fmla="*/ 626508 h 4722863"/>
              <a:gd name="connsiteX75" fmla="*/ 9084385 w 12356823"/>
              <a:gd name="connsiteY75" fmla="*/ 626508 h 4722863"/>
              <a:gd name="connsiteX76" fmla="*/ 12143987 w 12356823"/>
              <a:gd name="connsiteY76" fmla="*/ 571686 h 4722863"/>
              <a:gd name="connsiteX77" fmla="*/ 12154629 w 12356823"/>
              <a:gd name="connsiteY77" fmla="*/ 571686 h 4722863"/>
              <a:gd name="connsiteX78" fmla="*/ 12172365 w 12356823"/>
              <a:gd name="connsiteY78" fmla="*/ 574758 h 4722863"/>
              <a:gd name="connsiteX79" fmla="*/ 12197195 w 12356823"/>
              <a:gd name="connsiteY79" fmla="*/ 587049 h 4722863"/>
              <a:gd name="connsiteX80" fmla="*/ 12292972 w 12356823"/>
              <a:gd name="connsiteY80" fmla="*/ 636216 h 4722863"/>
              <a:gd name="connsiteX81" fmla="*/ 12324897 w 12356823"/>
              <a:gd name="connsiteY81" fmla="*/ 663873 h 4722863"/>
              <a:gd name="connsiteX82" fmla="*/ 12349728 w 12356823"/>
              <a:gd name="connsiteY82" fmla="*/ 694602 h 4722863"/>
              <a:gd name="connsiteX83" fmla="*/ 12356823 w 12356823"/>
              <a:gd name="connsiteY83" fmla="*/ 706894 h 4722863"/>
              <a:gd name="connsiteX84" fmla="*/ 12353276 w 12356823"/>
              <a:gd name="connsiteY84" fmla="*/ 709967 h 4722863"/>
              <a:gd name="connsiteX85" fmla="*/ 12353276 w 12356823"/>
              <a:gd name="connsiteY85" fmla="*/ 706894 h 4722863"/>
              <a:gd name="connsiteX86" fmla="*/ 12349728 w 12356823"/>
              <a:gd name="connsiteY86" fmla="*/ 709967 h 4722863"/>
              <a:gd name="connsiteX87" fmla="*/ 12346182 w 12356823"/>
              <a:gd name="connsiteY87" fmla="*/ 706894 h 4722863"/>
              <a:gd name="connsiteX88" fmla="*/ 12335540 w 12356823"/>
              <a:gd name="connsiteY88" fmla="*/ 700748 h 4722863"/>
              <a:gd name="connsiteX89" fmla="*/ 12310708 w 12356823"/>
              <a:gd name="connsiteY89" fmla="*/ 679237 h 4722863"/>
              <a:gd name="connsiteX90" fmla="*/ 12133344 w 12356823"/>
              <a:gd name="connsiteY90" fmla="*/ 587049 h 4722863"/>
              <a:gd name="connsiteX91" fmla="*/ 12140439 w 12356823"/>
              <a:gd name="connsiteY91" fmla="*/ 587049 h 4722863"/>
              <a:gd name="connsiteX92" fmla="*/ 12140439 w 12356823"/>
              <a:gd name="connsiteY92" fmla="*/ 574758 h 4722863"/>
              <a:gd name="connsiteX93" fmla="*/ 12143987 w 12356823"/>
              <a:gd name="connsiteY93" fmla="*/ 571686 h 4722863"/>
              <a:gd name="connsiteX94" fmla="*/ 11958742 w 12356823"/>
              <a:gd name="connsiteY94" fmla="*/ 461819 h 4722863"/>
              <a:gd name="connsiteX95" fmla="*/ 11965821 w 12356823"/>
              <a:gd name="connsiteY95" fmla="*/ 464897 h 4722863"/>
              <a:gd name="connsiteX96" fmla="*/ 12001222 w 12356823"/>
              <a:gd name="connsiteY96" fmla="*/ 492600 h 4722863"/>
              <a:gd name="connsiteX97" fmla="*/ 12008302 w 12356823"/>
              <a:gd name="connsiteY97" fmla="*/ 504913 h 4722863"/>
              <a:gd name="connsiteX98" fmla="*/ 12008302 w 12356823"/>
              <a:gd name="connsiteY98" fmla="*/ 511069 h 4722863"/>
              <a:gd name="connsiteX99" fmla="*/ 12004762 w 12356823"/>
              <a:gd name="connsiteY99" fmla="*/ 511069 h 4722863"/>
              <a:gd name="connsiteX100" fmla="*/ 12001222 w 12356823"/>
              <a:gd name="connsiteY100" fmla="*/ 511069 h 4722863"/>
              <a:gd name="connsiteX101" fmla="*/ 11990602 w 12356823"/>
              <a:gd name="connsiteY101" fmla="*/ 501835 h 4722863"/>
              <a:gd name="connsiteX102" fmla="*/ 11948121 w 12356823"/>
              <a:gd name="connsiteY102" fmla="*/ 477209 h 4722863"/>
              <a:gd name="connsiteX103" fmla="*/ 11948121 w 12356823"/>
              <a:gd name="connsiteY103" fmla="*/ 467974 h 4722863"/>
              <a:gd name="connsiteX104" fmla="*/ 11951662 w 12356823"/>
              <a:gd name="connsiteY104" fmla="*/ 464897 h 4722863"/>
              <a:gd name="connsiteX105" fmla="*/ 11955202 w 12356823"/>
              <a:gd name="connsiteY105" fmla="*/ 464897 h 4722863"/>
              <a:gd name="connsiteX106" fmla="*/ 11958742 w 12356823"/>
              <a:gd name="connsiteY106" fmla="*/ 461819 h 4722863"/>
              <a:gd name="connsiteX107" fmla="*/ 9291742 w 12356823"/>
              <a:gd name="connsiteY107" fmla="*/ 461819 h 4722863"/>
              <a:gd name="connsiteX108" fmla="*/ 9298821 w 12356823"/>
              <a:gd name="connsiteY108" fmla="*/ 464897 h 4722863"/>
              <a:gd name="connsiteX109" fmla="*/ 9334222 w 12356823"/>
              <a:gd name="connsiteY109" fmla="*/ 492600 h 4722863"/>
              <a:gd name="connsiteX110" fmla="*/ 9341302 w 12356823"/>
              <a:gd name="connsiteY110" fmla="*/ 504913 h 4722863"/>
              <a:gd name="connsiteX111" fmla="*/ 9341302 w 12356823"/>
              <a:gd name="connsiteY111" fmla="*/ 511069 h 4722863"/>
              <a:gd name="connsiteX112" fmla="*/ 9337762 w 12356823"/>
              <a:gd name="connsiteY112" fmla="*/ 511069 h 4722863"/>
              <a:gd name="connsiteX113" fmla="*/ 9334222 w 12356823"/>
              <a:gd name="connsiteY113" fmla="*/ 511069 h 4722863"/>
              <a:gd name="connsiteX114" fmla="*/ 9323602 w 12356823"/>
              <a:gd name="connsiteY114" fmla="*/ 501835 h 4722863"/>
              <a:gd name="connsiteX115" fmla="*/ 9281121 w 12356823"/>
              <a:gd name="connsiteY115" fmla="*/ 477209 h 4722863"/>
              <a:gd name="connsiteX116" fmla="*/ 9281121 w 12356823"/>
              <a:gd name="connsiteY116" fmla="*/ 467974 h 4722863"/>
              <a:gd name="connsiteX117" fmla="*/ 9284662 w 12356823"/>
              <a:gd name="connsiteY117" fmla="*/ 464897 h 4722863"/>
              <a:gd name="connsiteX118" fmla="*/ 9288202 w 12356823"/>
              <a:gd name="connsiteY118" fmla="*/ 464897 h 4722863"/>
              <a:gd name="connsiteX119" fmla="*/ 9291742 w 12356823"/>
              <a:gd name="connsiteY119" fmla="*/ 461819 h 4722863"/>
              <a:gd name="connsiteX120" fmla="*/ 7864147 w 12356823"/>
              <a:gd name="connsiteY120" fmla="*/ 824 h 4722863"/>
              <a:gd name="connsiteX121" fmla="*/ 7867695 w 12356823"/>
              <a:gd name="connsiteY121" fmla="*/ 25603 h 4722863"/>
              <a:gd name="connsiteX122" fmla="*/ 7867695 w 12356823"/>
              <a:gd name="connsiteY122" fmla="*/ 31799 h 4722863"/>
              <a:gd name="connsiteX123" fmla="*/ 7860601 w 12356823"/>
              <a:gd name="connsiteY123" fmla="*/ 37994 h 4722863"/>
              <a:gd name="connsiteX124" fmla="*/ 7835770 w 12356823"/>
              <a:gd name="connsiteY124" fmla="*/ 56578 h 4722863"/>
              <a:gd name="connsiteX125" fmla="*/ 7754184 w 12356823"/>
              <a:gd name="connsiteY125" fmla="*/ 127819 h 4722863"/>
              <a:gd name="connsiteX126" fmla="*/ 7516521 w 12356823"/>
              <a:gd name="connsiteY126" fmla="*/ 335348 h 4722863"/>
              <a:gd name="connsiteX127" fmla="*/ 7275311 w 12356823"/>
              <a:gd name="connsiteY127" fmla="*/ 549072 h 4722863"/>
              <a:gd name="connsiteX128" fmla="*/ 7282405 w 12356823"/>
              <a:gd name="connsiteY128" fmla="*/ 545975 h 4722863"/>
              <a:gd name="connsiteX129" fmla="*/ 7303690 w 12356823"/>
              <a:gd name="connsiteY129" fmla="*/ 533584 h 4722863"/>
              <a:gd name="connsiteX130" fmla="*/ 7761279 w 12356823"/>
              <a:gd name="connsiteY130" fmla="*/ 171183 h 4722863"/>
              <a:gd name="connsiteX131" fmla="*/ 7920902 w 12356823"/>
              <a:gd name="connsiteY131" fmla="*/ 50383 h 4722863"/>
              <a:gd name="connsiteX132" fmla="*/ 7949281 w 12356823"/>
              <a:gd name="connsiteY132" fmla="*/ 31799 h 4722863"/>
              <a:gd name="connsiteX133" fmla="*/ 7970564 w 12356823"/>
              <a:gd name="connsiteY133" fmla="*/ 22506 h 4722863"/>
              <a:gd name="connsiteX134" fmla="*/ 7991847 w 12356823"/>
              <a:gd name="connsiteY134" fmla="*/ 25603 h 4722863"/>
              <a:gd name="connsiteX135" fmla="*/ 8009583 w 12356823"/>
              <a:gd name="connsiteY135" fmla="*/ 41090 h 4722863"/>
              <a:gd name="connsiteX136" fmla="*/ 8006036 w 12356823"/>
              <a:gd name="connsiteY136" fmla="*/ 53481 h 4722863"/>
              <a:gd name="connsiteX137" fmla="*/ 7998941 w 12356823"/>
              <a:gd name="connsiteY137" fmla="*/ 62772 h 4722863"/>
              <a:gd name="connsiteX138" fmla="*/ 7963469 w 12356823"/>
              <a:gd name="connsiteY138" fmla="*/ 99942 h 4722863"/>
              <a:gd name="connsiteX139" fmla="*/ 7857053 w 12356823"/>
              <a:gd name="connsiteY139" fmla="*/ 183573 h 4722863"/>
              <a:gd name="connsiteX140" fmla="*/ 7818033 w 12356823"/>
              <a:gd name="connsiteY140" fmla="*/ 214548 h 4722863"/>
              <a:gd name="connsiteX141" fmla="*/ 7818033 w 12356823"/>
              <a:gd name="connsiteY141" fmla="*/ 217645 h 4722863"/>
              <a:gd name="connsiteX142" fmla="*/ 7825129 w 12356823"/>
              <a:gd name="connsiteY142" fmla="*/ 223841 h 4722863"/>
              <a:gd name="connsiteX143" fmla="*/ 7828675 w 12356823"/>
              <a:gd name="connsiteY143" fmla="*/ 220743 h 4722863"/>
              <a:gd name="connsiteX144" fmla="*/ 7857053 w 12356823"/>
              <a:gd name="connsiteY144" fmla="*/ 205256 h 4722863"/>
              <a:gd name="connsiteX145" fmla="*/ 7867695 w 12356823"/>
              <a:gd name="connsiteY145" fmla="*/ 202159 h 4722863"/>
              <a:gd name="connsiteX146" fmla="*/ 7871242 w 12356823"/>
              <a:gd name="connsiteY146" fmla="*/ 205256 h 4722863"/>
              <a:gd name="connsiteX147" fmla="*/ 7867695 w 12356823"/>
              <a:gd name="connsiteY147" fmla="*/ 214548 h 4722863"/>
              <a:gd name="connsiteX148" fmla="*/ 7860601 w 12356823"/>
              <a:gd name="connsiteY148" fmla="*/ 230035 h 4722863"/>
              <a:gd name="connsiteX149" fmla="*/ 7786109 w 12356823"/>
              <a:gd name="connsiteY149" fmla="*/ 307471 h 4722863"/>
              <a:gd name="connsiteX150" fmla="*/ 7768373 w 12356823"/>
              <a:gd name="connsiteY150" fmla="*/ 322959 h 4722863"/>
              <a:gd name="connsiteX151" fmla="*/ 7700976 w 12356823"/>
              <a:gd name="connsiteY151" fmla="*/ 400395 h 4722863"/>
              <a:gd name="connsiteX152" fmla="*/ 7576825 w 12356823"/>
              <a:gd name="connsiteY152" fmla="*/ 539780 h 4722863"/>
              <a:gd name="connsiteX153" fmla="*/ 7803845 w 12356823"/>
              <a:gd name="connsiteY153" fmla="*/ 338446 h 4722863"/>
              <a:gd name="connsiteX154" fmla="*/ 7864147 w 12356823"/>
              <a:gd name="connsiteY154" fmla="*/ 279594 h 4722863"/>
              <a:gd name="connsiteX155" fmla="*/ 7874789 w 12356823"/>
              <a:gd name="connsiteY155" fmla="*/ 270301 h 4722863"/>
              <a:gd name="connsiteX156" fmla="*/ 7885431 w 12356823"/>
              <a:gd name="connsiteY156" fmla="*/ 270301 h 4722863"/>
              <a:gd name="connsiteX157" fmla="*/ 7896073 w 12356823"/>
              <a:gd name="connsiteY157" fmla="*/ 279594 h 4722863"/>
              <a:gd name="connsiteX158" fmla="*/ 7910261 w 12356823"/>
              <a:gd name="connsiteY158" fmla="*/ 298179 h 4722863"/>
              <a:gd name="connsiteX159" fmla="*/ 7910261 w 12356823"/>
              <a:gd name="connsiteY159" fmla="*/ 307471 h 4722863"/>
              <a:gd name="connsiteX160" fmla="*/ 7906714 w 12356823"/>
              <a:gd name="connsiteY160" fmla="*/ 316764 h 4722863"/>
              <a:gd name="connsiteX161" fmla="*/ 7896073 w 12356823"/>
              <a:gd name="connsiteY161" fmla="*/ 335348 h 4722863"/>
              <a:gd name="connsiteX162" fmla="*/ 7860601 w 12356823"/>
              <a:gd name="connsiteY162" fmla="*/ 378712 h 4722863"/>
              <a:gd name="connsiteX163" fmla="*/ 7832223 w 12356823"/>
              <a:gd name="connsiteY163" fmla="*/ 406590 h 4722863"/>
              <a:gd name="connsiteX164" fmla="*/ 7828675 w 12356823"/>
              <a:gd name="connsiteY164" fmla="*/ 406590 h 4722863"/>
              <a:gd name="connsiteX165" fmla="*/ 7828675 w 12356823"/>
              <a:gd name="connsiteY165" fmla="*/ 409686 h 4722863"/>
              <a:gd name="connsiteX166" fmla="*/ 7832223 w 12356823"/>
              <a:gd name="connsiteY166" fmla="*/ 409686 h 4722863"/>
              <a:gd name="connsiteX167" fmla="*/ 7853506 w 12356823"/>
              <a:gd name="connsiteY167" fmla="*/ 403492 h 4722863"/>
              <a:gd name="connsiteX168" fmla="*/ 7864147 w 12356823"/>
              <a:gd name="connsiteY168" fmla="*/ 397297 h 4722863"/>
              <a:gd name="connsiteX169" fmla="*/ 7867695 w 12356823"/>
              <a:gd name="connsiteY169" fmla="*/ 397297 h 4722863"/>
              <a:gd name="connsiteX170" fmla="*/ 7871242 w 12356823"/>
              <a:gd name="connsiteY170" fmla="*/ 400395 h 4722863"/>
              <a:gd name="connsiteX171" fmla="*/ 8069885 w 12356823"/>
              <a:gd name="connsiteY171" fmla="*/ 264107 h 4722863"/>
              <a:gd name="connsiteX172" fmla="*/ 8133735 w 12356823"/>
              <a:gd name="connsiteY172" fmla="*/ 220743 h 4722863"/>
              <a:gd name="connsiteX173" fmla="*/ 8137282 w 12356823"/>
              <a:gd name="connsiteY173" fmla="*/ 214548 h 4722863"/>
              <a:gd name="connsiteX174" fmla="*/ 8158566 w 12356823"/>
              <a:gd name="connsiteY174" fmla="*/ 202159 h 4722863"/>
              <a:gd name="connsiteX175" fmla="*/ 8172754 w 12356823"/>
              <a:gd name="connsiteY175" fmla="*/ 192866 h 4722863"/>
              <a:gd name="connsiteX176" fmla="*/ 8194037 w 12356823"/>
              <a:gd name="connsiteY176" fmla="*/ 186670 h 4722863"/>
              <a:gd name="connsiteX177" fmla="*/ 8222415 w 12356823"/>
              <a:gd name="connsiteY177" fmla="*/ 183573 h 4722863"/>
              <a:gd name="connsiteX178" fmla="*/ 8307548 w 12356823"/>
              <a:gd name="connsiteY178" fmla="*/ 177379 h 4722863"/>
              <a:gd name="connsiteX179" fmla="*/ 8399775 w 12356823"/>
              <a:gd name="connsiteY179" fmla="*/ 168086 h 4722863"/>
              <a:gd name="connsiteX180" fmla="*/ 8481361 w 12356823"/>
              <a:gd name="connsiteY180" fmla="*/ 134014 h 4722863"/>
              <a:gd name="connsiteX181" fmla="*/ 8566493 w 12356823"/>
              <a:gd name="connsiteY181" fmla="*/ 106137 h 4722863"/>
              <a:gd name="connsiteX182" fmla="*/ 8662268 w 12356823"/>
              <a:gd name="connsiteY182" fmla="*/ 93748 h 4722863"/>
              <a:gd name="connsiteX183" fmla="*/ 8789968 w 12356823"/>
              <a:gd name="connsiteY183" fmla="*/ 99942 h 4722863"/>
              <a:gd name="connsiteX184" fmla="*/ 8892836 w 12356823"/>
              <a:gd name="connsiteY184" fmla="*/ 118527 h 4722863"/>
              <a:gd name="connsiteX185" fmla="*/ 8999253 w 12356823"/>
              <a:gd name="connsiteY185" fmla="*/ 171183 h 4722863"/>
              <a:gd name="connsiteX186" fmla="*/ 9034725 w 12356823"/>
              <a:gd name="connsiteY186" fmla="*/ 199061 h 4722863"/>
              <a:gd name="connsiteX187" fmla="*/ 9048913 w 12356823"/>
              <a:gd name="connsiteY187" fmla="*/ 226937 h 4722863"/>
              <a:gd name="connsiteX188" fmla="*/ 9034725 w 12356823"/>
              <a:gd name="connsiteY188" fmla="*/ 248619 h 4722863"/>
              <a:gd name="connsiteX189" fmla="*/ 8985063 w 12356823"/>
              <a:gd name="connsiteY189" fmla="*/ 261010 h 4722863"/>
              <a:gd name="connsiteX190" fmla="*/ 8949592 w 12356823"/>
              <a:gd name="connsiteY190" fmla="*/ 257912 h 4722863"/>
              <a:gd name="connsiteX191" fmla="*/ 8899931 w 12356823"/>
              <a:gd name="connsiteY191" fmla="*/ 251717 h 4722863"/>
              <a:gd name="connsiteX192" fmla="*/ 8807704 w 12356823"/>
              <a:gd name="connsiteY192" fmla="*/ 242425 h 4722863"/>
              <a:gd name="connsiteX193" fmla="*/ 8804157 w 12356823"/>
              <a:gd name="connsiteY193" fmla="*/ 242425 h 4722863"/>
              <a:gd name="connsiteX194" fmla="*/ 8800609 w 12356823"/>
              <a:gd name="connsiteY194" fmla="*/ 245523 h 4722863"/>
              <a:gd name="connsiteX195" fmla="*/ 8800609 w 12356823"/>
              <a:gd name="connsiteY195" fmla="*/ 254815 h 4722863"/>
              <a:gd name="connsiteX196" fmla="*/ 8807704 w 12356823"/>
              <a:gd name="connsiteY196" fmla="*/ 282692 h 4722863"/>
              <a:gd name="connsiteX197" fmla="*/ 8807704 w 12356823"/>
              <a:gd name="connsiteY197" fmla="*/ 295082 h 4722863"/>
              <a:gd name="connsiteX198" fmla="*/ 8804157 w 12356823"/>
              <a:gd name="connsiteY198" fmla="*/ 301277 h 4722863"/>
              <a:gd name="connsiteX199" fmla="*/ 8800609 w 12356823"/>
              <a:gd name="connsiteY199" fmla="*/ 304374 h 4722863"/>
              <a:gd name="connsiteX200" fmla="*/ 8786421 w 12356823"/>
              <a:gd name="connsiteY200" fmla="*/ 307471 h 4722863"/>
              <a:gd name="connsiteX201" fmla="*/ 8772232 w 12356823"/>
              <a:gd name="connsiteY201" fmla="*/ 304374 h 4722863"/>
              <a:gd name="connsiteX202" fmla="*/ 8726118 w 12356823"/>
              <a:gd name="connsiteY202" fmla="*/ 295082 h 4722863"/>
              <a:gd name="connsiteX203" fmla="*/ 8555852 w 12356823"/>
              <a:gd name="connsiteY203" fmla="*/ 291984 h 4722863"/>
              <a:gd name="connsiteX204" fmla="*/ 8314643 w 12356823"/>
              <a:gd name="connsiteY204" fmla="*/ 344641 h 4722863"/>
              <a:gd name="connsiteX205" fmla="*/ 8080527 w 12356823"/>
              <a:gd name="connsiteY205" fmla="*/ 440661 h 4722863"/>
              <a:gd name="connsiteX206" fmla="*/ 8059244 w 12356823"/>
              <a:gd name="connsiteY206" fmla="*/ 453051 h 4722863"/>
              <a:gd name="connsiteX207" fmla="*/ 8076981 w 12356823"/>
              <a:gd name="connsiteY207" fmla="*/ 453051 h 4722863"/>
              <a:gd name="connsiteX208" fmla="*/ 8098263 w 12356823"/>
              <a:gd name="connsiteY208" fmla="*/ 456148 h 4722863"/>
              <a:gd name="connsiteX209" fmla="*/ 8165659 w 12356823"/>
              <a:gd name="connsiteY209" fmla="*/ 428272 h 4722863"/>
              <a:gd name="connsiteX210" fmla="*/ 8172754 w 12356823"/>
              <a:gd name="connsiteY210" fmla="*/ 422077 h 4722863"/>
              <a:gd name="connsiteX211" fmla="*/ 8218867 w 12356823"/>
              <a:gd name="connsiteY211" fmla="*/ 391102 h 4722863"/>
              <a:gd name="connsiteX212" fmla="*/ 8272076 w 12356823"/>
              <a:gd name="connsiteY212" fmla="*/ 375615 h 4722863"/>
              <a:gd name="connsiteX213" fmla="*/ 8346567 w 12356823"/>
              <a:gd name="connsiteY213" fmla="*/ 369420 h 4722863"/>
              <a:gd name="connsiteX214" fmla="*/ 8392680 w 12356823"/>
              <a:gd name="connsiteY214" fmla="*/ 375615 h 4722863"/>
              <a:gd name="connsiteX215" fmla="*/ 8417511 w 12356823"/>
              <a:gd name="connsiteY215" fmla="*/ 360128 h 4722863"/>
              <a:gd name="connsiteX216" fmla="*/ 8438794 w 12356823"/>
              <a:gd name="connsiteY216" fmla="*/ 347737 h 4722863"/>
              <a:gd name="connsiteX217" fmla="*/ 8463625 w 12356823"/>
              <a:gd name="connsiteY217" fmla="*/ 341543 h 4722863"/>
              <a:gd name="connsiteX218" fmla="*/ 8531022 w 12356823"/>
              <a:gd name="connsiteY218" fmla="*/ 332250 h 4722863"/>
              <a:gd name="connsiteX219" fmla="*/ 8701287 w 12356823"/>
              <a:gd name="connsiteY219" fmla="*/ 338446 h 4722863"/>
              <a:gd name="connsiteX220" fmla="*/ 8889290 w 12356823"/>
              <a:gd name="connsiteY220" fmla="*/ 347737 h 4722863"/>
              <a:gd name="connsiteX221" fmla="*/ 8974422 w 12356823"/>
              <a:gd name="connsiteY221" fmla="*/ 347737 h 4722863"/>
              <a:gd name="connsiteX222" fmla="*/ 9056008 w 12356823"/>
              <a:gd name="connsiteY222" fmla="*/ 335348 h 4722863"/>
              <a:gd name="connsiteX223" fmla="*/ 9073744 w 12356823"/>
              <a:gd name="connsiteY223" fmla="*/ 332250 h 4722863"/>
              <a:gd name="connsiteX224" fmla="*/ 9098575 w 12356823"/>
              <a:gd name="connsiteY224" fmla="*/ 332250 h 4722863"/>
              <a:gd name="connsiteX225" fmla="*/ 9151783 w 12356823"/>
              <a:gd name="connsiteY225" fmla="*/ 344641 h 4722863"/>
              <a:gd name="connsiteX226" fmla="*/ 9251105 w 12356823"/>
              <a:gd name="connsiteY226" fmla="*/ 391102 h 4722863"/>
              <a:gd name="connsiteX227" fmla="*/ 9283029 w 12356823"/>
              <a:gd name="connsiteY227" fmla="*/ 415882 h 4722863"/>
              <a:gd name="connsiteX228" fmla="*/ 9290123 w 12356823"/>
              <a:gd name="connsiteY228" fmla="*/ 428272 h 4722863"/>
              <a:gd name="connsiteX229" fmla="*/ 9293670 w 12356823"/>
              <a:gd name="connsiteY229" fmla="*/ 434466 h 4722863"/>
              <a:gd name="connsiteX230" fmla="*/ 9290123 w 12356823"/>
              <a:gd name="connsiteY230" fmla="*/ 437564 h 4722863"/>
              <a:gd name="connsiteX231" fmla="*/ 9286577 w 12356823"/>
              <a:gd name="connsiteY231" fmla="*/ 437564 h 4722863"/>
              <a:gd name="connsiteX232" fmla="*/ 9283029 w 12356823"/>
              <a:gd name="connsiteY232" fmla="*/ 440661 h 4722863"/>
              <a:gd name="connsiteX233" fmla="*/ 9272387 w 12356823"/>
              <a:gd name="connsiteY233" fmla="*/ 437564 h 4722863"/>
              <a:gd name="connsiteX234" fmla="*/ 9219179 w 12356823"/>
              <a:gd name="connsiteY234" fmla="*/ 428272 h 4722863"/>
              <a:gd name="connsiteX235" fmla="*/ 9123405 w 12356823"/>
              <a:gd name="connsiteY235" fmla="*/ 409686 h 4722863"/>
              <a:gd name="connsiteX236" fmla="*/ 9109216 w 12356823"/>
              <a:gd name="connsiteY236" fmla="*/ 409686 h 4722863"/>
              <a:gd name="connsiteX237" fmla="*/ 9102121 w 12356823"/>
              <a:gd name="connsiteY237" fmla="*/ 409686 h 4722863"/>
              <a:gd name="connsiteX238" fmla="*/ 9091480 w 12356823"/>
              <a:gd name="connsiteY238" fmla="*/ 418979 h 4722863"/>
              <a:gd name="connsiteX239" fmla="*/ 9080838 w 12356823"/>
              <a:gd name="connsiteY239" fmla="*/ 490220 h 4722863"/>
              <a:gd name="connsiteX240" fmla="*/ 9073744 w 12356823"/>
              <a:gd name="connsiteY240" fmla="*/ 505708 h 4722863"/>
              <a:gd name="connsiteX241" fmla="*/ 9073744 w 12356823"/>
              <a:gd name="connsiteY241" fmla="*/ 508806 h 4722863"/>
              <a:gd name="connsiteX242" fmla="*/ 9073744 w 12356823"/>
              <a:gd name="connsiteY242" fmla="*/ 511902 h 4722863"/>
              <a:gd name="connsiteX243" fmla="*/ 9077292 w 12356823"/>
              <a:gd name="connsiteY243" fmla="*/ 511902 h 4722863"/>
              <a:gd name="connsiteX244" fmla="*/ 9080838 w 12356823"/>
              <a:gd name="connsiteY244" fmla="*/ 511902 h 4722863"/>
              <a:gd name="connsiteX245" fmla="*/ 9087933 w 12356823"/>
              <a:gd name="connsiteY245" fmla="*/ 511902 h 4722863"/>
              <a:gd name="connsiteX246" fmla="*/ 9105669 w 12356823"/>
              <a:gd name="connsiteY246" fmla="*/ 505708 h 4722863"/>
              <a:gd name="connsiteX247" fmla="*/ 9165971 w 12356823"/>
              <a:gd name="connsiteY247" fmla="*/ 493318 h 4722863"/>
              <a:gd name="connsiteX248" fmla="*/ 9254651 w 12356823"/>
              <a:gd name="connsiteY248" fmla="*/ 502610 h 4722863"/>
              <a:gd name="connsiteX249" fmla="*/ 9357520 w 12356823"/>
              <a:gd name="connsiteY249" fmla="*/ 552169 h 4722863"/>
              <a:gd name="connsiteX250" fmla="*/ 9414037 w 12356823"/>
              <a:gd name="connsiteY250" fmla="*/ 610774 h 4722863"/>
              <a:gd name="connsiteX251" fmla="*/ 9469207 w 12356823"/>
              <a:gd name="connsiteY251" fmla="*/ 588878 h 4722863"/>
              <a:gd name="connsiteX252" fmla="*/ 9466344 w 12356823"/>
              <a:gd name="connsiteY252" fmla="*/ 587049 h 4722863"/>
              <a:gd name="connsiteX253" fmla="*/ 9473439 w 12356823"/>
              <a:gd name="connsiteY253" fmla="*/ 587049 h 4722863"/>
              <a:gd name="connsiteX254" fmla="*/ 9473439 w 12356823"/>
              <a:gd name="connsiteY254" fmla="*/ 574758 h 4722863"/>
              <a:gd name="connsiteX255" fmla="*/ 9476987 w 12356823"/>
              <a:gd name="connsiteY255" fmla="*/ 571686 h 4722863"/>
              <a:gd name="connsiteX256" fmla="*/ 9487629 w 12356823"/>
              <a:gd name="connsiteY256" fmla="*/ 571686 h 4722863"/>
              <a:gd name="connsiteX257" fmla="*/ 9501534 w 12356823"/>
              <a:gd name="connsiteY257" fmla="*/ 574095 h 4722863"/>
              <a:gd name="connsiteX258" fmla="*/ 9828801 w 12356823"/>
              <a:gd name="connsiteY258" fmla="*/ 412784 h 4722863"/>
              <a:gd name="connsiteX259" fmla="*/ 9899745 w 12356823"/>
              <a:gd name="connsiteY259" fmla="*/ 363226 h 4722863"/>
              <a:gd name="connsiteX260" fmla="*/ 9956501 w 12356823"/>
              <a:gd name="connsiteY260" fmla="*/ 332250 h 4722863"/>
              <a:gd name="connsiteX261" fmla="*/ 9988425 w 12356823"/>
              <a:gd name="connsiteY261" fmla="*/ 322959 h 4722863"/>
              <a:gd name="connsiteX262" fmla="*/ 9991973 w 12356823"/>
              <a:gd name="connsiteY262" fmla="*/ 350835 h 4722863"/>
              <a:gd name="connsiteX263" fmla="*/ 9988425 w 12356823"/>
              <a:gd name="connsiteY263" fmla="*/ 353933 h 4722863"/>
              <a:gd name="connsiteX264" fmla="*/ 9984878 w 12356823"/>
              <a:gd name="connsiteY264" fmla="*/ 363226 h 4722863"/>
              <a:gd name="connsiteX265" fmla="*/ 9963595 w 12356823"/>
              <a:gd name="connsiteY265" fmla="*/ 381810 h 4722863"/>
              <a:gd name="connsiteX266" fmla="*/ 9885556 w 12356823"/>
              <a:gd name="connsiteY266" fmla="*/ 449953 h 4722863"/>
              <a:gd name="connsiteX267" fmla="*/ 9821707 w 12356823"/>
              <a:gd name="connsiteY267" fmla="*/ 508806 h 4722863"/>
              <a:gd name="connsiteX268" fmla="*/ 10070011 w 12356823"/>
              <a:gd name="connsiteY268" fmla="*/ 316764 h 4722863"/>
              <a:gd name="connsiteX269" fmla="*/ 10353787 w 12356823"/>
              <a:gd name="connsiteY269" fmla="*/ 93748 h 4722863"/>
              <a:gd name="connsiteX270" fmla="*/ 10431825 w 12356823"/>
              <a:gd name="connsiteY270" fmla="*/ 41090 h 4722863"/>
              <a:gd name="connsiteX271" fmla="*/ 10492129 w 12356823"/>
              <a:gd name="connsiteY271" fmla="*/ 10116 h 4722863"/>
              <a:gd name="connsiteX272" fmla="*/ 10531147 w 12356823"/>
              <a:gd name="connsiteY272" fmla="*/ 824 h 4722863"/>
              <a:gd name="connsiteX273" fmla="*/ 10534695 w 12356823"/>
              <a:gd name="connsiteY273" fmla="*/ 25603 h 4722863"/>
              <a:gd name="connsiteX274" fmla="*/ 10534695 w 12356823"/>
              <a:gd name="connsiteY274" fmla="*/ 31799 h 4722863"/>
              <a:gd name="connsiteX275" fmla="*/ 10527601 w 12356823"/>
              <a:gd name="connsiteY275" fmla="*/ 37994 h 4722863"/>
              <a:gd name="connsiteX276" fmla="*/ 10502770 w 12356823"/>
              <a:gd name="connsiteY276" fmla="*/ 56578 h 4722863"/>
              <a:gd name="connsiteX277" fmla="*/ 10421184 w 12356823"/>
              <a:gd name="connsiteY277" fmla="*/ 127819 h 4722863"/>
              <a:gd name="connsiteX278" fmla="*/ 10183521 w 12356823"/>
              <a:gd name="connsiteY278" fmla="*/ 335348 h 4722863"/>
              <a:gd name="connsiteX279" fmla="*/ 9942311 w 12356823"/>
              <a:gd name="connsiteY279" fmla="*/ 549072 h 4722863"/>
              <a:gd name="connsiteX280" fmla="*/ 9949405 w 12356823"/>
              <a:gd name="connsiteY280" fmla="*/ 545975 h 4722863"/>
              <a:gd name="connsiteX281" fmla="*/ 9970690 w 12356823"/>
              <a:gd name="connsiteY281" fmla="*/ 533584 h 4722863"/>
              <a:gd name="connsiteX282" fmla="*/ 10428279 w 12356823"/>
              <a:gd name="connsiteY282" fmla="*/ 171183 h 4722863"/>
              <a:gd name="connsiteX283" fmla="*/ 10587902 w 12356823"/>
              <a:gd name="connsiteY283" fmla="*/ 50383 h 4722863"/>
              <a:gd name="connsiteX284" fmla="*/ 10616281 w 12356823"/>
              <a:gd name="connsiteY284" fmla="*/ 31799 h 4722863"/>
              <a:gd name="connsiteX285" fmla="*/ 10637564 w 12356823"/>
              <a:gd name="connsiteY285" fmla="*/ 22506 h 4722863"/>
              <a:gd name="connsiteX286" fmla="*/ 10658847 w 12356823"/>
              <a:gd name="connsiteY286" fmla="*/ 25603 h 4722863"/>
              <a:gd name="connsiteX287" fmla="*/ 10676583 w 12356823"/>
              <a:gd name="connsiteY287" fmla="*/ 41090 h 4722863"/>
              <a:gd name="connsiteX288" fmla="*/ 10673036 w 12356823"/>
              <a:gd name="connsiteY288" fmla="*/ 53481 h 4722863"/>
              <a:gd name="connsiteX289" fmla="*/ 10665941 w 12356823"/>
              <a:gd name="connsiteY289" fmla="*/ 62772 h 4722863"/>
              <a:gd name="connsiteX290" fmla="*/ 10630469 w 12356823"/>
              <a:gd name="connsiteY290" fmla="*/ 99942 h 4722863"/>
              <a:gd name="connsiteX291" fmla="*/ 10524053 w 12356823"/>
              <a:gd name="connsiteY291" fmla="*/ 183573 h 4722863"/>
              <a:gd name="connsiteX292" fmla="*/ 10485033 w 12356823"/>
              <a:gd name="connsiteY292" fmla="*/ 214548 h 4722863"/>
              <a:gd name="connsiteX293" fmla="*/ 10485033 w 12356823"/>
              <a:gd name="connsiteY293" fmla="*/ 217645 h 4722863"/>
              <a:gd name="connsiteX294" fmla="*/ 10492129 w 12356823"/>
              <a:gd name="connsiteY294" fmla="*/ 223841 h 4722863"/>
              <a:gd name="connsiteX295" fmla="*/ 10495675 w 12356823"/>
              <a:gd name="connsiteY295" fmla="*/ 220743 h 4722863"/>
              <a:gd name="connsiteX296" fmla="*/ 10524053 w 12356823"/>
              <a:gd name="connsiteY296" fmla="*/ 205256 h 4722863"/>
              <a:gd name="connsiteX297" fmla="*/ 10534695 w 12356823"/>
              <a:gd name="connsiteY297" fmla="*/ 202159 h 4722863"/>
              <a:gd name="connsiteX298" fmla="*/ 10538242 w 12356823"/>
              <a:gd name="connsiteY298" fmla="*/ 205256 h 4722863"/>
              <a:gd name="connsiteX299" fmla="*/ 10534695 w 12356823"/>
              <a:gd name="connsiteY299" fmla="*/ 214548 h 4722863"/>
              <a:gd name="connsiteX300" fmla="*/ 10527601 w 12356823"/>
              <a:gd name="connsiteY300" fmla="*/ 230035 h 4722863"/>
              <a:gd name="connsiteX301" fmla="*/ 10453109 w 12356823"/>
              <a:gd name="connsiteY301" fmla="*/ 307471 h 4722863"/>
              <a:gd name="connsiteX302" fmla="*/ 10435373 w 12356823"/>
              <a:gd name="connsiteY302" fmla="*/ 322959 h 4722863"/>
              <a:gd name="connsiteX303" fmla="*/ 10367976 w 12356823"/>
              <a:gd name="connsiteY303" fmla="*/ 400395 h 4722863"/>
              <a:gd name="connsiteX304" fmla="*/ 10243825 w 12356823"/>
              <a:gd name="connsiteY304" fmla="*/ 539780 h 4722863"/>
              <a:gd name="connsiteX305" fmla="*/ 10470845 w 12356823"/>
              <a:gd name="connsiteY305" fmla="*/ 338446 h 4722863"/>
              <a:gd name="connsiteX306" fmla="*/ 10531147 w 12356823"/>
              <a:gd name="connsiteY306" fmla="*/ 279594 h 4722863"/>
              <a:gd name="connsiteX307" fmla="*/ 10541789 w 12356823"/>
              <a:gd name="connsiteY307" fmla="*/ 270301 h 4722863"/>
              <a:gd name="connsiteX308" fmla="*/ 10552431 w 12356823"/>
              <a:gd name="connsiteY308" fmla="*/ 270301 h 4722863"/>
              <a:gd name="connsiteX309" fmla="*/ 10563073 w 12356823"/>
              <a:gd name="connsiteY309" fmla="*/ 279594 h 4722863"/>
              <a:gd name="connsiteX310" fmla="*/ 10577261 w 12356823"/>
              <a:gd name="connsiteY310" fmla="*/ 298179 h 4722863"/>
              <a:gd name="connsiteX311" fmla="*/ 10577261 w 12356823"/>
              <a:gd name="connsiteY311" fmla="*/ 307471 h 4722863"/>
              <a:gd name="connsiteX312" fmla="*/ 10573714 w 12356823"/>
              <a:gd name="connsiteY312" fmla="*/ 316764 h 4722863"/>
              <a:gd name="connsiteX313" fmla="*/ 10563073 w 12356823"/>
              <a:gd name="connsiteY313" fmla="*/ 335348 h 4722863"/>
              <a:gd name="connsiteX314" fmla="*/ 10527601 w 12356823"/>
              <a:gd name="connsiteY314" fmla="*/ 378712 h 4722863"/>
              <a:gd name="connsiteX315" fmla="*/ 10499223 w 12356823"/>
              <a:gd name="connsiteY315" fmla="*/ 406590 h 4722863"/>
              <a:gd name="connsiteX316" fmla="*/ 10495675 w 12356823"/>
              <a:gd name="connsiteY316" fmla="*/ 406590 h 4722863"/>
              <a:gd name="connsiteX317" fmla="*/ 10495675 w 12356823"/>
              <a:gd name="connsiteY317" fmla="*/ 409686 h 4722863"/>
              <a:gd name="connsiteX318" fmla="*/ 10499223 w 12356823"/>
              <a:gd name="connsiteY318" fmla="*/ 409686 h 4722863"/>
              <a:gd name="connsiteX319" fmla="*/ 10520506 w 12356823"/>
              <a:gd name="connsiteY319" fmla="*/ 403492 h 4722863"/>
              <a:gd name="connsiteX320" fmla="*/ 10531147 w 12356823"/>
              <a:gd name="connsiteY320" fmla="*/ 397297 h 4722863"/>
              <a:gd name="connsiteX321" fmla="*/ 10534695 w 12356823"/>
              <a:gd name="connsiteY321" fmla="*/ 397297 h 4722863"/>
              <a:gd name="connsiteX322" fmla="*/ 10538242 w 12356823"/>
              <a:gd name="connsiteY322" fmla="*/ 400395 h 4722863"/>
              <a:gd name="connsiteX323" fmla="*/ 10736885 w 12356823"/>
              <a:gd name="connsiteY323" fmla="*/ 264107 h 4722863"/>
              <a:gd name="connsiteX324" fmla="*/ 10800735 w 12356823"/>
              <a:gd name="connsiteY324" fmla="*/ 220743 h 4722863"/>
              <a:gd name="connsiteX325" fmla="*/ 10804282 w 12356823"/>
              <a:gd name="connsiteY325" fmla="*/ 214548 h 4722863"/>
              <a:gd name="connsiteX326" fmla="*/ 10825566 w 12356823"/>
              <a:gd name="connsiteY326" fmla="*/ 202159 h 4722863"/>
              <a:gd name="connsiteX327" fmla="*/ 10839754 w 12356823"/>
              <a:gd name="connsiteY327" fmla="*/ 192866 h 4722863"/>
              <a:gd name="connsiteX328" fmla="*/ 10861037 w 12356823"/>
              <a:gd name="connsiteY328" fmla="*/ 186670 h 4722863"/>
              <a:gd name="connsiteX329" fmla="*/ 10889415 w 12356823"/>
              <a:gd name="connsiteY329" fmla="*/ 183573 h 4722863"/>
              <a:gd name="connsiteX330" fmla="*/ 10974548 w 12356823"/>
              <a:gd name="connsiteY330" fmla="*/ 177379 h 4722863"/>
              <a:gd name="connsiteX331" fmla="*/ 11066775 w 12356823"/>
              <a:gd name="connsiteY331" fmla="*/ 168086 h 4722863"/>
              <a:gd name="connsiteX332" fmla="*/ 11148361 w 12356823"/>
              <a:gd name="connsiteY332" fmla="*/ 134014 h 4722863"/>
              <a:gd name="connsiteX333" fmla="*/ 11233493 w 12356823"/>
              <a:gd name="connsiteY333" fmla="*/ 106137 h 4722863"/>
              <a:gd name="connsiteX334" fmla="*/ 11329268 w 12356823"/>
              <a:gd name="connsiteY334" fmla="*/ 93748 h 4722863"/>
              <a:gd name="connsiteX335" fmla="*/ 11456968 w 12356823"/>
              <a:gd name="connsiteY335" fmla="*/ 99942 h 4722863"/>
              <a:gd name="connsiteX336" fmla="*/ 11559836 w 12356823"/>
              <a:gd name="connsiteY336" fmla="*/ 118527 h 4722863"/>
              <a:gd name="connsiteX337" fmla="*/ 11666253 w 12356823"/>
              <a:gd name="connsiteY337" fmla="*/ 171183 h 4722863"/>
              <a:gd name="connsiteX338" fmla="*/ 11701725 w 12356823"/>
              <a:gd name="connsiteY338" fmla="*/ 199061 h 4722863"/>
              <a:gd name="connsiteX339" fmla="*/ 11715913 w 12356823"/>
              <a:gd name="connsiteY339" fmla="*/ 226937 h 4722863"/>
              <a:gd name="connsiteX340" fmla="*/ 11701725 w 12356823"/>
              <a:gd name="connsiteY340" fmla="*/ 248619 h 4722863"/>
              <a:gd name="connsiteX341" fmla="*/ 11652063 w 12356823"/>
              <a:gd name="connsiteY341" fmla="*/ 261010 h 4722863"/>
              <a:gd name="connsiteX342" fmla="*/ 11616592 w 12356823"/>
              <a:gd name="connsiteY342" fmla="*/ 257912 h 4722863"/>
              <a:gd name="connsiteX343" fmla="*/ 11566931 w 12356823"/>
              <a:gd name="connsiteY343" fmla="*/ 251717 h 4722863"/>
              <a:gd name="connsiteX344" fmla="*/ 11474704 w 12356823"/>
              <a:gd name="connsiteY344" fmla="*/ 242425 h 4722863"/>
              <a:gd name="connsiteX345" fmla="*/ 11471157 w 12356823"/>
              <a:gd name="connsiteY345" fmla="*/ 242425 h 4722863"/>
              <a:gd name="connsiteX346" fmla="*/ 11467609 w 12356823"/>
              <a:gd name="connsiteY346" fmla="*/ 245523 h 4722863"/>
              <a:gd name="connsiteX347" fmla="*/ 11467609 w 12356823"/>
              <a:gd name="connsiteY347" fmla="*/ 254815 h 4722863"/>
              <a:gd name="connsiteX348" fmla="*/ 11474704 w 12356823"/>
              <a:gd name="connsiteY348" fmla="*/ 282692 h 4722863"/>
              <a:gd name="connsiteX349" fmla="*/ 11474704 w 12356823"/>
              <a:gd name="connsiteY349" fmla="*/ 295082 h 4722863"/>
              <a:gd name="connsiteX350" fmla="*/ 11471157 w 12356823"/>
              <a:gd name="connsiteY350" fmla="*/ 301277 h 4722863"/>
              <a:gd name="connsiteX351" fmla="*/ 11467609 w 12356823"/>
              <a:gd name="connsiteY351" fmla="*/ 304374 h 4722863"/>
              <a:gd name="connsiteX352" fmla="*/ 11453421 w 12356823"/>
              <a:gd name="connsiteY352" fmla="*/ 307471 h 4722863"/>
              <a:gd name="connsiteX353" fmla="*/ 11439232 w 12356823"/>
              <a:gd name="connsiteY353" fmla="*/ 304374 h 4722863"/>
              <a:gd name="connsiteX354" fmla="*/ 11393118 w 12356823"/>
              <a:gd name="connsiteY354" fmla="*/ 295082 h 4722863"/>
              <a:gd name="connsiteX355" fmla="*/ 11222852 w 12356823"/>
              <a:gd name="connsiteY355" fmla="*/ 291984 h 4722863"/>
              <a:gd name="connsiteX356" fmla="*/ 10981643 w 12356823"/>
              <a:gd name="connsiteY356" fmla="*/ 344641 h 4722863"/>
              <a:gd name="connsiteX357" fmla="*/ 10747527 w 12356823"/>
              <a:gd name="connsiteY357" fmla="*/ 440661 h 4722863"/>
              <a:gd name="connsiteX358" fmla="*/ 10726244 w 12356823"/>
              <a:gd name="connsiteY358" fmla="*/ 453051 h 4722863"/>
              <a:gd name="connsiteX359" fmla="*/ 10743981 w 12356823"/>
              <a:gd name="connsiteY359" fmla="*/ 453051 h 4722863"/>
              <a:gd name="connsiteX360" fmla="*/ 10765263 w 12356823"/>
              <a:gd name="connsiteY360" fmla="*/ 456148 h 4722863"/>
              <a:gd name="connsiteX361" fmla="*/ 10832659 w 12356823"/>
              <a:gd name="connsiteY361" fmla="*/ 428272 h 4722863"/>
              <a:gd name="connsiteX362" fmla="*/ 10839754 w 12356823"/>
              <a:gd name="connsiteY362" fmla="*/ 422077 h 4722863"/>
              <a:gd name="connsiteX363" fmla="*/ 10885867 w 12356823"/>
              <a:gd name="connsiteY363" fmla="*/ 391102 h 4722863"/>
              <a:gd name="connsiteX364" fmla="*/ 10939076 w 12356823"/>
              <a:gd name="connsiteY364" fmla="*/ 375615 h 4722863"/>
              <a:gd name="connsiteX365" fmla="*/ 11013567 w 12356823"/>
              <a:gd name="connsiteY365" fmla="*/ 369420 h 4722863"/>
              <a:gd name="connsiteX366" fmla="*/ 11059680 w 12356823"/>
              <a:gd name="connsiteY366" fmla="*/ 375615 h 4722863"/>
              <a:gd name="connsiteX367" fmla="*/ 11084511 w 12356823"/>
              <a:gd name="connsiteY367" fmla="*/ 360128 h 4722863"/>
              <a:gd name="connsiteX368" fmla="*/ 11105794 w 12356823"/>
              <a:gd name="connsiteY368" fmla="*/ 347737 h 4722863"/>
              <a:gd name="connsiteX369" fmla="*/ 11130625 w 12356823"/>
              <a:gd name="connsiteY369" fmla="*/ 341543 h 4722863"/>
              <a:gd name="connsiteX370" fmla="*/ 11198022 w 12356823"/>
              <a:gd name="connsiteY370" fmla="*/ 332250 h 4722863"/>
              <a:gd name="connsiteX371" fmla="*/ 11368287 w 12356823"/>
              <a:gd name="connsiteY371" fmla="*/ 338446 h 4722863"/>
              <a:gd name="connsiteX372" fmla="*/ 11556290 w 12356823"/>
              <a:gd name="connsiteY372" fmla="*/ 347737 h 4722863"/>
              <a:gd name="connsiteX373" fmla="*/ 11641422 w 12356823"/>
              <a:gd name="connsiteY373" fmla="*/ 347737 h 4722863"/>
              <a:gd name="connsiteX374" fmla="*/ 11723008 w 12356823"/>
              <a:gd name="connsiteY374" fmla="*/ 335348 h 4722863"/>
              <a:gd name="connsiteX375" fmla="*/ 11740744 w 12356823"/>
              <a:gd name="connsiteY375" fmla="*/ 332250 h 4722863"/>
              <a:gd name="connsiteX376" fmla="*/ 11765575 w 12356823"/>
              <a:gd name="connsiteY376" fmla="*/ 332250 h 4722863"/>
              <a:gd name="connsiteX377" fmla="*/ 11818783 w 12356823"/>
              <a:gd name="connsiteY377" fmla="*/ 344641 h 4722863"/>
              <a:gd name="connsiteX378" fmla="*/ 11918105 w 12356823"/>
              <a:gd name="connsiteY378" fmla="*/ 391102 h 4722863"/>
              <a:gd name="connsiteX379" fmla="*/ 11950029 w 12356823"/>
              <a:gd name="connsiteY379" fmla="*/ 415882 h 4722863"/>
              <a:gd name="connsiteX380" fmla="*/ 11957123 w 12356823"/>
              <a:gd name="connsiteY380" fmla="*/ 428272 h 4722863"/>
              <a:gd name="connsiteX381" fmla="*/ 11960670 w 12356823"/>
              <a:gd name="connsiteY381" fmla="*/ 434466 h 4722863"/>
              <a:gd name="connsiteX382" fmla="*/ 11957123 w 12356823"/>
              <a:gd name="connsiteY382" fmla="*/ 437564 h 4722863"/>
              <a:gd name="connsiteX383" fmla="*/ 11953577 w 12356823"/>
              <a:gd name="connsiteY383" fmla="*/ 437564 h 4722863"/>
              <a:gd name="connsiteX384" fmla="*/ 11950029 w 12356823"/>
              <a:gd name="connsiteY384" fmla="*/ 440661 h 4722863"/>
              <a:gd name="connsiteX385" fmla="*/ 11939387 w 12356823"/>
              <a:gd name="connsiteY385" fmla="*/ 437564 h 4722863"/>
              <a:gd name="connsiteX386" fmla="*/ 11886179 w 12356823"/>
              <a:gd name="connsiteY386" fmla="*/ 428272 h 4722863"/>
              <a:gd name="connsiteX387" fmla="*/ 11790405 w 12356823"/>
              <a:gd name="connsiteY387" fmla="*/ 409686 h 4722863"/>
              <a:gd name="connsiteX388" fmla="*/ 11776216 w 12356823"/>
              <a:gd name="connsiteY388" fmla="*/ 409686 h 4722863"/>
              <a:gd name="connsiteX389" fmla="*/ 11769121 w 12356823"/>
              <a:gd name="connsiteY389" fmla="*/ 409686 h 4722863"/>
              <a:gd name="connsiteX390" fmla="*/ 11758480 w 12356823"/>
              <a:gd name="connsiteY390" fmla="*/ 418979 h 4722863"/>
              <a:gd name="connsiteX391" fmla="*/ 11747838 w 12356823"/>
              <a:gd name="connsiteY391" fmla="*/ 490220 h 4722863"/>
              <a:gd name="connsiteX392" fmla="*/ 11740744 w 12356823"/>
              <a:gd name="connsiteY392" fmla="*/ 505708 h 4722863"/>
              <a:gd name="connsiteX393" fmla="*/ 11740744 w 12356823"/>
              <a:gd name="connsiteY393" fmla="*/ 508806 h 4722863"/>
              <a:gd name="connsiteX394" fmla="*/ 11740744 w 12356823"/>
              <a:gd name="connsiteY394" fmla="*/ 511902 h 4722863"/>
              <a:gd name="connsiteX395" fmla="*/ 11744292 w 12356823"/>
              <a:gd name="connsiteY395" fmla="*/ 511902 h 4722863"/>
              <a:gd name="connsiteX396" fmla="*/ 11747838 w 12356823"/>
              <a:gd name="connsiteY396" fmla="*/ 511902 h 4722863"/>
              <a:gd name="connsiteX397" fmla="*/ 11754933 w 12356823"/>
              <a:gd name="connsiteY397" fmla="*/ 511902 h 4722863"/>
              <a:gd name="connsiteX398" fmla="*/ 11772669 w 12356823"/>
              <a:gd name="connsiteY398" fmla="*/ 505708 h 4722863"/>
              <a:gd name="connsiteX399" fmla="*/ 11832971 w 12356823"/>
              <a:gd name="connsiteY399" fmla="*/ 493318 h 4722863"/>
              <a:gd name="connsiteX400" fmla="*/ 11921651 w 12356823"/>
              <a:gd name="connsiteY400" fmla="*/ 502610 h 4722863"/>
              <a:gd name="connsiteX401" fmla="*/ 12024520 w 12356823"/>
              <a:gd name="connsiteY401" fmla="*/ 552169 h 4722863"/>
              <a:gd name="connsiteX402" fmla="*/ 12081276 w 12356823"/>
              <a:gd name="connsiteY402" fmla="*/ 611022 h 4722863"/>
              <a:gd name="connsiteX403" fmla="*/ 12141578 w 12356823"/>
              <a:gd name="connsiteY403" fmla="*/ 663677 h 4722863"/>
              <a:gd name="connsiteX404" fmla="*/ 12184145 w 12356823"/>
              <a:gd name="connsiteY404" fmla="*/ 682262 h 4722863"/>
              <a:gd name="connsiteX405" fmla="*/ 12247994 w 12356823"/>
              <a:gd name="connsiteY405" fmla="*/ 697749 h 4722863"/>
              <a:gd name="connsiteX406" fmla="*/ 12255089 w 12356823"/>
              <a:gd name="connsiteY406" fmla="*/ 697749 h 4722863"/>
              <a:gd name="connsiteX407" fmla="*/ 12262184 w 12356823"/>
              <a:gd name="connsiteY407" fmla="*/ 703944 h 4722863"/>
              <a:gd name="connsiteX408" fmla="*/ 12272825 w 12356823"/>
              <a:gd name="connsiteY408" fmla="*/ 713236 h 4722863"/>
              <a:gd name="connsiteX409" fmla="*/ 12297654 w 12356823"/>
              <a:gd name="connsiteY409" fmla="*/ 738016 h 4722863"/>
              <a:gd name="connsiteX410" fmla="*/ 12304749 w 12356823"/>
              <a:gd name="connsiteY410" fmla="*/ 762796 h 4722863"/>
              <a:gd name="connsiteX411" fmla="*/ 12304749 w 12356823"/>
              <a:gd name="connsiteY411" fmla="*/ 768991 h 4722863"/>
              <a:gd name="connsiteX412" fmla="*/ 12297654 w 12356823"/>
              <a:gd name="connsiteY412" fmla="*/ 772087 h 4722863"/>
              <a:gd name="connsiteX413" fmla="*/ 12294108 w 12356823"/>
              <a:gd name="connsiteY413" fmla="*/ 772087 h 4722863"/>
              <a:gd name="connsiteX414" fmla="*/ 12279920 w 12356823"/>
              <a:gd name="connsiteY414" fmla="*/ 768991 h 4722863"/>
              <a:gd name="connsiteX415" fmla="*/ 12262184 w 12356823"/>
              <a:gd name="connsiteY415" fmla="*/ 762796 h 4722863"/>
              <a:gd name="connsiteX416" fmla="*/ 12194786 w 12356823"/>
              <a:gd name="connsiteY416" fmla="*/ 738016 h 4722863"/>
              <a:gd name="connsiteX417" fmla="*/ 12010332 w 12356823"/>
              <a:gd name="connsiteY417" fmla="*/ 676067 h 4722863"/>
              <a:gd name="connsiteX418" fmla="*/ 11829424 w 12356823"/>
              <a:gd name="connsiteY418" fmla="*/ 635800 h 4722863"/>
              <a:gd name="connsiteX419" fmla="*/ 11769121 w 12356823"/>
              <a:gd name="connsiteY419" fmla="*/ 626508 h 4722863"/>
              <a:gd name="connsiteX420" fmla="*/ 11751385 w 12356823"/>
              <a:gd name="connsiteY420" fmla="*/ 626508 h 4722863"/>
              <a:gd name="connsiteX421" fmla="*/ 11747838 w 12356823"/>
              <a:gd name="connsiteY421" fmla="*/ 629606 h 4722863"/>
              <a:gd name="connsiteX422" fmla="*/ 11744292 w 12356823"/>
              <a:gd name="connsiteY422" fmla="*/ 629606 h 4722863"/>
              <a:gd name="connsiteX423" fmla="*/ 11730102 w 12356823"/>
              <a:gd name="connsiteY423" fmla="*/ 660580 h 4722863"/>
              <a:gd name="connsiteX424" fmla="*/ 11730102 w 12356823"/>
              <a:gd name="connsiteY424" fmla="*/ 663677 h 4722863"/>
              <a:gd name="connsiteX425" fmla="*/ 11740744 w 12356823"/>
              <a:gd name="connsiteY425" fmla="*/ 663677 h 4722863"/>
              <a:gd name="connsiteX426" fmla="*/ 11779764 w 12356823"/>
              <a:gd name="connsiteY426" fmla="*/ 666775 h 4722863"/>
              <a:gd name="connsiteX427" fmla="*/ 12006784 w 12356823"/>
              <a:gd name="connsiteY427" fmla="*/ 734918 h 4722863"/>
              <a:gd name="connsiteX428" fmla="*/ 12091917 w 12356823"/>
              <a:gd name="connsiteY428" fmla="*/ 793769 h 4722863"/>
              <a:gd name="connsiteX429" fmla="*/ 12113200 w 12356823"/>
              <a:gd name="connsiteY429" fmla="*/ 824743 h 4722863"/>
              <a:gd name="connsiteX430" fmla="*/ 12106105 w 12356823"/>
              <a:gd name="connsiteY430" fmla="*/ 852621 h 4722863"/>
              <a:gd name="connsiteX431" fmla="*/ 12095464 w 12356823"/>
              <a:gd name="connsiteY431" fmla="*/ 858816 h 4722863"/>
              <a:gd name="connsiteX432" fmla="*/ 12074181 w 12356823"/>
              <a:gd name="connsiteY432" fmla="*/ 865011 h 4722863"/>
              <a:gd name="connsiteX433" fmla="*/ 12013878 w 12356823"/>
              <a:gd name="connsiteY433" fmla="*/ 865011 h 4722863"/>
              <a:gd name="connsiteX434" fmla="*/ 11836519 w 12356823"/>
              <a:gd name="connsiteY434" fmla="*/ 834036 h 4722863"/>
              <a:gd name="connsiteX435" fmla="*/ 11641422 w 12356823"/>
              <a:gd name="connsiteY435" fmla="*/ 812355 h 4722863"/>
              <a:gd name="connsiteX436" fmla="*/ 11574026 w 12356823"/>
              <a:gd name="connsiteY436" fmla="*/ 812355 h 4722863"/>
              <a:gd name="connsiteX437" fmla="*/ 11591762 w 12356823"/>
              <a:gd name="connsiteY437" fmla="*/ 827841 h 4722863"/>
              <a:gd name="connsiteX438" fmla="*/ 11602403 w 12356823"/>
              <a:gd name="connsiteY438" fmla="*/ 849523 h 4722863"/>
              <a:gd name="connsiteX439" fmla="*/ 11605950 w 12356823"/>
              <a:gd name="connsiteY439" fmla="*/ 858816 h 4722863"/>
              <a:gd name="connsiteX440" fmla="*/ 11602403 w 12356823"/>
              <a:gd name="connsiteY440" fmla="*/ 861914 h 4722863"/>
              <a:gd name="connsiteX441" fmla="*/ 11598856 w 12356823"/>
              <a:gd name="connsiteY441" fmla="*/ 861914 h 4722863"/>
              <a:gd name="connsiteX442" fmla="*/ 11591762 w 12356823"/>
              <a:gd name="connsiteY442" fmla="*/ 865011 h 4722863"/>
              <a:gd name="connsiteX443" fmla="*/ 11577572 w 12356823"/>
              <a:gd name="connsiteY443" fmla="*/ 865011 h 4722863"/>
              <a:gd name="connsiteX444" fmla="*/ 11531459 w 12356823"/>
              <a:gd name="connsiteY444" fmla="*/ 865011 h 4722863"/>
              <a:gd name="connsiteX445" fmla="*/ 11414401 w 12356823"/>
              <a:gd name="connsiteY445" fmla="*/ 861914 h 4722863"/>
              <a:gd name="connsiteX446" fmla="*/ 11297343 w 12356823"/>
              <a:gd name="connsiteY446" fmla="*/ 865011 h 4722863"/>
              <a:gd name="connsiteX447" fmla="*/ 11261872 w 12356823"/>
              <a:gd name="connsiteY447" fmla="*/ 868108 h 4722863"/>
              <a:gd name="connsiteX448" fmla="*/ 11251229 w 12356823"/>
              <a:gd name="connsiteY448" fmla="*/ 868108 h 4722863"/>
              <a:gd name="connsiteX449" fmla="*/ 11247683 w 12356823"/>
              <a:gd name="connsiteY449" fmla="*/ 871205 h 4722863"/>
              <a:gd name="connsiteX450" fmla="*/ 11244136 w 12356823"/>
              <a:gd name="connsiteY450" fmla="*/ 908376 h 4722863"/>
              <a:gd name="connsiteX451" fmla="*/ 11251229 w 12356823"/>
              <a:gd name="connsiteY451" fmla="*/ 908376 h 4722863"/>
              <a:gd name="connsiteX452" fmla="*/ 11272513 w 12356823"/>
              <a:gd name="connsiteY452" fmla="*/ 902180 h 4722863"/>
              <a:gd name="connsiteX453" fmla="*/ 11425042 w 12356823"/>
              <a:gd name="connsiteY453" fmla="*/ 920765 h 4722863"/>
              <a:gd name="connsiteX454" fmla="*/ 11488893 w 12356823"/>
              <a:gd name="connsiteY454" fmla="*/ 957934 h 4722863"/>
              <a:gd name="connsiteX455" fmla="*/ 11503081 w 12356823"/>
              <a:gd name="connsiteY455" fmla="*/ 982713 h 4722863"/>
              <a:gd name="connsiteX456" fmla="*/ 11506628 w 12356823"/>
              <a:gd name="connsiteY456" fmla="*/ 1010590 h 4722863"/>
              <a:gd name="connsiteX457" fmla="*/ 11503081 w 12356823"/>
              <a:gd name="connsiteY457" fmla="*/ 1022981 h 4722863"/>
              <a:gd name="connsiteX458" fmla="*/ 11492440 w 12356823"/>
              <a:gd name="connsiteY458" fmla="*/ 1035370 h 4722863"/>
              <a:gd name="connsiteX459" fmla="*/ 11453421 w 12356823"/>
              <a:gd name="connsiteY459" fmla="*/ 1050857 h 4722863"/>
              <a:gd name="connsiteX460" fmla="*/ 11336363 w 12356823"/>
              <a:gd name="connsiteY460" fmla="*/ 1063246 h 4722863"/>
              <a:gd name="connsiteX461" fmla="*/ 11208664 w 12356823"/>
              <a:gd name="connsiteY461" fmla="*/ 1072539 h 4722863"/>
              <a:gd name="connsiteX462" fmla="*/ 11119983 w 12356823"/>
              <a:gd name="connsiteY462" fmla="*/ 1094221 h 4722863"/>
              <a:gd name="connsiteX463" fmla="*/ 10775905 w 12356823"/>
              <a:gd name="connsiteY463" fmla="*/ 1221217 h 4722863"/>
              <a:gd name="connsiteX464" fmla="*/ 10715601 w 12356823"/>
              <a:gd name="connsiteY464" fmla="*/ 1252191 h 4722863"/>
              <a:gd name="connsiteX465" fmla="*/ 10541789 w 12356823"/>
              <a:gd name="connsiteY465" fmla="*/ 1385382 h 4722863"/>
              <a:gd name="connsiteX466" fmla="*/ 10545337 w 12356823"/>
              <a:gd name="connsiteY466" fmla="*/ 1391577 h 4722863"/>
              <a:gd name="connsiteX467" fmla="*/ 10548883 w 12356823"/>
              <a:gd name="connsiteY467" fmla="*/ 1413259 h 4722863"/>
              <a:gd name="connsiteX468" fmla="*/ 10534695 w 12356823"/>
              <a:gd name="connsiteY468" fmla="*/ 1444233 h 4722863"/>
              <a:gd name="connsiteX469" fmla="*/ 10516959 w 12356823"/>
              <a:gd name="connsiteY469" fmla="*/ 1456623 h 4722863"/>
              <a:gd name="connsiteX470" fmla="*/ 10495675 w 12356823"/>
              <a:gd name="connsiteY470" fmla="*/ 1465915 h 4722863"/>
              <a:gd name="connsiteX471" fmla="*/ 10449561 w 12356823"/>
              <a:gd name="connsiteY471" fmla="*/ 1478306 h 4722863"/>
              <a:gd name="connsiteX472" fmla="*/ 10446015 w 12356823"/>
              <a:gd name="connsiteY472" fmla="*/ 1481403 h 4722863"/>
              <a:gd name="connsiteX473" fmla="*/ 10446015 w 12356823"/>
              <a:gd name="connsiteY473" fmla="*/ 1484500 h 4722863"/>
              <a:gd name="connsiteX474" fmla="*/ 10449561 w 12356823"/>
              <a:gd name="connsiteY474" fmla="*/ 1493791 h 4722863"/>
              <a:gd name="connsiteX475" fmla="*/ 10467297 w 12356823"/>
              <a:gd name="connsiteY475" fmla="*/ 1512377 h 4722863"/>
              <a:gd name="connsiteX476" fmla="*/ 10470845 w 12356823"/>
              <a:gd name="connsiteY476" fmla="*/ 1524766 h 4722863"/>
              <a:gd name="connsiteX477" fmla="*/ 10467297 w 12356823"/>
              <a:gd name="connsiteY477" fmla="*/ 1530962 h 4722863"/>
              <a:gd name="connsiteX478" fmla="*/ 10467297 w 12356823"/>
              <a:gd name="connsiteY478" fmla="*/ 1534059 h 4722863"/>
              <a:gd name="connsiteX479" fmla="*/ 10460203 w 12356823"/>
              <a:gd name="connsiteY479" fmla="*/ 1537156 h 4722863"/>
              <a:gd name="connsiteX480" fmla="*/ 10453109 w 12356823"/>
              <a:gd name="connsiteY480" fmla="*/ 1540253 h 4722863"/>
              <a:gd name="connsiteX481" fmla="*/ 10431825 w 12356823"/>
              <a:gd name="connsiteY481" fmla="*/ 1543351 h 4722863"/>
              <a:gd name="connsiteX482" fmla="*/ 10343147 w 12356823"/>
              <a:gd name="connsiteY482" fmla="*/ 1574326 h 4722863"/>
              <a:gd name="connsiteX483" fmla="*/ 10233182 w 12356823"/>
              <a:gd name="connsiteY483" fmla="*/ 1645567 h 4722863"/>
              <a:gd name="connsiteX484" fmla="*/ 10126767 w 12356823"/>
              <a:gd name="connsiteY484" fmla="*/ 1732295 h 4722863"/>
              <a:gd name="connsiteX485" fmla="*/ 10087747 w 12356823"/>
              <a:gd name="connsiteY485" fmla="*/ 1775660 h 4722863"/>
              <a:gd name="connsiteX486" fmla="*/ 10066463 w 12356823"/>
              <a:gd name="connsiteY486" fmla="*/ 1812829 h 4722863"/>
              <a:gd name="connsiteX487" fmla="*/ 10062917 w 12356823"/>
              <a:gd name="connsiteY487" fmla="*/ 1815927 h 4722863"/>
              <a:gd name="connsiteX488" fmla="*/ 10059369 w 12356823"/>
              <a:gd name="connsiteY488" fmla="*/ 1819024 h 4722863"/>
              <a:gd name="connsiteX489" fmla="*/ 10045181 w 12356823"/>
              <a:gd name="connsiteY489" fmla="*/ 1834511 h 4722863"/>
              <a:gd name="connsiteX490" fmla="*/ 10016803 w 12356823"/>
              <a:gd name="connsiteY490" fmla="*/ 1856193 h 4722863"/>
              <a:gd name="connsiteX491" fmla="*/ 10006161 w 12356823"/>
              <a:gd name="connsiteY491" fmla="*/ 1865486 h 4722863"/>
              <a:gd name="connsiteX492" fmla="*/ 10002614 w 12356823"/>
              <a:gd name="connsiteY492" fmla="*/ 1871680 h 4722863"/>
              <a:gd name="connsiteX493" fmla="*/ 10002614 w 12356823"/>
              <a:gd name="connsiteY493" fmla="*/ 1874778 h 4722863"/>
              <a:gd name="connsiteX494" fmla="*/ 10006161 w 12356823"/>
              <a:gd name="connsiteY494" fmla="*/ 1874778 h 4722863"/>
              <a:gd name="connsiteX495" fmla="*/ 10030991 w 12356823"/>
              <a:gd name="connsiteY495" fmla="*/ 1871680 h 4722863"/>
              <a:gd name="connsiteX496" fmla="*/ 10176427 w 12356823"/>
              <a:gd name="connsiteY496" fmla="*/ 1784952 h 4722863"/>
              <a:gd name="connsiteX497" fmla="*/ 10247371 w 12356823"/>
              <a:gd name="connsiteY497" fmla="*/ 1719906 h 4722863"/>
              <a:gd name="connsiteX498" fmla="*/ 10293485 w 12356823"/>
              <a:gd name="connsiteY498" fmla="*/ 1648664 h 4722863"/>
              <a:gd name="connsiteX499" fmla="*/ 10300579 w 12356823"/>
              <a:gd name="connsiteY499" fmla="*/ 1639371 h 4722863"/>
              <a:gd name="connsiteX500" fmla="*/ 10311221 w 12356823"/>
              <a:gd name="connsiteY500" fmla="*/ 1626982 h 4722863"/>
              <a:gd name="connsiteX501" fmla="*/ 10343147 w 12356823"/>
              <a:gd name="connsiteY501" fmla="*/ 1614593 h 4722863"/>
              <a:gd name="connsiteX502" fmla="*/ 10431825 w 12356823"/>
              <a:gd name="connsiteY502" fmla="*/ 1586715 h 4722863"/>
              <a:gd name="connsiteX503" fmla="*/ 10524053 w 12356823"/>
              <a:gd name="connsiteY503" fmla="*/ 1549546 h 4722863"/>
              <a:gd name="connsiteX504" fmla="*/ 10563073 w 12356823"/>
              <a:gd name="connsiteY504" fmla="*/ 1521669 h 4722863"/>
              <a:gd name="connsiteX505" fmla="*/ 10591450 w 12356823"/>
              <a:gd name="connsiteY505" fmla="*/ 1481403 h 4722863"/>
              <a:gd name="connsiteX506" fmla="*/ 10598545 w 12356823"/>
              <a:gd name="connsiteY506" fmla="*/ 1472110 h 4722863"/>
              <a:gd name="connsiteX507" fmla="*/ 10609187 w 12356823"/>
              <a:gd name="connsiteY507" fmla="*/ 1465915 h 4722863"/>
              <a:gd name="connsiteX508" fmla="*/ 10637564 w 12356823"/>
              <a:gd name="connsiteY508" fmla="*/ 1456623 h 4722863"/>
              <a:gd name="connsiteX509" fmla="*/ 10697867 w 12356823"/>
              <a:gd name="connsiteY509" fmla="*/ 1456623 h 4722863"/>
              <a:gd name="connsiteX510" fmla="*/ 10719149 w 12356823"/>
              <a:gd name="connsiteY510" fmla="*/ 1462817 h 4722863"/>
              <a:gd name="connsiteX511" fmla="*/ 10729791 w 12356823"/>
              <a:gd name="connsiteY511" fmla="*/ 1465915 h 4722863"/>
              <a:gd name="connsiteX512" fmla="*/ 10733337 w 12356823"/>
              <a:gd name="connsiteY512" fmla="*/ 1472110 h 4722863"/>
              <a:gd name="connsiteX513" fmla="*/ 10733337 w 12356823"/>
              <a:gd name="connsiteY513" fmla="*/ 1475208 h 4722863"/>
              <a:gd name="connsiteX514" fmla="*/ 10733337 w 12356823"/>
              <a:gd name="connsiteY514" fmla="*/ 1478306 h 4722863"/>
              <a:gd name="connsiteX515" fmla="*/ 10729791 w 12356823"/>
              <a:gd name="connsiteY515" fmla="*/ 1481403 h 4722863"/>
              <a:gd name="connsiteX516" fmla="*/ 10726244 w 12356823"/>
              <a:gd name="connsiteY516" fmla="*/ 1484500 h 4722863"/>
              <a:gd name="connsiteX517" fmla="*/ 10697867 w 12356823"/>
              <a:gd name="connsiteY517" fmla="*/ 1496889 h 4722863"/>
              <a:gd name="connsiteX518" fmla="*/ 10651752 w 12356823"/>
              <a:gd name="connsiteY518" fmla="*/ 1521669 h 4722863"/>
              <a:gd name="connsiteX519" fmla="*/ 10644659 w 12356823"/>
              <a:gd name="connsiteY519" fmla="*/ 1524766 h 4722863"/>
              <a:gd name="connsiteX520" fmla="*/ 10644659 w 12356823"/>
              <a:gd name="connsiteY520" fmla="*/ 1530962 h 4722863"/>
              <a:gd name="connsiteX521" fmla="*/ 10644659 w 12356823"/>
              <a:gd name="connsiteY521" fmla="*/ 1540253 h 4722863"/>
              <a:gd name="connsiteX522" fmla="*/ 10665941 w 12356823"/>
              <a:gd name="connsiteY522" fmla="*/ 1605300 h 4722863"/>
              <a:gd name="connsiteX523" fmla="*/ 10665941 w 12356823"/>
              <a:gd name="connsiteY523" fmla="*/ 1620787 h 4722863"/>
              <a:gd name="connsiteX524" fmla="*/ 10669488 w 12356823"/>
              <a:gd name="connsiteY524" fmla="*/ 1626982 h 4722863"/>
              <a:gd name="connsiteX525" fmla="*/ 10673036 w 12356823"/>
              <a:gd name="connsiteY525" fmla="*/ 1626982 h 4722863"/>
              <a:gd name="connsiteX526" fmla="*/ 10673036 w 12356823"/>
              <a:gd name="connsiteY526" fmla="*/ 1620787 h 4722863"/>
              <a:gd name="connsiteX527" fmla="*/ 10683677 w 12356823"/>
              <a:gd name="connsiteY527" fmla="*/ 1611495 h 4722863"/>
              <a:gd name="connsiteX528" fmla="*/ 10704960 w 12356823"/>
              <a:gd name="connsiteY528" fmla="*/ 1577424 h 4722863"/>
              <a:gd name="connsiteX529" fmla="*/ 10747527 w 12356823"/>
              <a:gd name="connsiteY529" fmla="*/ 1546449 h 4722863"/>
              <a:gd name="connsiteX530" fmla="*/ 10811377 w 12356823"/>
              <a:gd name="connsiteY530" fmla="*/ 1540253 h 4722863"/>
              <a:gd name="connsiteX531" fmla="*/ 10864585 w 12356823"/>
              <a:gd name="connsiteY531" fmla="*/ 1561936 h 4722863"/>
              <a:gd name="connsiteX532" fmla="*/ 10914245 w 12356823"/>
              <a:gd name="connsiteY532" fmla="*/ 1571228 h 4722863"/>
              <a:gd name="connsiteX533" fmla="*/ 10939076 w 12356823"/>
              <a:gd name="connsiteY533" fmla="*/ 1561936 h 4722863"/>
              <a:gd name="connsiteX534" fmla="*/ 10971001 w 12356823"/>
              <a:gd name="connsiteY534" fmla="*/ 1537156 h 4722863"/>
              <a:gd name="connsiteX535" fmla="*/ 10974548 w 12356823"/>
              <a:gd name="connsiteY535" fmla="*/ 1534059 h 4722863"/>
              <a:gd name="connsiteX536" fmla="*/ 10978095 w 12356823"/>
              <a:gd name="connsiteY536" fmla="*/ 1530962 h 4722863"/>
              <a:gd name="connsiteX537" fmla="*/ 10992284 w 12356823"/>
              <a:gd name="connsiteY537" fmla="*/ 1530962 h 4722863"/>
              <a:gd name="connsiteX538" fmla="*/ 11013567 w 12356823"/>
              <a:gd name="connsiteY538" fmla="*/ 1537156 h 4722863"/>
              <a:gd name="connsiteX539" fmla="*/ 11031303 w 12356823"/>
              <a:gd name="connsiteY539" fmla="*/ 1552644 h 4722863"/>
              <a:gd name="connsiteX540" fmla="*/ 11034851 w 12356823"/>
              <a:gd name="connsiteY540" fmla="*/ 1558838 h 4722863"/>
              <a:gd name="connsiteX541" fmla="*/ 11031303 w 12356823"/>
              <a:gd name="connsiteY541" fmla="*/ 1561936 h 4722863"/>
              <a:gd name="connsiteX542" fmla="*/ 11031303 w 12356823"/>
              <a:gd name="connsiteY542" fmla="*/ 1565033 h 4722863"/>
              <a:gd name="connsiteX543" fmla="*/ 11024209 w 12356823"/>
              <a:gd name="connsiteY543" fmla="*/ 1571228 h 4722863"/>
              <a:gd name="connsiteX544" fmla="*/ 11010020 w 12356823"/>
              <a:gd name="connsiteY544" fmla="*/ 1577424 h 4722863"/>
              <a:gd name="connsiteX545" fmla="*/ 10971001 w 12356823"/>
              <a:gd name="connsiteY545" fmla="*/ 1599106 h 4722863"/>
              <a:gd name="connsiteX546" fmla="*/ 10924887 w 12356823"/>
              <a:gd name="connsiteY546" fmla="*/ 1620787 h 4722863"/>
              <a:gd name="connsiteX547" fmla="*/ 10985189 w 12356823"/>
              <a:gd name="connsiteY547" fmla="*/ 1611495 h 4722863"/>
              <a:gd name="connsiteX548" fmla="*/ 11006472 w 12356823"/>
              <a:gd name="connsiteY548" fmla="*/ 1614593 h 4722863"/>
              <a:gd name="connsiteX549" fmla="*/ 11006472 w 12356823"/>
              <a:gd name="connsiteY549" fmla="*/ 1617690 h 4722863"/>
              <a:gd name="connsiteX550" fmla="*/ 11002925 w 12356823"/>
              <a:gd name="connsiteY550" fmla="*/ 1620787 h 4722863"/>
              <a:gd name="connsiteX551" fmla="*/ 10995831 w 12356823"/>
              <a:gd name="connsiteY551" fmla="*/ 1623884 h 4722863"/>
              <a:gd name="connsiteX552" fmla="*/ 10988737 w 12356823"/>
              <a:gd name="connsiteY552" fmla="*/ 1626982 h 4722863"/>
              <a:gd name="connsiteX553" fmla="*/ 10978095 w 12356823"/>
              <a:gd name="connsiteY553" fmla="*/ 1633177 h 4722863"/>
              <a:gd name="connsiteX554" fmla="*/ 10946171 w 12356823"/>
              <a:gd name="connsiteY554" fmla="*/ 1642469 h 4722863"/>
              <a:gd name="connsiteX555" fmla="*/ 10850395 w 12356823"/>
              <a:gd name="connsiteY555" fmla="*/ 1673444 h 4722863"/>
              <a:gd name="connsiteX556" fmla="*/ 10719149 w 12356823"/>
              <a:gd name="connsiteY556" fmla="*/ 1723003 h 4722863"/>
              <a:gd name="connsiteX557" fmla="*/ 10715601 w 12356823"/>
              <a:gd name="connsiteY557" fmla="*/ 1726100 h 4722863"/>
              <a:gd name="connsiteX558" fmla="*/ 10719149 w 12356823"/>
              <a:gd name="connsiteY558" fmla="*/ 1763271 h 4722863"/>
              <a:gd name="connsiteX559" fmla="*/ 10726244 w 12356823"/>
              <a:gd name="connsiteY559" fmla="*/ 1760173 h 4722863"/>
              <a:gd name="connsiteX560" fmla="*/ 10743981 w 12356823"/>
              <a:gd name="connsiteY560" fmla="*/ 1744685 h 4722863"/>
              <a:gd name="connsiteX561" fmla="*/ 10889415 w 12356823"/>
              <a:gd name="connsiteY561" fmla="*/ 1698224 h 4722863"/>
              <a:gd name="connsiteX562" fmla="*/ 10953265 w 12356823"/>
              <a:gd name="connsiteY562" fmla="*/ 1704418 h 4722863"/>
              <a:gd name="connsiteX563" fmla="*/ 10978095 w 12356823"/>
              <a:gd name="connsiteY563" fmla="*/ 1716809 h 4722863"/>
              <a:gd name="connsiteX564" fmla="*/ 10988737 w 12356823"/>
              <a:gd name="connsiteY564" fmla="*/ 1741588 h 4722863"/>
              <a:gd name="connsiteX565" fmla="*/ 10988737 w 12356823"/>
              <a:gd name="connsiteY565" fmla="*/ 1757074 h 4722863"/>
              <a:gd name="connsiteX566" fmla="*/ 10978095 w 12356823"/>
              <a:gd name="connsiteY566" fmla="*/ 1772562 h 4722863"/>
              <a:gd name="connsiteX567" fmla="*/ 10946171 w 12356823"/>
              <a:gd name="connsiteY567" fmla="*/ 1803536 h 4722863"/>
              <a:gd name="connsiteX568" fmla="*/ 10836207 w 12356823"/>
              <a:gd name="connsiteY568" fmla="*/ 1862389 h 4722863"/>
              <a:gd name="connsiteX569" fmla="*/ 10715601 w 12356823"/>
              <a:gd name="connsiteY569" fmla="*/ 1924336 h 4722863"/>
              <a:gd name="connsiteX570" fmla="*/ 10634015 w 12356823"/>
              <a:gd name="connsiteY570" fmla="*/ 1973896 h 4722863"/>
              <a:gd name="connsiteX571" fmla="*/ 10321862 w 12356823"/>
              <a:gd name="connsiteY571" fmla="*/ 2187618 h 4722863"/>
              <a:gd name="connsiteX572" fmla="*/ 10247371 w 12356823"/>
              <a:gd name="connsiteY572" fmla="*/ 2246469 h 4722863"/>
              <a:gd name="connsiteX573" fmla="*/ 10187068 w 12356823"/>
              <a:gd name="connsiteY573" fmla="*/ 2286736 h 4722863"/>
              <a:gd name="connsiteX574" fmla="*/ 9977783 w 12356823"/>
              <a:gd name="connsiteY574" fmla="*/ 2407536 h 4722863"/>
              <a:gd name="connsiteX575" fmla="*/ 9374759 w 12356823"/>
              <a:gd name="connsiteY575" fmla="*/ 2707988 h 4722863"/>
              <a:gd name="connsiteX576" fmla="*/ 8874603 w 12356823"/>
              <a:gd name="connsiteY576" fmla="*/ 2943393 h 4722863"/>
              <a:gd name="connsiteX577" fmla="*/ 8661772 w 12356823"/>
              <a:gd name="connsiteY577" fmla="*/ 3491641 h 4722863"/>
              <a:gd name="connsiteX578" fmla="*/ 8743358 w 12356823"/>
              <a:gd name="connsiteY578" fmla="*/ 3795191 h 4722863"/>
              <a:gd name="connsiteX579" fmla="*/ 8693696 w 12356823"/>
              <a:gd name="connsiteY579" fmla="*/ 4132812 h 4722863"/>
              <a:gd name="connsiteX580" fmla="*/ 8605015 w 12356823"/>
              <a:gd name="connsiteY580" fmla="*/ 3816873 h 4722863"/>
              <a:gd name="connsiteX581" fmla="*/ 8597922 w 12356823"/>
              <a:gd name="connsiteY581" fmla="*/ 3497836 h 4722863"/>
              <a:gd name="connsiteX582" fmla="*/ 8594374 w 12356823"/>
              <a:gd name="connsiteY582" fmla="*/ 3333672 h 4722863"/>
              <a:gd name="connsiteX583" fmla="*/ 8420561 w 12356823"/>
              <a:gd name="connsiteY583" fmla="*/ 3126143 h 4722863"/>
              <a:gd name="connsiteX584" fmla="*/ 8260936 w 12356823"/>
              <a:gd name="connsiteY584" fmla="*/ 3200482 h 4722863"/>
              <a:gd name="connsiteX585" fmla="*/ 8268031 w 12356823"/>
              <a:gd name="connsiteY585" fmla="*/ 3305794 h 4722863"/>
              <a:gd name="connsiteX586" fmla="*/ 8225464 w 12356823"/>
              <a:gd name="connsiteY586" fmla="*/ 3358452 h 4722863"/>
              <a:gd name="connsiteX587" fmla="*/ 8236107 w 12356823"/>
              <a:gd name="connsiteY587" fmla="*/ 3271723 h 4722863"/>
              <a:gd name="connsiteX588" fmla="*/ 8133237 w 12356823"/>
              <a:gd name="connsiteY588" fmla="*/ 3194287 h 4722863"/>
              <a:gd name="connsiteX589" fmla="*/ 7867197 w 12356823"/>
              <a:gd name="connsiteY589" fmla="*/ 3414205 h 4722863"/>
              <a:gd name="connsiteX590" fmla="*/ 7923952 w 12356823"/>
              <a:gd name="connsiteY590" fmla="*/ 3689877 h 4722863"/>
              <a:gd name="connsiteX591" fmla="*/ 7860103 w 12356823"/>
              <a:gd name="connsiteY591" fmla="*/ 3711560 h 4722863"/>
              <a:gd name="connsiteX592" fmla="*/ 7856556 w 12356823"/>
              <a:gd name="connsiteY592" fmla="*/ 3423498 h 4722863"/>
              <a:gd name="connsiteX593" fmla="*/ 7668554 w 12356823"/>
              <a:gd name="connsiteY593" fmla="*/ 3302698 h 4722863"/>
              <a:gd name="connsiteX594" fmla="*/ 7530213 w 12356823"/>
              <a:gd name="connsiteY594" fmla="*/ 3600052 h 4722863"/>
              <a:gd name="connsiteX595" fmla="*/ 7590516 w 12356823"/>
              <a:gd name="connsiteY595" fmla="*/ 4420874 h 4722863"/>
              <a:gd name="connsiteX596" fmla="*/ 7491194 w 12356823"/>
              <a:gd name="connsiteY596" fmla="*/ 4718230 h 4722863"/>
              <a:gd name="connsiteX597" fmla="*/ 7448631 w 12356823"/>
              <a:gd name="connsiteY597" fmla="*/ 4380608 h 4722863"/>
              <a:gd name="connsiteX598" fmla="*/ 7416703 w 12356823"/>
              <a:gd name="connsiteY598" fmla="*/ 3336769 h 4722863"/>
              <a:gd name="connsiteX599" fmla="*/ 7221608 w 12356823"/>
              <a:gd name="connsiteY599" fmla="*/ 3457570 h 4722863"/>
              <a:gd name="connsiteX600" fmla="*/ 7242890 w 12356823"/>
              <a:gd name="connsiteY600" fmla="*/ 3807581 h 4722863"/>
              <a:gd name="connsiteX601" fmla="*/ 7207419 w 12356823"/>
              <a:gd name="connsiteY601" fmla="*/ 3863335 h 4722863"/>
              <a:gd name="connsiteX602" fmla="*/ 7171949 w 12356823"/>
              <a:gd name="connsiteY602" fmla="*/ 3689877 h 4722863"/>
              <a:gd name="connsiteX603" fmla="*/ 7207419 w 12356823"/>
              <a:gd name="connsiteY603" fmla="*/ 3479252 h 4722863"/>
              <a:gd name="connsiteX604" fmla="*/ 7072628 w 12356823"/>
              <a:gd name="connsiteY604" fmla="*/ 3311990 h 4722863"/>
              <a:gd name="connsiteX605" fmla="*/ 6842060 w 12356823"/>
              <a:gd name="connsiteY605" fmla="*/ 3318185 h 4722863"/>
              <a:gd name="connsiteX606" fmla="*/ 6735642 w 12356823"/>
              <a:gd name="connsiteY606" fmla="*/ 3392523 h 4722863"/>
              <a:gd name="connsiteX607" fmla="*/ 6590207 w 12356823"/>
              <a:gd name="connsiteY607" fmla="*/ 3420401 h 4722863"/>
              <a:gd name="connsiteX608" fmla="*/ 6547642 w 12356823"/>
              <a:gd name="connsiteY608" fmla="*/ 3253138 h 4722863"/>
              <a:gd name="connsiteX609" fmla="*/ 6175185 w 12356823"/>
              <a:gd name="connsiteY609" fmla="*/ 3315087 h 4722863"/>
              <a:gd name="connsiteX610" fmla="*/ 6235487 w 12356823"/>
              <a:gd name="connsiteY610" fmla="*/ 4018207 h 4722863"/>
              <a:gd name="connsiteX611" fmla="*/ 6200016 w 12356823"/>
              <a:gd name="connsiteY611" fmla="*/ 4374414 h 4722863"/>
              <a:gd name="connsiteX612" fmla="*/ 6153902 w 12356823"/>
              <a:gd name="connsiteY612" fmla="*/ 4021304 h 4722863"/>
              <a:gd name="connsiteX613" fmla="*/ 6125525 w 12356823"/>
              <a:gd name="connsiteY613" fmla="*/ 3377036 h 4722863"/>
              <a:gd name="connsiteX614" fmla="*/ 5957656 w 12356823"/>
              <a:gd name="connsiteY614" fmla="*/ 3210276 h 4722863"/>
              <a:gd name="connsiteX615" fmla="*/ 5940846 w 12356823"/>
              <a:gd name="connsiteY615" fmla="*/ 3207361 h 4722863"/>
              <a:gd name="connsiteX616" fmla="*/ 5943892 w 12356823"/>
              <a:gd name="connsiteY616" fmla="*/ 3224189 h 4722863"/>
              <a:gd name="connsiteX617" fmla="*/ 5994772 w 12356823"/>
              <a:gd name="connsiteY617" fmla="*/ 3491641 h 4722863"/>
              <a:gd name="connsiteX618" fmla="*/ 6076358 w 12356823"/>
              <a:gd name="connsiteY618" fmla="*/ 3795191 h 4722863"/>
              <a:gd name="connsiteX619" fmla="*/ 6026696 w 12356823"/>
              <a:gd name="connsiteY619" fmla="*/ 4132812 h 4722863"/>
              <a:gd name="connsiteX620" fmla="*/ 5938015 w 12356823"/>
              <a:gd name="connsiteY620" fmla="*/ 3816873 h 4722863"/>
              <a:gd name="connsiteX621" fmla="*/ 5930922 w 12356823"/>
              <a:gd name="connsiteY621" fmla="*/ 3497836 h 4722863"/>
              <a:gd name="connsiteX622" fmla="*/ 5927375 w 12356823"/>
              <a:gd name="connsiteY622" fmla="*/ 3333672 h 4722863"/>
              <a:gd name="connsiteX623" fmla="*/ 5926307 w 12356823"/>
              <a:gd name="connsiteY623" fmla="*/ 3252467 h 4722863"/>
              <a:gd name="connsiteX624" fmla="*/ 5926192 w 12356823"/>
              <a:gd name="connsiteY624" fmla="*/ 3204820 h 4722863"/>
              <a:gd name="connsiteX625" fmla="*/ 5907039 w 12356823"/>
              <a:gd name="connsiteY625" fmla="*/ 3201498 h 4722863"/>
              <a:gd name="connsiteX626" fmla="*/ 5813370 w 12356823"/>
              <a:gd name="connsiteY626" fmla="*/ 3203579 h 4722863"/>
              <a:gd name="connsiteX627" fmla="*/ 5710675 w 12356823"/>
              <a:gd name="connsiteY627" fmla="*/ 3141945 h 4722863"/>
              <a:gd name="connsiteX628" fmla="*/ 5708138 w 12356823"/>
              <a:gd name="connsiteY628" fmla="*/ 3139837 h 4722863"/>
              <a:gd name="connsiteX629" fmla="*/ 5697693 w 12356823"/>
              <a:gd name="connsiteY629" fmla="*/ 3142986 h 4722863"/>
              <a:gd name="connsiteX630" fmla="*/ 5593936 w 12356823"/>
              <a:gd name="connsiteY630" fmla="*/ 3200482 h 4722863"/>
              <a:gd name="connsiteX631" fmla="*/ 5601031 w 12356823"/>
              <a:gd name="connsiteY631" fmla="*/ 3305794 h 4722863"/>
              <a:gd name="connsiteX632" fmla="*/ 5558464 w 12356823"/>
              <a:gd name="connsiteY632" fmla="*/ 3358452 h 4722863"/>
              <a:gd name="connsiteX633" fmla="*/ 5569108 w 12356823"/>
              <a:gd name="connsiteY633" fmla="*/ 3271723 h 4722863"/>
              <a:gd name="connsiteX634" fmla="*/ 5466237 w 12356823"/>
              <a:gd name="connsiteY634" fmla="*/ 3194287 h 4722863"/>
              <a:gd name="connsiteX635" fmla="*/ 5200198 w 12356823"/>
              <a:gd name="connsiteY635" fmla="*/ 3414205 h 4722863"/>
              <a:gd name="connsiteX636" fmla="*/ 5256952 w 12356823"/>
              <a:gd name="connsiteY636" fmla="*/ 3689877 h 4722863"/>
              <a:gd name="connsiteX637" fmla="*/ 5193104 w 12356823"/>
              <a:gd name="connsiteY637" fmla="*/ 3711560 h 4722863"/>
              <a:gd name="connsiteX638" fmla="*/ 5189556 w 12356823"/>
              <a:gd name="connsiteY638" fmla="*/ 3423498 h 4722863"/>
              <a:gd name="connsiteX639" fmla="*/ 5001554 w 12356823"/>
              <a:gd name="connsiteY639" fmla="*/ 3302698 h 4722863"/>
              <a:gd name="connsiteX640" fmla="*/ 4863213 w 12356823"/>
              <a:gd name="connsiteY640" fmla="*/ 3600052 h 4722863"/>
              <a:gd name="connsiteX641" fmla="*/ 4923516 w 12356823"/>
              <a:gd name="connsiteY641" fmla="*/ 4420874 h 4722863"/>
              <a:gd name="connsiteX642" fmla="*/ 4824194 w 12356823"/>
              <a:gd name="connsiteY642" fmla="*/ 4718230 h 4722863"/>
              <a:gd name="connsiteX643" fmla="*/ 4781631 w 12356823"/>
              <a:gd name="connsiteY643" fmla="*/ 4380608 h 4722863"/>
              <a:gd name="connsiteX644" fmla="*/ 4749704 w 12356823"/>
              <a:gd name="connsiteY644" fmla="*/ 3336769 h 4722863"/>
              <a:gd name="connsiteX645" fmla="*/ 4554608 w 12356823"/>
              <a:gd name="connsiteY645" fmla="*/ 3457570 h 4722863"/>
              <a:gd name="connsiteX646" fmla="*/ 4575890 w 12356823"/>
              <a:gd name="connsiteY646" fmla="*/ 3807581 h 4722863"/>
              <a:gd name="connsiteX647" fmla="*/ 4540419 w 12356823"/>
              <a:gd name="connsiteY647" fmla="*/ 3863335 h 4722863"/>
              <a:gd name="connsiteX648" fmla="*/ 4504949 w 12356823"/>
              <a:gd name="connsiteY648" fmla="*/ 3689877 h 4722863"/>
              <a:gd name="connsiteX649" fmla="*/ 4540419 w 12356823"/>
              <a:gd name="connsiteY649" fmla="*/ 3479252 h 4722863"/>
              <a:gd name="connsiteX650" fmla="*/ 4405628 w 12356823"/>
              <a:gd name="connsiteY650" fmla="*/ 3311990 h 4722863"/>
              <a:gd name="connsiteX651" fmla="*/ 4175060 w 12356823"/>
              <a:gd name="connsiteY651" fmla="*/ 3318185 h 4722863"/>
              <a:gd name="connsiteX652" fmla="*/ 4068642 w 12356823"/>
              <a:gd name="connsiteY652" fmla="*/ 3392523 h 4722863"/>
              <a:gd name="connsiteX653" fmla="*/ 3923207 w 12356823"/>
              <a:gd name="connsiteY653" fmla="*/ 3420401 h 4722863"/>
              <a:gd name="connsiteX654" fmla="*/ 3880642 w 12356823"/>
              <a:gd name="connsiteY654" fmla="*/ 3253138 h 4722863"/>
              <a:gd name="connsiteX655" fmla="*/ 3508185 w 12356823"/>
              <a:gd name="connsiteY655" fmla="*/ 3315087 h 4722863"/>
              <a:gd name="connsiteX656" fmla="*/ 3568487 w 12356823"/>
              <a:gd name="connsiteY656" fmla="*/ 4018207 h 4722863"/>
              <a:gd name="connsiteX657" fmla="*/ 3533016 w 12356823"/>
              <a:gd name="connsiteY657" fmla="*/ 4374414 h 4722863"/>
              <a:gd name="connsiteX658" fmla="*/ 3486901 w 12356823"/>
              <a:gd name="connsiteY658" fmla="*/ 4021304 h 4722863"/>
              <a:gd name="connsiteX659" fmla="*/ 3458525 w 12356823"/>
              <a:gd name="connsiteY659" fmla="*/ 3377036 h 4722863"/>
              <a:gd name="connsiteX660" fmla="*/ 3146370 w 12356823"/>
              <a:gd name="connsiteY660" fmla="*/ 3203579 h 4722863"/>
              <a:gd name="connsiteX661" fmla="*/ 2688781 w 12356823"/>
              <a:gd name="connsiteY661" fmla="*/ 3098266 h 4722863"/>
              <a:gd name="connsiteX662" fmla="*/ 2649762 w 12356823"/>
              <a:gd name="connsiteY662" fmla="*/ 3119949 h 4722863"/>
              <a:gd name="connsiteX663" fmla="*/ 2646214 w 12356823"/>
              <a:gd name="connsiteY663" fmla="*/ 3123045 h 4722863"/>
              <a:gd name="connsiteX664" fmla="*/ 2639120 w 12356823"/>
              <a:gd name="connsiteY664" fmla="*/ 3129240 h 4722863"/>
              <a:gd name="connsiteX665" fmla="*/ 2628478 w 12356823"/>
              <a:gd name="connsiteY665" fmla="*/ 3132338 h 4722863"/>
              <a:gd name="connsiteX666" fmla="*/ 2610741 w 12356823"/>
              <a:gd name="connsiteY666" fmla="*/ 3129240 h 4722863"/>
              <a:gd name="connsiteX667" fmla="*/ 2593008 w 12356823"/>
              <a:gd name="connsiteY667" fmla="*/ 3123045 h 4722863"/>
              <a:gd name="connsiteX668" fmla="*/ 2536251 w 12356823"/>
              <a:gd name="connsiteY668" fmla="*/ 3088974 h 4722863"/>
              <a:gd name="connsiteX669" fmla="*/ 2468854 w 12356823"/>
              <a:gd name="connsiteY669" fmla="*/ 3070389 h 4722863"/>
              <a:gd name="connsiteX670" fmla="*/ 2419195 w 12356823"/>
              <a:gd name="connsiteY670" fmla="*/ 3079682 h 4722863"/>
              <a:gd name="connsiteX671" fmla="*/ 2369533 w 12356823"/>
              <a:gd name="connsiteY671" fmla="*/ 3092071 h 4722863"/>
              <a:gd name="connsiteX672" fmla="*/ 2309230 w 12356823"/>
              <a:gd name="connsiteY672" fmla="*/ 3085876 h 4722863"/>
              <a:gd name="connsiteX673" fmla="*/ 2224098 w 12356823"/>
              <a:gd name="connsiteY673" fmla="*/ 3058000 h 4722863"/>
              <a:gd name="connsiteX674" fmla="*/ 2153153 w 12356823"/>
              <a:gd name="connsiteY674" fmla="*/ 3020829 h 4722863"/>
              <a:gd name="connsiteX675" fmla="*/ 2075114 w 12356823"/>
              <a:gd name="connsiteY675" fmla="*/ 2955784 h 4722863"/>
              <a:gd name="connsiteX676" fmla="*/ 2046737 w 12356823"/>
              <a:gd name="connsiteY676" fmla="*/ 2918615 h 4722863"/>
              <a:gd name="connsiteX677" fmla="*/ 2025454 w 12356823"/>
              <a:gd name="connsiteY677" fmla="*/ 2884542 h 4722863"/>
              <a:gd name="connsiteX678" fmla="*/ 2029001 w 12356823"/>
              <a:gd name="connsiteY678" fmla="*/ 2856666 h 4722863"/>
              <a:gd name="connsiteX679" fmla="*/ 2053832 w 12356823"/>
              <a:gd name="connsiteY679" fmla="*/ 2838080 h 4722863"/>
              <a:gd name="connsiteX680" fmla="*/ 2078662 w 12356823"/>
              <a:gd name="connsiteY680" fmla="*/ 2841178 h 4722863"/>
              <a:gd name="connsiteX681" fmla="*/ 2110587 w 12356823"/>
              <a:gd name="connsiteY681" fmla="*/ 2853568 h 4722863"/>
              <a:gd name="connsiteX682" fmla="*/ 2174436 w 12356823"/>
              <a:gd name="connsiteY682" fmla="*/ 2878347 h 4722863"/>
              <a:gd name="connsiteX683" fmla="*/ 2177984 w 12356823"/>
              <a:gd name="connsiteY683" fmla="*/ 2878347 h 4722863"/>
              <a:gd name="connsiteX684" fmla="*/ 2177984 w 12356823"/>
              <a:gd name="connsiteY684" fmla="*/ 2875250 h 4722863"/>
              <a:gd name="connsiteX685" fmla="*/ 2177984 w 12356823"/>
              <a:gd name="connsiteY685" fmla="*/ 2862860 h 4722863"/>
              <a:gd name="connsiteX686" fmla="*/ 2160248 w 12356823"/>
              <a:gd name="connsiteY686" fmla="*/ 2828788 h 4722863"/>
              <a:gd name="connsiteX687" fmla="*/ 2160248 w 12356823"/>
              <a:gd name="connsiteY687" fmla="*/ 2813302 h 4722863"/>
              <a:gd name="connsiteX688" fmla="*/ 2160248 w 12356823"/>
              <a:gd name="connsiteY688" fmla="*/ 2807106 h 4722863"/>
              <a:gd name="connsiteX689" fmla="*/ 2163795 w 12356823"/>
              <a:gd name="connsiteY689" fmla="*/ 2804009 h 4722863"/>
              <a:gd name="connsiteX690" fmla="*/ 2167343 w 12356823"/>
              <a:gd name="connsiteY690" fmla="*/ 2804009 h 4722863"/>
              <a:gd name="connsiteX691" fmla="*/ 2181531 w 12356823"/>
              <a:gd name="connsiteY691" fmla="*/ 2807106 h 4722863"/>
              <a:gd name="connsiteX692" fmla="*/ 2213456 w 12356823"/>
              <a:gd name="connsiteY692" fmla="*/ 2825691 h 4722863"/>
              <a:gd name="connsiteX693" fmla="*/ 2334061 w 12356823"/>
              <a:gd name="connsiteY693" fmla="*/ 2872153 h 4722863"/>
              <a:gd name="connsiteX694" fmla="*/ 2497231 w 12356823"/>
              <a:gd name="connsiteY694" fmla="*/ 2896933 h 4722863"/>
              <a:gd name="connsiteX695" fmla="*/ 2653309 w 12356823"/>
              <a:gd name="connsiteY695" fmla="*/ 2896933 h 4722863"/>
              <a:gd name="connsiteX696" fmla="*/ 2713612 w 12356823"/>
              <a:gd name="connsiteY696" fmla="*/ 2887640 h 4722863"/>
              <a:gd name="connsiteX697" fmla="*/ 2749083 w 12356823"/>
              <a:gd name="connsiteY697" fmla="*/ 2865958 h 4722863"/>
              <a:gd name="connsiteX698" fmla="*/ 2756178 w 12356823"/>
              <a:gd name="connsiteY698" fmla="*/ 2865958 h 4722863"/>
              <a:gd name="connsiteX699" fmla="*/ 2763272 w 12356823"/>
              <a:gd name="connsiteY699" fmla="*/ 2865958 h 4722863"/>
              <a:gd name="connsiteX700" fmla="*/ 2781010 w 12356823"/>
              <a:gd name="connsiteY700" fmla="*/ 2862860 h 4722863"/>
              <a:gd name="connsiteX701" fmla="*/ 2827123 w 12356823"/>
              <a:gd name="connsiteY701" fmla="*/ 2862860 h 4722863"/>
              <a:gd name="connsiteX702" fmla="*/ 2841310 w 12356823"/>
              <a:gd name="connsiteY702" fmla="*/ 2862860 h 4722863"/>
              <a:gd name="connsiteX703" fmla="*/ 2848406 w 12356823"/>
              <a:gd name="connsiteY703" fmla="*/ 2859762 h 4722863"/>
              <a:gd name="connsiteX704" fmla="*/ 2848406 w 12356823"/>
              <a:gd name="connsiteY704" fmla="*/ 2856666 h 4722863"/>
              <a:gd name="connsiteX705" fmla="*/ 2635573 w 12356823"/>
              <a:gd name="connsiteY705" fmla="*/ 2831886 h 4722863"/>
              <a:gd name="connsiteX706" fmla="*/ 2486591 w 12356823"/>
              <a:gd name="connsiteY706" fmla="*/ 2810204 h 4722863"/>
              <a:gd name="connsiteX707" fmla="*/ 2419195 w 12356823"/>
              <a:gd name="connsiteY707" fmla="*/ 2841178 h 4722863"/>
              <a:gd name="connsiteX708" fmla="*/ 2408552 w 12356823"/>
              <a:gd name="connsiteY708" fmla="*/ 2844275 h 4722863"/>
              <a:gd name="connsiteX709" fmla="*/ 2390816 w 12356823"/>
              <a:gd name="connsiteY709" fmla="*/ 2844275 h 4722863"/>
              <a:gd name="connsiteX710" fmla="*/ 2341156 w 12356823"/>
              <a:gd name="connsiteY710" fmla="*/ 2834984 h 4722863"/>
              <a:gd name="connsiteX711" fmla="*/ 2220550 w 12356823"/>
              <a:gd name="connsiteY711" fmla="*/ 2782326 h 4722863"/>
              <a:gd name="connsiteX712" fmla="*/ 2124776 w 12356823"/>
              <a:gd name="connsiteY712" fmla="*/ 2742060 h 4722863"/>
              <a:gd name="connsiteX713" fmla="*/ 2046737 w 12356823"/>
              <a:gd name="connsiteY713" fmla="*/ 2726573 h 4722863"/>
              <a:gd name="connsiteX714" fmla="*/ 2032549 w 12356823"/>
              <a:gd name="connsiteY714" fmla="*/ 2726573 h 4722863"/>
              <a:gd name="connsiteX715" fmla="*/ 1986435 w 12356823"/>
              <a:gd name="connsiteY715" fmla="*/ 2742060 h 4722863"/>
              <a:gd name="connsiteX716" fmla="*/ 1975793 w 12356823"/>
              <a:gd name="connsiteY716" fmla="*/ 2745157 h 4722863"/>
              <a:gd name="connsiteX717" fmla="*/ 1958056 w 12356823"/>
              <a:gd name="connsiteY717" fmla="*/ 2745157 h 4722863"/>
              <a:gd name="connsiteX718" fmla="*/ 1926132 w 12356823"/>
              <a:gd name="connsiteY718" fmla="*/ 2729670 h 4722863"/>
              <a:gd name="connsiteX719" fmla="*/ 1855188 w 12356823"/>
              <a:gd name="connsiteY719" fmla="*/ 2683208 h 4722863"/>
              <a:gd name="connsiteX720" fmla="*/ 961291 w 12356823"/>
              <a:gd name="connsiteY720" fmla="*/ 2419926 h 4722863"/>
              <a:gd name="connsiteX721" fmla="*/ 634950 w 12356823"/>
              <a:gd name="connsiteY721" fmla="*/ 2320807 h 4722863"/>
              <a:gd name="connsiteX722" fmla="*/ 546269 w 12356823"/>
              <a:gd name="connsiteY722" fmla="*/ 2283638 h 4722863"/>
              <a:gd name="connsiteX723" fmla="*/ 478873 w 12356823"/>
              <a:gd name="connsiteY723" fmla="*/ 2246469 h 4722863"/>
              <a:gd name="connsiteX724" fmla="*/ 432760 w 12356823"/>
              <a:gd name="connsiteY724" fmla="*/ 2206202 h 4722863"/>
              <a:gd name="connsiteX725" fmla="*/ 429212 w 12356823"/>
              <a:gd name="connsiteY725" fmla="*/ 2165936 h 4722863"/>
              <a:gd name="connsiteX726" fmla="*/ 432760 w 12356823"/>
              <a:gd name="connsiteY726" fmla="*/ 2165936 h 4722863"/>
              <a:gd name="connsiteX727" fmla="*/ 439853 w 12356823"/>
              <a:gd name="connsiteY727" fmla="*/ 2165936 h 4722863"/>
              <a:gd name="connsiteX728" fmla="*/ 468231 w 12356823"/>
              <a:gd name="connsiteY728" fmla="*/ 2169032 h 4722863"/>
              <a:gd name="connsiteX729" fmla="*/ 560458 w 12356823"/>
              <a:gd name="connsiteY729" fmla="*/ 2187618 h 4722863"/>
              <a:gd name="connsiteX730" fmla="*/ 833592 w 12356823"/>
              <a:gd name="connsiteY730" fmla="*/ 2252663 h 4722863"/>
              <a:gd name="connsiteX731" fmla="*/ 1216692 w 12356823"/>
              <a:gd name="connsiteY731" fmla="*/ 2330100 h 4722863"/>
              <a:gd name="connsiteX732" fmla="*/ 553364 w 12356823"/>
              <a:gd name="connsiteY732" fmla="*/ 2125669 h 4722863"/>
              <a:gd name="connsiteX733" fmla="*/ 372457 w 12356823"/>
              <a:gd name="connsiteY733" fmla="*/ 2066818 h 4722863"/>
              <a:gd name="connsiteX734" fmla="*/ 340531 w 12356823"/>
              <a:gd name="connsiteY734" fmla="*/ 2054430 h 4722863"/>
              <a:gd name="connsiteX735" fmla="*/ 315702 w 12356823"/>
              <a:gd name="connsiteY735" fmla="*/ 2032747 h 4722863"/>
              <a:gd name="connsiteX736" fmla="*/ 297966 w 12356823"/>
              <a:gd name="connsiteY736" fmla="*/ 2004870 h 4722863"/>
              <a:gd name="connsiteX737" fmla="*/ 276681 w 12356823"/>
              <a:gd name="connsiteY737" fmla="*/ 1964603 h 4722863"/>
              <a:gd name="connsiteX738" fmla="*/ 280230 w 12356823"/>
              <a:gd name="connsiteY738" fmla="*/ 1952214 h 4722863"/>
              <a:gd name="connsiteX739" fmla="*/ 287324 w 12356823"/>
              <a:gd name="connsiteY739" fmla="*/ 1949116 h 4722863"/>
              <a:gd name="connsiteX740" fmla="*/ 329890 w 12356823"/>
              <a:gd name="connsiteY740" fmla="*/ 1949116 h 4722863"/>
              <a:gd name="connsiteX741" fmla="*/ 450494 w 12356823"/>
              <a:gd name="connsiteY741" fmla="*/ 1986285 h 4722863"/>
              <a:gd name="connsiteX742" fmla="*/ 539175 w 12356823"/>
              <a:gd name="connsiteY742" fmla="*/ 2014163 h 4722863"/>
              <a:gd name="connsiteX743" fmla="*/ 542722 w 12356823"/>
              <a:gd name="connsiteY743" fmla="*/ 2014163 h 4722863"/>
              <a:gd name="connsiteX744" fmla="*/ 542722 w 12356823"/>
              <a:gd name="connsiteY744" fmla="*/ 2011065 h 4722863"/>
              <a:gd name="connsiteX745" fmla="*/ 539175 w 12356823"/>
              <a:gd name="connsiteY745" fmla="*/ 2011065 h 4722863"/>
              <a:gd name="connsiteX746" fmla="*/ 535628 w 12356823"/>
              <a:gd name="connsiteY746" fmla="*/ 2007968 h 4722863"/>
              <a:gd name="connsiteX747" fmla="*/ 485967 w 12356823"/>
              <a:gd name="connsiteY747" fmla="*/ 1980091 h 4722863"/>
              <a:gd name="connsiteX748" fmla="*/ 454043 w 12356823"/>
              <a:gd name="connsiteY748" fmla="*/ 1961507 h 4722863"/>
              <a:gd name="connsiteX749" fmla="*/ 443401 w 12356823"/>
              <a:gd name="connsiteY749" fmla="*/ 1952214 h 4722863"/>
              <a:gd name="connsiteX750" fmla="*/ 439853 w 12356823"/>
              <a:gd name="connsiteY750" fmla="*/ 1946019 h 4722863"/>
              <a:gd name="connsiteX751" fmla="*/ 439853 w 12356823"/>
              <a:gd name="connsiteY751" fmla="*/ 1936727 h 4722863"/>
              <a:gd name="connsiteX752" fmla="*/ 454043 w 12356823"/>
              <a:gd name="connsiteY752" fmla="*/ 1933629 h 4722863"/>
              <a:gd name="connsiteX753" fmla="*/ 546269 w 12356823"/>
              <a:gd name="connsiteY753" fmla="*/ 1936727 h 4722863"/>
              <a:gd name="connsiteX754" fmla="*/ 815856 w 12356823"/>
              <a:gd name="connsiteY754" fmla="*/ 1983189 h 4722863"/>
              <a:gd name="connsiteX755" fmla="*/ 808763 w 12356823"/>
              <a:gd name="connsiteY755" fmla="*/ 1976994 h 4722863"/>
              <a:gd name="connsiteX756" fmla="*/ 762649 w 12356823"/>
              <a:gd name="connsiteY756" fmla="*/ 1949116 h 4722863"/>
              <a:gd name="connsiteX757" fmla="*/ 730724 w 12356823"/>
              <a:gd name="connsiteY757" fmla="*/ 1952214 h 4722863"/>
              <a:gd name="connsiteX758" fmla="*/ 698800 w 12356823"/>
              <a:gd name="connsiteY758" fmla="*/ 1958409 h 4722863"/>
              <a:gd name="connsiteX759" fmla="*/ 656233 w 12356823"/>
              <a:gd name="connsiteY759" fmla="*/ 1942922 h 4722863"/>
              <a:gd name="connsiteX760" fmla="*/ 595930 w 12356823"/>
              <a:gd name="connsiteY760" fmla="*/ 1902655 h 4722863"/>
              <a:gd name="connsiteX761" fmla="*/ 546269 w 12356823"/>
              <a:gd name="connsiteY761" fmla="*/ 1856193 h 4722863"/>
              <a:gd name="connsiteX762" fmla="*/ 485967 w 12356823"/>
              <a:gd name="connsiteY762" fmla="*/ 1772562 h 4722863"/>
              <a:gd name="connsiteX763" fmla="*/ 464684 w 12356823"/>
              <a:gd name="connsiteY763" fmla="*/ 1723003 h 4722863"/>
              <a:gd name="connsiteX764" fmla="*/ 446948 w 12356823"/>
              <a:gd name="connsiteY764" fmla="*/ 1682736 h 4722863"/>
              <a:gd name="connsiteX765" fmla="*/ 446948 w 12356823"/>
              <a:gd name="connsiteY765" fmla="*/ 1651762 h 4722863"/>
              <a:gd name="connsiteX766" fmla="*/ 464684 w 12356823"/>
              <a:gd name="connsiteY766" fmla="*/ 1636275 h 4722863"/>
              <a:gd name="connsiteX767" fmla="*/ 478873 w 12356823"/>
              <a:gd name="connsiteY767" fmla="*/ 1642469 h 4722863"/>
              <a:gd name="connsiteX768" fmla="*/ 503703 w 12356823"/>
              <a:gd name="connsiteY768" fmla="*/ 1657957 h 4722863"/>
              <a:gd name="connsiteX769" fmla="*/ 546269 w 12356823"/>
              <a:gd name="connsiteY769" fmla="*/ 1695126 h 4722863"/>
              <a:gd name="connsiteX770" fmla="*/ 549816 w 12356823"/>
              <a:gd name="connsiteY770" fmla="*/ 1695126 h 4722863"/>
              <a:gd name="connsiteX771" fmla="*/ 549816 w 12356823"/>
              <a:gd name="connsiteY771" fmla="*/ 1679639 h 4722863"/>
              <a:gd name="connsiteX772" fmla="*/ 535628 w 12356823"/>
              <a:gd name="connsiteY772" fmla="*/ 1636275 h 4722863"/>
              <a:gd name="connsiteX773" fmla="*/ 532080 w 12356823"/>
              <a:gd name="connsiteY773" fmla="*/ 1620787 h 4722863"/>
              <a:gd name="connsiteX774" fmla="*/ 532080 w 12356823"/>
              <a:gd name="connsiteY774" fmla="*/ 1614593 h 4722863"/>
              <a:gd name="connsiteX775" fmla="*/ 535628 w 12356823"/>
              <a:gd name="connsiteY775" fmla="*/ 1611495 h 4722863"/>
              <a:gd name="connsiteX776" fmla="*/ 539175 w 12356823"/>
              <a:gd name="connsiteY776" fmla="*/ 1611495 h 4722863"/>
              <a:gd name="connsiteX777" fmla="*/ 546269 w 12356823"/>
              <a:gd name="connsiteY777" fmla="*/ 1614593 h 4722863"/>
              <a:gd name="connsiteX778" fmla="*/ 571100 w 12356823"/>
              <a:gd name="connsiteY778" fmla="*/ 1642469 h 4722863"/>
              <a:gd name="connsiteX779" fmla="*/ 656233 w 12356823"/>
              <a:gd name="connsiteY779" fmla="*/ 1704418 h 4722863"/>
              <a:gd name="connsiteX780" fmla="*/ 766196 w 12356823"/>
              <a:gd name="connsiteY780" fmla="*/ 1750880 h 4722863"/>
              <a:gd name="connsiteX781" fmla="*/ 872613 w 12356823"/>
              <a:gd name="connsiteY781" fmla="*/ 1766367 h 4722863"/>
              <a:gd name="connsiteX782" fmla="*/ 911631 w 12356823"/>
              <a:gd name="connsiteY782" fmla="*/ 1760173 h 4722863"/>
              <a:gd name="connsiteX783" fmla="*/ 932914 w 12356823"/>
              <a:gd name="connsiteY783" fmla="*/ 1741588 h 4722863"/>
              <a:gd name="connsiteX784" fmla="*/ 936462 w 12356823"/>
              <a:gd name="connsiteY784" fmla="*/ 1738491 h 4722863"/>
              <a:gd name="connsiteX785" fmla="*/ 940009 w 12356823"/>
              <a:gd name="connsiteY785" fmla="*/ 1738491 h 4722863"/>
              <a:gd name="connsiteX786" fmla="*/ 954198 w 12356823"/>
              <a:gd name="connsiteY786" fmla="*/ 1738491 h 4722863"/>
              <a:gd name="connsiteX787" fmla="*/ 982576 w 12356823"/>
              <a:gd name="connsiteY787" fmla="*/ 1744685 h 4722863"/>
              <a:gd name="connsiteX788" fmla="*/ 996764 w 12356823"/>
              <a:gd name="connsiteY788" fmla="*/ 1744685 h 4722863"/>
              <a:gd name="connsiteX789" fmla="*/ 996764 w 12356823"/>
              <a:gd name="connsiteY789" fmla="*/ 1741588 h 4722863"/>
              <a:gd name="connsiteX790" fmla="*/ 996764 w 12356823"/>
              <a:gd name="connsiteY790" fmla="*/ 1738491 h 4722863"/>
              <a:gd name="connsiteX791" fmla="*/ 996764 w 12356823"/>
              <a:gd name="connsiteY791" fmla="*/ 1735393 h 4722863"/>
              <a:gd name="connsiteX792" fmla="*/ 989670 w 12356823"/>
              <a:gd name="connsiteY792" fmla="*/ 1729198 h 4722863"/>
              <a:gd name="connsiteX793" fmla="*/ 968386 w 12356823"/>
              <a:gd name="connsiteY793" fmla="*/ 1710613 h 4722863"/>
              <a:gd name="connsiteX794" fmla="*/ 826499 w 12356823"/>
              <a:gd name="connsiteY794" fmla="*/ 1648664 h 4722863"/>
              <a:gd name="connsiteX795" fmla="*/ 755554 w 12356823"/>
              <a:gd name="connsiteY795" fmla="*/ 1648664 h 4722863"/>
              <a:gd name="connsiteX796" fmla="*/ 709441 w 12356823"/>
              <a:gd name="connsiteY796" fmla="*/ 1676542 h 4722863"/>
              <a:gd name="connsiteX797" fmla="*/ 702346 w 12356823"/>
              <a:gd name="connsiteY797" fmla="*/ 1682736 h 4722863"/>
              <a:gd name="connsiteX798" fmla="*/ 688158 w 12356823"/>
              <a:gd name="connsiteY798" fmla="*/ 1682736 h 4722863"/>
              <a:gd name="connsiteX799" fmla="*/ 659779 w 12356823"/>
              <a:gd name="connsiteY799" fmla="*/ 1664151 h 4722863"/>
              <a:gd name="connsiteX800" fmla="*/ 574647 w 12356823"/>
              <a:gd name="connsiteY800" fmla="*/ 1589813 h 4722863"/>
              <a:gd name="connsiteX801" fmla="*/ 482420 w 12356823"/>
              <a:gd name="connsiteY801" fmla="*/ 1521669 h 4722863"/>
              <a:gd name="connsiteX802" fmla="*/ 439853 w 12356823"/>
              <a:gd name="connsiteY802" fmla="*/ 1509279 h 4722863"/>
              <a:gd name="connsiteX803" fmla="*/ 411476 w 12356823"/>
              <a:gd name="connsiteY803" fmla="*/ 1518571 h 4722863"/>
              <a:gd name="connsiteX804" fmla="*/ 404381 w 12356823"/>
              <a:gd name="connsiteY804" fmla="*/ 1521669 h 4722863"/>
              <a:gd name="connsiteX805" fmla="*/ 393740 w 12356823"/>
              <a:gd name="connsiteY805" fmla="*/ 1518571 h 4722863"/>
              <a:gd name="connsiteX806" fmla="*/ 368909 w 12356823"/>
              <a:gd name="connsiteY806" fmla="*/ 1496889 h 4722863"/>
              <a:gd name="connsiteX807" fmla="*/ 308607 w 12356823"/>
              <a:gd name="connsiteY807" fmla="*/ 1422551 h 4722863"/>
              <a:gd name="connsiteX808" fmla="*/ 290871 w 12356823"/>
              <a:gd name="connsiteY808" fmla="*/ 1385382 h 4722863"/>
              <a:gd name="connsiteX809" fmla="*/ 283776 w 12356823"/>
              <a:gd name="connsiteY809" fmla="*/ 1369895 h 4722863"/>
              <a:gd name="connsiteX810" fmla="*/ 276681 w 12356823"/>
              <a:gd name="connsiteY810" fmla="*/ 1357504 h 4722863"/>
              <a:gd name="connsiteX811" fmla="*/ 276681 w 12356823"/>
              <a:gd name="connsiteY811" fmla="*/ 1354408 h 4722863"/>
              <a:gd name="connsiteX812" fmla="*/ 280230 w 12356823"/>
              <a:gd name="connsiteY812" fmla="*/ 1351310 h 4722863"/>
              <a:gd name="connsiteX813" fmla="*/ 280230 w 12356823"/>
              <a:gd name="connsiteY813" fmla="*/ 1348212 h 4722863"/>
              <a:gd name="connsiteX814" fmla="*/ 283776 w 12356823"/>
              <a:gd name="connsiteY814" fmla="*/ 1348212 h 4722863"/>
              <a:gd name="connsiteX815" fmla="*/ 308607 w 12356823"/>
              <a:gd name="connsiteY815" fmla="*/ 1366797 h 4722863"/>
              <a:gd name="connsiteX816" fmla="*/ 358267 w 12356823"/>
              <a:gd name="connsiteY816" fmla="*/ 1400869 h 4722863"/>
              <a:gd name="connsiteX817" fmla="*/ 361815 w 12356823"/>
              <a:gd name="connsiteY817" fmla="*/ 1400869 h 4722863"/>
              <a:gd name="connsiteX818" fmla="*/ 365362 w 12356823"/>
              <a:gd name="connsiteY818" fmla="*/ 1397771 h 4722863"/>
              <a:gd name="connsiteX819" fmla="*/ 368909 w 12356823"/>
              <a:gd name="connsiteY819" fmla="*/ 1385382 h 4722863"/>
              <a:gd name="connsiteX820" fmla="*/ 351174 w 12356823"/>
              <a:gd name="connsiteY820" fmla="*/ 1283166 h 4722863"/>
              <a:gd name="connsiteX821" fmla="*/ 351174 w 12356823"/>
              <a:gd name="connsiteY821" fmla="*/ 1258386 h 4722863"/>
              <a:gd name="connsiteX822" fmla="*/ 347626 w 12356823"/>
              <a:gd name="connsiteY822" fmla="*/ 1252191 h 4722863"/>
              <a:gd name="connsiteX823" fmla="*/ 347626 w 12356823"/>
              <a:gd name="connsiteY823" fmla="*/ 1249093 h 4722863"/>
              <a:gd name="connsiteX824" fmla="*/ 344079 w 12356823"/>
              <a:gd name="connsiteY824" fmla="*/ 1249093 h 4722863"/>
              <a:gd name="connsiteX825" fmla="*/ 340531 w 12356823"/>
              <a:gd name="connsiteY825" fmla="*/ 1249093 h 4722863"/>
              <a:gd name="connsiteX826" fmla="*/ 336985 w 12356823"/>
              <a:gd name="connsiteY826" fmla="*/ 1255288 h 4722863"/>
              <a:gd name="connsiteX827" fmla="*/ 312154 w 12356823"/>
              <a:gd name="connsiteY827" fmla="*/ 1264581 h 4722863"/>
              <a:gd name="connsiteX828" fmla="*/ 269588 w 12356823"/>
              <a:gd name="connsiteY828" fmla="*/ 1249093 h 4722863"/>
              <a:gd name="connsiteX829" fmla="*/ 209285 w 12356823"/>
              <a:gd name="connsiteY829" fmla="*/ 1174755 h 4722863"/>
              <a:gd name="connsiteX830" fmla="*/ 163172 w 12356823"/>
              <a:gd name="connsiteY830" fmla="*/ 1084930 h 4722863"/>
              <a:gd name="connsiteX831" fmla="*/ 117058 w 12356823"/>
              <a:gd name="connsiteY831" fmla="*/ 1007493 h 4722863"/>
              <a:gd name="connsiteX832" fmla="*/ 92227 w 12356823"/>
              <a:gd name="connsiteY832" fmla="*/ 982713 h 4722863"/>
              <a:gd name="connsiteX833" fmla="*/ 60303 w 12356823"/>
              <a:gd name="connsiteY833" fmla="*/ 973421 h 4722863"/>
              <a:gd name="connsiteX834" fmla="*/ 56755 w 12356823"/>
              <a:gd name="connsiteY834" fmla="*/ 970323 h 4722863"/>
              <a:gd name="connsiteX835" fmla="*/ 53209 w 12356823"/>
              <a:gd name="connsiteY835" fmla="*/ 967226 h 4722863"/>
              <a:gd name="connsiteX836" fmla="*/ 39019 w 12356823"/>
              <a:gd name="connsiteY836" fmla="*/ 954836 h 4722863"/>
              <a:gd name="connsiteX837" fmla="*/ 21283 w 12356823"/>
              <a:gd name="connsiteY837" fmla="*/ 914570 h 4722863"/>
              <a:gd name="connsiteX838" fmla="*/ 3547 w 12356823"/>
              <a:gd name="connsiteY838" fmla="*/ 874304 h 4722863"/>
              <a:gd name="connsiteX839" fmla="*/ 0 w 12356823"/>
              <a:gd name="connsiteY839" fmla="*/ 861914 h 4722863"/>
              <a:gd name="connsiteX840" fmla="*/ 3547 w 12356823"/>
              <a:gd name="connsiteY840" fmla="*/ 855718 h 4722863"/>
              <a:gd name="connsiteX841" fmla="*/ 10642 w 12356823"/>
              <a:gd name="connsiteY841" fmla="*/ 858816 h 4722863"/>
              <a:gd name="connsiteX842" fmla="*/ 24831 w 12356823"/>
              <a:gd name="connsiteY842" fmla="*/ 865011 h 4722863"/>
              <a:gd name="connsiteX843" fmla="*/ 63850 w 12356823"/>
              <a:gd name="connsiteY843" fmla="*/ 892887 h 4722863"/>
              <a:gd name="connsiteX844" fmla="*/ 166718 w 12356823"/>
              <a:gd name="connsiteY844" fmla="*/ 973421 h 4722863"/>
              <a:gd name="connsiteX845" fmla="*/ 266040 w 12356823"/>
              <a:gd name="connsiteY845" fmla="*/ 1044662 h 4722863"/>
              <a:gd name="connsiteX846" fmla="*/ 297966 w 12356823"/>
              <a:gd name="connsiteY846" fmla="*/ 1066344 h 4722863"/>
              <a:gd name="connsiteX847" fmla="*/ 305060 w 12356823"/>
              <a:gd name="connsiteY847" fmla="*/ 1069442 h 4722863"/>
              <a:gd name="connsiteX848" fmla="*/ 308607 w 12356823"/>
              <a:gd name="connsiteY848" fmla="*/ 1069442 h 4722863"/>
              <a:gd name="connsiteX849" fmla="*/ 308607 w 12356823"/>
              <a:gd name="connsiteY849" fmla="*/ 1066344 h 4722863"/>
              <a:gd name="connsiteX850" fmla="*/ 305060 w 12356823"/>
              <a:gd name="connsiteY850" fmla="*/ 1016785 h 4722863"/>
              <a:gd name="connsiteX851" fmla="*/ 301512 w 12356823"/>
              <a:gd name="connsiteY851" fmla="*/ 1013688 h 4722863"/>
              <a:gd name="connsiteX852" fmla="*/ 280230 w 12356823"/>
              <a:gd name="connsiteY852" fmla="*/ 1007493 h 4722863"/>
              <a:gd name="connsiteX853" fmla="*/ 145436 w 12356823"/>
              <a:gd name="connsiteY853" fmla="*/ 880498 h 4722863"/>
              <a:gd name="connsiteX854" fmla="*/ 81586 w 12356823"/>
              <a:gd name="connsiteY854" fmla="*/ 781380 h 4722863"/>
              <a:gd name="connsiteX855" fmla="*/ 60303 w 12356823"/>
              <a:gd name="connsiteY855" fmla="*/ 731822 h 4722863"/>
              <a:gd name="connsiteX856" fmla="*/ 49660 w 12356823"/>
              <a:gd name="connsiteY856" fmla="*/ 685360 h 4722863"/>
              <a:gd name="connsiteX857" fmla="*/ 53209 w 12356823"/>
              <a:gd name="connsiteY857" fmla="*/ 669873 h 4722863"/>
              <a:gd name="connsiteX858" fmla="*/ 60303 w 12356823"/>
              <a:gd name="connsiteY858" fmla="*/ 660580 h 4722863"/>
              <a:gd name="connsiteX859" fmla="*/ 92227 w 12356823"/>
              <a:gd name="connsiteY859" fmla="*/ 666775 h 4722863"/>
              <a:gd name="connsiteX860" fmla="*/ 191549 w 12356823"/>
              <a:gd name="connsiteY860" fmla="*/ 731822 h 4722863"/>
              <a:gd name="connsiteX861" fmla="*/ 305060 w 12356823"/>
              <a:gd name="connsiteY861" fmla="*/ 812355 h 4722863"/>
              <a:gd name="connsiteX862" fmla="*/ 379552 w 12356823"/>
              <a:gd name="connsiteY862" fmla="*/ 852621 h 4722863"/>
              <a:gd name="connsiteX863" fmla="*/ 670422 w 12356823"/>
              <a:gd name="connsiteY863" fmla="*/ 967226 h 4722863"/>
              <a:gd name="connsiteX864" fmla="*/ 766196 w 12356823"/>
              <a:gd name="connsiteY864" fmla="*/ 1001298 h 4722863"/>
              <a:gd name="connsiteX865" fmla="*/ 865518 w 12356823"/>
              <a:gd name="connsiteY865" fmla="*/ 1060150 h 4722863"/>
              <a:gd name="connsiteX866" fmla="*/ 954198 w 12356823"/>
              <a:gd name="connsiteY866" fmla="*/ 1088026 h 4722863"/>
              <a:gd name="connsiteX867" fmla="*/ 1007407 w 12356823"/>
              <a:gd name="connsiteY867" fmla="*/ 1106612 h 4722863"/>
              <a:gd name="connsiteX868" fmla="*/ 1025143 w 12356823"/>
              <a:gd name="connsiteY868" fmla="*/ 1115904 h 4722863"/>
              <a:gd name="connsiteX869" fmla="*/ 1032237 w 12356823"/>
              <a:gd name="connsiteY869" fmla="*/ 1119001 h 4722863"/>
              <a:gd name="connsiteX870" fmla="*/ 1032237 w 12356823"/>
              <a:gd name="connsiteY870" fmla="*/ 1122099 h 4722863"/>
              <a:gd name="connsiteX871" fmla="*/ 1032237 w 12356823"/>
              <a:gd name="connsiteY871" fmla="*/ 1131392 h 4722863"/>
              <a:gd name="connsiteX872" fmla="*/ 1032237 w 12356823"/>
              <a:gd name="connsiteY872" fmla="*/ 1134488 h 4722863"/>
              <a:gd name="connsiteX873" fmla="*/ 1021596 w 12356823"/>
              <a:gd name="connsiteY873" fmla="*/ 1140683 h 4722863"/>
              <a:gd name="connsiteX874" fmla="*/ 982576 w 12356823"/>
              <a:gd name="connsiteY874" fmla="*/ 1134488 h 4722863"/>
              <a:gd name="connsiteX875" fmla="*/ 858423 w 12356823"/>
              <a:gd name="connsiteY875" fmla="*/ 1081832 h 4722863"/>
              <a:gd name="connsiteX876" fmla="*/ 720082 w 12356823"/>
              <a:gd name="connsiteY876" fmla="*/ 1032272 h 4722863"/>
              <a:gd name="connsiteX877" fmla="*/ 673969 w 12356823"/>
              <a:gd name="connsiteY877" fmla="*/ 1022981 h 4722863"/>
              <a:gd name="connsiteX878" fmla="*/ 659779 w 12356823"/>
              <a:gd name="connsiteY878" fmla="*/ 1026078 h 4722863"/>
              <a:gd name="connsiteX879" fmla="*/ 649138 w 12356823"/>
              <a:gd name="connsiteY879" fmla="*/ 1035370 h 4722863"/>
              <a:gd name="connsiteX880" fmla="*/ 652686 w 12356823"/>
              <a:gd name="connsiteY880" fmla="*/ 1038468 h 4722863"/>
              <a:gd name="connsiteX881" fmla="*/ 649138 w 12356823"/>
              <a:gd name="connsiteY881" fmla="*/ 1038468 h 4722863"/>
              <a:gd name="connsiteX882" fmla="*/ 652686 w 12356823"/>
              <a:gd name="connsiteY882" fmla="*/ 1041565 h 4722863"/>
              <a:gd name="connsiteX883" fmla="*/ 663328 w 12356823"/>
              <a:gd name="connsiteY883" fmla="*/ 1050857 h 4722863"/>
              <a:gd name="connsiteX884" fmla="*/ 709441 w 12356823"/>
              <a:gd name="connsiteY884" fmla="*/ 1078734 h 4722863"/>
              <a:gd name="connsiteX885" fmla="*/ 847782 w 12356823"/>
              <a:gd name="connsiteY885" fmla="*/ 1146877 h 4722863"/>
              <a:gd name="connsiteX886" fmla="*/ 996764 w 12356823"/>
              <a:gd name="connsiteY886" fmla="*/ 1215022 h 4722863"/>
              <a:gd name="connsiteX887" fmla="*/ 1046427 w 12356823"/>
              <a:gd name="connsiteY887" fmla="*/ 1239801 h 4722863"/>
              <a:gd name="connsiteX888" fmla="*/ 1074804 w 12356823"/>
              <a:gd name="connsiteY888" fmla="*/ 1255288 h 4722863"/>
              <a:gd name="connsiteX889" fmla="*/ 1081899 w 12356823"/>
              <a:gd name="connsiteY889" fmla="*/ 1264581 h 4722863"/>
              <a:gd name="connsiteX890" fmla="*/ 1088992 w 12356823"/>
              <a:gd name="connsiteY890" fmla="*/ 1264581 h 4722863"/>
              <a:gd name="connsiteX891" fmla="*/ 1103182 w 12356823"/>
              <a:gd name="connsiteY891" fmla="*/ 1249093 h 4722863"/>
              <a:gd name="connsiteX892" fmla="*/ 1103182 w 12356823"/>
              <a:gd name="connsiteY892" fmla="*/ 1245997 h 4722863"/>
              <a:gd name="connsiteX893" fmla="*/ 1113823 w 12356823"/>
              <a:gd name="connsiteY893" fmla="*/ 1242899 h 4722863"/>
              <a:gd name="connsiteX894" fmla="*/ 1135106 w 12356823"/>
              <a:gd name="connsiteY894" fmla="*/ 1242899 h 4722863"/>
              <a:gd name="connsiteX895" fmla="*/ 1209597 w 12356823"/>
              <a:gd name="connsiteY895" fmla="*/ 1258386 h 4722863"/>
              <a:gd name="connsiteX896" fmla="*/ 1344391 w 12356823"/>
              <a:gd name="connsiteY896" fmla="*/ 1301751 h 4722863"/>
              <a:gd name="connsiteX897" fmla="*/ 1202503 w 12356823"/>
              <a:gd name="connsiteY897" fmla="*/ 1215022 h 4722863"/>
              <a:gd name="connsiteX898" fmla="*/ 1145749 w 12356823"/>
              <a:gd name="connsiteY898" fmla="*/ 1171658 h 4722863"/>
              <a:gd name="connsiteX899" fmla="*/ 1096087 w 12356823"/>
              <a:gd name="connsiteY899" fmla="*/ 1119001 h 4722863"/>
              <a:gd name="connsiteX900" fmla="*/ 1085446 w 12356823"/>
              <a:gd name="connsiteY900" fmla="*/ 1103514 h 4722863"/>
              <a:gd name="connsiteX901" fmla="*/ 1085446 w 12356823"/>
              <a:gd name="connsiteY901" fmla="*/ 1100417 h 4722863"/>
              <a:gd name="connsiteX902" fmla="*/ 1088992 w 12356823"/>
              <a:gd name="connsiteY902" fmla="*/ 1100417 h 4722863"/>
              <a:gd name="connsiteX903" fmla="*/ 1088992 w 12356823"/>
              <a:gd name="connsiteY903" fmla="*/ 1097319 h 4722863"/>
              <a:gd name="connsiteX904" fmla="*/ 1092540 w 12356823"/>
              <a:gd name="connsiteY904" fmla="*/ 1100417 h 4722863"/>
              <a:gd name="connsiteX905" fmla="*/ 1099635 w 12356823"/>
              <a:gd name="connsiteY905" fmla="*/ 1103514 h 4722863"/>
              <a:gd name="connsiteX906" fmla="*/ 1113823 w 12356823"/>
              <a:gd name="connsiteY906" fmla="*/ 1112806 h 4722863"/>
              <a:gd name="connsiteX907" fmla="*/ 1159937 w 12356823"/>
              <a:gd name="connsiteY907" fmla="*/ 1146877 h 4722863"/>
              <a:gd name="connsiteX908" fmla="*/ 1429525 w 12356823"/>
              <a:gd name="connsiteY908" fmla="*/ 1307946 h 4722863"/>
              <a:gd name="connsiteX909" fmla="*/ 1422430 w 12356823"/>
              <a:gd name="connsiteY909" fmla="*/ 1307946 h 4722863"/>
              <a:gd name="connsiteX910" fmla="*/ 1422430 w 12356823"/>
              <a:gd name="connsiteY910" fmla="*/ 1326530 h 4722863"/>
              <a:gd name="connsiteX911" fmla="*/ 1418882 w 12356823"/>
              <a:gd name="connsiteY911" fmla="*/ 1326530 h 4722863"/>
              <a:gd name="connsiteX912" fmla="*/ 1433071 w 12356823"/>
              <a:gd name="connsiteY912" fmla="*/ 1332724 h 4722863"/>
              <a:gd name="connsiteX913" fmla="*/ 1514657 w 12356823"/>
              <a:gd name="connsiteY913" fmla="*/ 1363699 h 4722863"/>
              <a:gd name="connsiteX914" fmla="*/ 1479185 w 12356823"/>
              <a:gd name="connsiteY914" fmla="*/ 1323433 h 4722863"/>
              <a:gd name="connsiteX915" fmla="*/ 1464997 w 12356823"/>
              <a:gd name="connsiteY915" fmla="*/ 1307946 h 4722863"/>
              <a:gd name="connsiteX916" fmla="*/ 1461449 w 12356823"/>
              <a:gd name="connsiteY916" fmla="*/ 1295555 h 4722863"/>
              <a:gd name="connsiteX917" fmla="*/ 1464997 w 12356823"/>
              <a:gd name="connsiteY917" fmla="*/ 1292459 h 4722863"/>
              <a:gd name="connsiteX918" fmla="*/ 1468543 w 12356823"/>
              <a:gd name="connsiteY918" fmla="*/ 1292459 h 4722863"/>
              <a:gd name="connsiteX919" fmla="*/ 1475637 w 12356823"/>
              <a:gd name="connsiteY919" fmla="*/ 1292459 h 4722863"/>
              <a:gd name="connsiteX920" fmla="*/ 1486280 w 12356823"/>
              <a:gd name="connsiteY920" fmla="*/ 1295555 h 4722863"/>
              <a:gd name="connsiteX921" fmla="*/ 1518205 w 12356823"/>
              <a:gd name="connsiteY921" fmla="*/ 1311043 h 4722863"/>
              <a:gd name="connsiteX922" fmla="*/ 1489826 w 12356823"/>
              <a:gd name="connsiteY922" fmla="*/ 1280068 h 4722863"/>
              <a:gd name="connsiteX923" fmla="*/ 1464997 w 12356823"/>
              <a:gd name="connsiteY923" fmla="*/ 1258386 h 4722863"/>
              <a:gd name="connsiteX924" fmla="*/ 1461449 w 12356823"/>
              <a:gd name="connsiteY924" fmla="*/ 1255288 h 4722863"/>
              <a:gd name="connsiteX925" fmla="*/ 1457902 w 12356823"/>
              <a:gd name="connsiteY925" fmla="*/ 1255288 h 4722863"/>
              <a:gd name="connsiteX926" fmla="*/ 1447259 w 12356823"/>
              <a:gd name="connsiteY926" fmla="*/ 1249093 h 4722863"/>
              <a:gd name="connsiteX927" fmla="*/ 1401146 w 12356823"/>
              <a:gd name="connsiteY927" fmla="*/ 1202632 h 4722863"/>
              <a:gd name="connsiteX928" fmla="*/ 1397599 w 12356823"/>
              <a:gd name="connsiteY928" fmla="*/ 1199535 h 4722863"/>
              <a:gd name="connsiteX929" fmla="*/ 1390504 w 12356823"/>
              <a:gd name="connsiteY929" fmla="*/ 1193339 h 4722863"/>
              <a:gd name="connsiteX930" fmla="*/ 1323108 w 12356823"/>
              <a:gd name="connsiteY930" fmla="*/ 1159268 h 4722863"/>
              <a:gd name="connsiteX931" fmla="*/ 1234428 w 12356823"/>
              <a:gd name="connsiteY931" fmla="*/ 1128293 h 4722863"/>
              <a:gd name="connsiteX932" fmla="*/ 1223786 w 12356823"/>
              <a:gd name="connsiteY932" fmla="*/ 1125195 h 4722863"/>
              <a:gd name="connsiteX933" fmla="*/ 1213145 w 12356823"/>
              <a:gd name="connsiteY933" fmla="*/ 1119001 h 4722863"/>
              <a:gd name="connsiteX934" fmla="*/ 1188314 w 12356823"/>
              <a:gd name="connsiteY934" fmla="*/ 1103514 h 4722863"/>
              <a:gd name="connsiteX935" fmla="*/ 1149295 w 12356823"/>
              <a:gd name="connsiteY935" fmla="*/ 1060150 h 4722863"/>
              <a:gd name="connsiteX936" fmla="*/ 1124464 w 12356823"/>
              <a:gd name="connsiteY936" fmla="*/ 1022981 h 4722863"/>
              <a:gd name="connsiteX937" fmla="*/ 1120918 w 12356823"/>
              <a:gd name="connsiteY937" fmla="*/ 1010590 h 4722863"/>
              <a:gd name="connsiteX938" fmla="*/ 1124464 w 12356823"/>
              <a:gd name="connsiteY938" fmla="*/ 1007493 h 4722863"/>
              <a:gd name="connsiteX939" fmla="*/ 1010955 w 12356823"/>
              <a:gd name="connsiteY939" fmla="*/ 920765 h 4722863"/>
              <a:gd name="connsiteX940" fmla="*/ 957745 w 12356823"/>
              <a:gd name="connsiteY940" fmla="*/ 871205 h 4722863"/>
              <a:gd name="connsiteX941" fmla="*/ 918726 w 12356823"/>
              <a:gd name="connsiteY941" fmla="*/ 815452 h 4722863"/>
              <a:gd name="connsiteX942" fmla="*/ 908085 w 12356823"/>
              <a:gd name="connsiteY942" fmla="*/ 796867 h 4722863"/>
              <a:gd name="connsiteX943" fmla="*/ 908085 w 12356823"/>
              <a:gd name="connsiteY943" fmla="*/ 793769 h 4722863"/>
              <a:gd name="connsiteX944" fmla="*/ 911631 w 12356823"/>
              <a:gd name="connsiteY944" fmla="*/ 793769 h 4722863"/>
              <a:gd name="connsiteX945" fmla="*/ 915178 w 12356823"/>
              <a:gd name="connsiteY945" fmla="*/ 796867 h 4722863"/>
              <a:gd name="connsiteX946" fmla="*/ 918726 w 12356823"/>
              <a:gd name="connsiteY946" fmla="*/ 799965 h 4722863"/>
              <a:gd name="connsiteX947" fmla="*/ 932914 w 12356823"/>
              <a:gd name="connsiteY947" fmla="*/ 812355 h 4722863"/>
              <a:gd name="connsiteX948" fmla="*/ 971934 w 12356823"/>
              <a:gd name="connsiteY948" fmla="*/ 849523 h 4722863"/>
              <a:gd name="connsiteX949" fmla="*/ 1220240 w 12356823"/>
              <a:gd name="connsiteY949" fmla="*/ 1035370 h 4722863"/>
              <a:gd name="connsiteX950" fmla="*/ 1213145 w 12356823"/>
              <a:gd name="connsiteY950" fmla="*/ 1035370 h 4722863"/>
              <a:gd name="connsiteX951" fmla="*/ 1213145 w 12356823"/>
              <a:gd name="connsiteY951" fmla="*/ 1041565 h 4722863"/>
              <a:gd name="connsiteX952" fmla="*/ 1287636 w 12356823"/>
              <a:gd name="connsiteY952" fmla="*/ 1075637 h 4722863"/>
              <a:gd name="connsiteX953" fmla="*/ 1355032 w 12356823"/>
              <a:gd name="connsiteY953" fmla="*/ 1106612 h 4722863"/>
              <a:gd name="connsiteX954" fmla="*/ 1276994 w 12356823"/>
              <a:gd name="connsiteY954" fmla="*/ 1013688 h 4722863"/>
              <a:gd name="connsiteX955" fmla="*/ 1188314 w 12356823"/>
              <a:gd name="connsiteY955" fmla="*/ 920765 h 4722863"/>
              <a:gd name="connsiteX956" fmla="*/ 1128012 w 12356823"/>
              <a:gd name="connsiteY956" fmla="*/ 877401 h 4722863"/>
              <a:gd name="connsiteX957" fmla="*/ 1046427 w 12356823"/>
              <a:gd name="connsiteY957" fmla="*/ 840231 h 4722863"/>
              <a:gd name="connsiteX958" fmla="*/ 1039332 w 12356823"/>
              <a:gd name="connsiteY958" fmla="*/ 834036 h 4722863"/>
              <a:gd name="connsiteX959" fmla="*/ 1025143 w 12356823"/>
              <a:gd name="connsiteY959" fmla="*/ 827841 h 4722863"/>
              <a:gd name="connsiteX960" fmla="*/ 1007407 w 12356823"/>
              <a:gd name="connsiteY960" fmla="*/ 812355 h 4722863"/>
              <a:gd name="connsiteX961" fmla="*/ 968386 w 12356823"/>
              <a:gd name="connsiteY961" fmla="*/ 765893 h 4722863"/>
              <a:gd name="connsiteX962" fmla="*/ 950650 w 12356823"/>
              <a:gd name="connsiteY962" fmla="*/ 725626 h 4722863"/>
              <a:gd name="connsiteX963" fmla="*/ 950650 w 12356823"/>
              <a:gd name="connsiteY963" fmla="*/ 716334 h 4722863"/>
              <a:gd name="connsiteX964" fmla="*/ 954198 w 12356823"/>
              <a:gd name="connsiteY964" fmla="*/ 713236 h 4722863"/>
              <a:gd name="connsiteX965" fmla="*/ 957745 w 12356823"/>
              <a:gd name="connsiteY965" fmla="*/ 713236 h 4722863"/>
              <a:gd name="connsiteX966" fmla="*/ 975481 w 12356823"/>
              <a:gd name="connsiteY966" fmla="*/ 722529 h 4722863"/>
              <a:gd name="connsiteX967" fmla="*/ 1007407 w 12356823"/>
              <a:gd name="connsiteY967" fmla="*/ 738016 h 4722863"/>
              <a:gd name="connsiteX968" fmla="*/ 1099635 w 12356823"/>
              <a:gd name="connsiteY968" fmla="*/ 793769 h 4722863"/>
              <a:gd name="connsiteX969" fmla="*/ 1351486 w 12356823"/>
              <a:gd name="connsiteY969" fmla="*/ 945544 h 4722863"/>
              <a:gd name="connsiteX970" fmla="*/ 1362127 w 12356823"/>
              <a:gd name="connsiteY970" fmla="*/ 951739 h 4722863"/>
              <a:gd name="connsiteX971" fmla="*/ 1362127 w 12356823"/>
              <a:gd name="connsiteY971" fmla="*/ 926960 h 4722863"/>
              <a:gd name="connsiteX972" fmla="*/ 1379863 w 12356823"/>
              <a:gd name="connsiteY972" fmla="*/ 914570 h 4722863"/>
              <a:gd name="connsiteX973" fmla="*/ 1404694 w 12356823"/>
              <a:gd name="connsiteY973" fmla="*/ 917667 h 4722863"/>
              <a:gd name="connsiteX974" fmla="*/ 1340844 w 12356823"/>
              <a:gd name="connsiteY974" fmla="*/ 865011 h 4722863"/>
              <a:gd name="connsiteX975" fmla="*/ 1213145 w 12356823"/>
              <a:gd name="connsiteY975" fmla="*/ 747309 h 4722863"/>
              <a:gd name="connsiteX976" fmla="*/ 1181221 w 12356823"/>
              <a:gd name="connsiteY976" fmla="*/ 694651 h 4722863"/>
              <a:gd name="connsiteX977" fmla="*/ 1177673 w 12356823"/>
              <a:gd name="connsiteY977" fmla="*/ 657482 h 4722863"/>
              <a:gd name="connsiteX978" fmla="*/ 1191861 w 12356823"/>
              <a:gd name="connsiteY978" fmla="*/ 648190 h 4722863"/>
              <a:gd name="connsiteX979" fmla="*/ 1216692 w 12356823"/>
              <a:gd name="connsiteY979" fmla="*/ 651288 h 4722863"/>
              <a:gd name="connsiteX980" fmla="*/ 1301825 w 12356823"/>
              <a:gd name="connsiteY980" fmla="*/ 682262 h 4722863"/>
              <a:gd name="connsiteX981" fmla="*/ 2680813 w 12356823"/>
              <a:gd name="connsiteY981" fmla="*/ 1139574 h 4722863"/>
              <a:gd name="connsiteX982" fmla="*/ 2791519 w 12356823"/>
              <a:gd name="connsiteY982" fmla="*/ 1149751 h 4722863"/>
              <a:gd name="connsiteX983" fmla="*/ 2737786 w 12356823"/>
              <a:gd name="connsiteY983" fmla="*/ 1087636 h 4722863"/>
              <a:gd name="connsiteX984" fmla="*/ 2713106 w 12356823"/>
              <a:gd name="connsiteY984" fmla="*/ 1050371 h 4722863"/>
              <a:gd name="connsiteX985" fmla="*/ 2688425 w 12356823"/>
              <a:gd name="connsiteY985" fmla="*/ 1000687 h 4722863"/>
              <a:gd name="connsiteX986" fmla="*/ 2681374 w 12356823"/>
              <a:gd name="connsiteY986" fmla="*/ 982054 h 4722863"/>
              <a:gd name="connsiteX987" fmla="*/ 2677848 w 12356823"/>
              <a:gd name="connsiteY987" fmla="*/ 978949 h 4722863"/>
              <a:gd name="connsiteX988" fmla="*/ 2681374 w 12356823"/>
              <a:gd name="connsiteY988" fmla="*/ 978949 h 4722863"/>
              <a:gd name="connsiteX989" fmla="*/ 2684899 w 12356823"/>
              <a:gd name="connsiteY989" fmla="*/ 978949 h 4722863"/>
              <a:gd name="connsiteX990" fmla="*/ 2688425 w 12356823"/>
              <a:gd name="connsiteY990" fmla="*/ 988265 h 4722863"/>
              <a:gd name="connsiteX991" fmla="*/ 2709579 w 12356823"/>
              <a:gd name="connsiteY991" fmla="*/ 1016213 h 4722863"/>
              <a:gd name="connsiteX992" fmla="*/ 2818878 w 12356823"/>
              <a:gd name="connsiteY992" fmla="*/ 1137321 h 4722863"/>
              <a:gd name="connsiteX993" fmla="*/ 2815352 w 12356823"/>
              <a:gd name="connsiteY993" fmla="*/ 1140427 h 4722863"/>
              <a:gd name="connsiteX994" fmla="*/ 2817570 w 12356823"/>
              <a:gd name="connsiteY994" fmla="*/ 1152146 h 4722863"/>
              <a:gd name="connsiteX995" fmla="*/ 2867012 w 12356823"/>
              <a:gd name="connsiteY995" fmla="*/ 1156691 h 4722863"/>
              <a:gd name="connsiteX996" fmla="*/ 2830172 w 12356823"/>
              <a:gd name="connsiteY996" fmla="*/ 1084930 h 4722863"/>
              <a:gd name="connsiteX997" fmla="*/ 2784058 w 12356823"/>
              <a:gd name="connsiteY997" fmla="*/ 1007493 h 4722863"/>
              <a:gd name="connsiteX998" fmla="*/ 2759227 w 12356823"/>
              <a:gd name="connsiteY998" fmla="*/ 982713 h 4722863"/>
              <a:gd name="connsiteX999" fmla="*/ 2727303 w 12356823"/>
              <a:gd name="connsiteY999" fmla="*/ 973421 h 4722863"/>
              <a:gd name="connsiteX1000" fmla="*/ 2723755 w 12356823"/>
              <a:gd name="connsiteY1000" fmla="*/ 970323 h 4722863"/>
              <a:gd name="connsiteX1001" fmla="*/ 2720209 w 12356823"/>
              <a:gd name="connsiteY1001" fmla="*/ 967226 h 4722863"/>
              <a:gd name="connsiteX1002" fmla="*/ 2706019 w 12356823"/>
              <a:gd name="connsiteY1002" fmla="*/ 954836 h 4722863"/>
              <a:gd name="connsiteX1003" fmla="*/ 2688283 w 12356823"/>
              <a:gd name="connsiteY1003" fmla="*/ 914570 h 4722863"/>
              <a:gd name="connsiteX1004" fmla="*/ 2670547 w 12356823"/>
              <a:gd name="connsiteY1004" fmla="*/ 874304 h 4722863"/>
              <a:gd name="connsiteX1005" fmla="*/ 2667000 w 12356823"/>
              <a:gd name="connsiteY1005" fmla="*/ 861914 h 4722863"/>
              <a:gd name="connsiteX1006" fmla="*/ 2670547 w 12356823"/>
              <a:gd name="connsiteY1006" fmla="*/ 855718 h 4722863"/>
              <a:gd name="connsiteX1007" fmla="*/ 2677642 w 12356823"/>
              <a:gd name="connsiteY1007" fmla="*/ 858816 h 4722863"/>
              <a:gd name="connsiteX1008" fmla="*/ 2691831 w 12356823"/>
              <a:gd name="connsiteY1008" fmla="*/ 865011 h 4722863"/>
              <a:gd name="connsiteX1009" fmla="*/ 2730850 w 12356823"/>
              <a:gd name="connsiteY1009" fmla="*/ 892887 h 4722863"/>
              <a:gd name="connsiteX1010" fmla="*/ 2833718 w 12356823"/>
              <a:gd name="connsiteY1010" fmla="*/ 973421 h 4722863"/>
              <a:gd name="connsiteX1011" fmla="*/ 2933040 w 12356823"/>
              <a:gd name="connsiteY1011" fmla="*/ 1044662 h 4722863"/>
              <a:gd name="connsiteX1012" fmla="*/ 2964966 w 12356823"/>
              <a:gd name="connsiteY1012" fmla="*/ 1066344 h 4722863"/>
              <a:gd name="connsiteX1013" fmla="*/ 2972060 w 12356823"/>
              <a:gd name="connsiteY1013" fmla="*/ 1069442 h 4722863"/>
              <a:gd name="connsiteX1014" fmla="*/ 2975607 w 12356823"/>
              <a:gd name="connsiteY1014" fmla="*/ 1069442 h 4722863"/>
              <a:gd name="connsiteX1015" fmla="*/ 2975607 w 12356823"/>
              <a:gd name="connsiteY1015" fmla="*/ 1066344 h 4722863"/>
              <a:gd name="connsiteX1016" fmla="*/ 2972060 w 12356823"/>
              <a:gd name="connsiteY1016" fmla="*/ 1016785 h 4722863"/>
              <a:gd name="connsiteX1017" fmla="*/ 2968512 w 12356823"/>
              <a:gd name="connsiteY1017" fmla="*/ 1013688 h 4722863"/>
              <a:gd name="connsiteX1018" fmla="*/ 2947230 w 12356823"/>
              <a:gd name="connsiteY1018" fmla="*/ 1007493 h 4722863"/>
              <a:gd name="connsiteX1019" fmla="*/ 2812436 w 12356823"/>
              <a:gd name="connsiteY1019" fmla="*/ 880498 h 4722863"/>
              <a:gd name="connsiteX1020" fmla="*/ 2748586 w 12356823"/>
              <a:gd name="connsiteY1020" fmla="*/ 781380 h 4722863"/>
              <a:gd name="connsiteX1021" fmla="*/ 2727303 w 12356823"/>
              <a:gd name="connsiteY1021" fmla="*/ 731822 h 4722863"/>
              <a:gd name="connsiteX1022" fmla="*/ 2716660 w 12356823"/>
              <a:gd name="connsiteY1022" fmla="*/ 685360 h 4722863"/>
              <a:gd name="connsiteX1023" fmla="*/ 2720209 w 12356823"/>
              <a:gd name="connsiteY1023" fmla="*/ 669873 h 4722863"/>
              <a:gd name="connsiteX1024" fmla="*/ 2727303 w 12356823"/>
              <a:gd name="connsiteY1024" fmla="*/ 660580 h 4722863"/>
              <a:gd name="connsiteX1025" fmla="*/ 2759227 w 12356823"/>
              <a:gd name="connsiteY1025" fmla="*/ 666775 h 4722863"/>
              <a:gd name="connsiteX1026" fmla="*/ 2858549 w 12356823"/>
              <a:gd name="connsiteY1026" fmla="*/ 731822 h 4722863"/>
              <a:gd name="connsiteX1027" fmla="*/ 2972060 w 12356823"/>
              <a:gd name="connsiteY1027" fmla="*/ 812355 h 4722863"/>
              <a:gd name="connsiteX1028" fmla="*/ 3046552 w 12356823"/>
              <a:gd name="connsiteY1028" fmla="*/ 852621 h 4722863"/>
              <a:gd name="connsiteX1029" fmla="*/ 3337422 w 12356823"/>
              <a:gd name="connsiteY1029" fmla="*/ 967226 h 4722863"/>
              <a:gd name="connsiteX1030" fmla="*/ 3433196 w 12356823"/>
              <a:gd name="connsiteY1030" fmla="*/ 1001298 h 4722863"/>
              <a:gd name="connsiteX1031" fmla="*/ 3532518 w 12356823"/>
              <a:gd name="connsiteY1031" fmla="*/ 1060150 h 4722863"/>
              <a:gd name="connsiteX1032" fmla="*/ 3621198 w 12356823"/>
              <a:gd name="connsiteY1032" fmla="*/ 1088026 h 4722863"/>
              <a:gd name="connsiteX1033" fmla="*/ 3674407 w 12356823"/>
              <a:gd name="connsiteY1033" fmla="*/ 1106612 h 4722863"/>
              <a:gd name="connsiteX1034" fmla="*/ 3692143 w 12356823"/>
              <a:gd name="connsiteY1034" fmla="*/ 1115904 h 4722863"/>
              <a:gd name="connsiteX1035" fmla="*/ 3699237 w 12356823"/>
              <a:gd name="connsiteY1035" fmla="*/ 1119001 h 4722863"/>
              <a:gd name="connsiteX1036" fmla="*/ 3699237 w 12356823"/>
              <a:gd name="connsiteY1036" fmla="*/ 1122099 h 4722863"/>
              <a:gd name="connsiteX1037" fmla="*/ 3699237 w 12356823"/>
              <a:gd name="connsiteY1037" fmla="*/ 1131392 h 4722863"/>
              <a:gd name="connsiteX1038" fmla="*/ 3699237 w 12356823"/>
              <a:gd name="connsiteY1038" fmla="*/ 1134488 h 4722863"/>
              <a:gd name="connsiteX1039" fmla="*/ 3688596 w 12356823"/>
              <a:gd name="connsiteY1039" fmla="*/ 1140683 h 4722863"/>
              <a:gd name="connsiteX1040" fmla="*/ 3649576 w 12356823"/>
              <a:gd name="connsiteY1040" fmla="*/ 1134488 h 4722863"/>
              <a:gd name="connsiteX1041" fmla="*/ 3525423 w 12356823"/>
              <a:gd name="connsiteY1041" fmla="*/ 1081832 h 4722863"/>
              <a:gd name="connsiteX1042" fmla="*/ 3387082 w 12356823"/>
              <a:gd name="connsiteY1042" fmla="*/ 1032272 h 4722863"/>
              <a:gd name="connsiteX1043" fmla="*/ 3340969 w 12356823"/>
              <a:gd name="connsiteY1043" fmla="*/ 1022981 h 4722863"/>
              <a:gd name="connsiteX1044" fmla="*/ 3326779 w 12356823"/>
              <a:gd name="connsiteY1044" fmla="*/ 1026078 h 4722863"/>
              <a:gd name="connsiteX1045" fmla="*/ 3316138 w 12356823"/>
              <a:gd name="connsiteY1045" fmla="*/ 1035370 h 4722863"/>
              <a:gd name="connsiteX1046" fmla="*/ 3319686 w 12356823"/>
              <a:gd name="connsiteY1046" fmla="*/ 1038468 h 4722863"/>
              <a:gd name="connsiteX1047" fmla="*/ 3316138 w 12356823"/>
              <a:gd name="connsiteY1047" fmla="*/ 1038468 h 4722863"/>
              <a:gd name="connsiteX1048" fmla="*/ 3319686 w 12356823"/>
              <a:gd name="connsiteY1048" fmla="*/ 1041565 h 4722863"/>
              <a:gd name="connsiteX1049" fmla="*/ 3330328 w 12356823"/>
              <a:gd name="connsiteY1049" fmla="*/ 1050857 h 4722863"/>
              <a:gd name="connsiteX1050" fmla="*/ 3376441 w 12356823"/>
              <a:gd name="connsiteY1050" fmla="*/ 1078734 h 4722863"/>
              <a:gd name="connsiteX1051" fmla="*/ 3514782 w 12356823"/>
              <a:gd name="connsiteY1051" fmla="*/ 1146877 h 4722863"/>
              <a:gd name="connsiteX1052" fmla="*/ 3606959 w 12356823"/>
              <a:gd name="connsiteY1052" fmla="*/ 1189039 h 4722863"/>
              <a:gd name="connsiteX1053" fmla="*/ 3829954 w 12356823"/>
              <a:gd name="connsiteY1053" fmla="*/ 1186917 h 4722863"/>
              <a:gd name="connsiteX1054" fmla="*/ 3812749 w 12356823"/>
              <a:gd name="connsiteY1054" fmla="*/ 1171658 h 4722863"/>
              <a:gd name="connsiteX1055" fmla="*/ 3763087 w 12356823"/>
              <a:gd name="connsiteY1055" fmla="*/ 1119001 h 4722863"/>
              <a:gd name="connsiteX1056" fmla="*/ 3752446 w 12356823"/>
              <a:gd name="connsiteY1056" fmla="*/ 1103514 h 4722863"/>
              <a:gd name="connsiteX1057" fmla="*/ 3752446 w 12356823"/>
              <a:gd name="connsiteY1057" fmla="*/ 1100417 h 4722863"/>
              <a:gd name="connsiteX1058" fmla="*/ 3755992 w 12356823"/>
              <a:gd name="connsiteY1058" fmla="*/ 1100417 h 4722863"/>
              <a:gd name="connsiteX1059" fmla="*/ 3755992 w 12356823"/>
              <a:gd name="connsiteY1059" fmla="*/ 1097319 h 4722863"/>
              <a:gd name="connsiteX1060" fmla="*/ 3759540 w 12356823"/>
              <a:gd name="connsiteY1060" fmla="*/ 1100417 h 4722863"/>
              <a:gd name="connsiteX1061" fmla="*/ 3766635 w 12356823"/>
              <a:gd name="connsiteY1061" fmla="*/ 1103514 h 4722863"/>
              <a:gd name="connsiteX1062" fmla="*/ 3780823 w 12356823"/>
              <a:gd name="connsiteY1062" fmla="*/ 1112806 h 4722863"/>
              <a:gd name="connsiteX1063" fmla="*/ 3826937 w 12356823"/>
              <a:gd name="connsiteY1063" fmla="*/ 1146877 h 4722863"/>
              <a:gd name="connsiteX1064" fmla="*/ 3887833 w 12356823"/>
              <a:gd name="connsiteY1064" fmla="*/ 1186341 h 4722863"/>
              <a:gd name="connsiteX1065" fmla="*/ 4028229 w 12356823"/>
              <a:gd name="connsiteY1065" fmla="*/ 1178539 h 4722863"/>
              <a:gd name="connsiteX1066" fmla="*/ 3990108 w 12356823"/>
              <a:gd name="connsiteY1066" fmla="*/ 1159268 h 4722863"/>
              <a:gd name="connsiteX1067" fmla="*/ 3901428 w 12356823"/>
              <a:gd name="connsiteY1067" fmla="*/ 1128293 h 4722863"/>
              <a:gd name="connsiteX1068" fmla="*/ 3890786 w 12356823"/>
              <a:gd name="connsiteY1068" fmla="*/ 1125195 h 4722863"/>
              <a:gd name="connsiteX1069" fmla="*/ 3880145 w 12356823"/>
              <a:gd name="connsiteY1069" fmla="*/ 1119001 h 4722863"/>
              <a:gd name="connsiteX1070" fmla="*/ 3855314 w 12356823"/>
              <a:gd name="connsiteY1070" fmla="*/ 1103514 h 4722863"/>
              <a:gd name="connsiteX1071" fmla="*/ 3816295 w 12356823"/>
              <a:gd name="connsiteY1071" fmla="*/ 1060150 h 4722863"/>
              <a:gd name="connsiteX1072" fmla="*/ 3791464 w 12356823"/>
              <a:gd name="connsiteY1072" fmla="*/ 1022981 h 4722863"/>
              <a:gd name="connsiteX1073" fmla="*/ 3787918 w 12356823"/>
              <a:gd name="connsiteY1073" fmla="*/ 1010590 h 4722863"/>
              <a:gd name="connsiteX1074" fmla="*/ 3791464 w 12356823"/>
              <a:gd name="connsiteY1074" fmla="*/ 1007493 h 4722863"/>
              <a:gd name="connsiteX1075" fmla="*/ 3677955 w 12356823"/>
              <a:gd name="connsiteY1075" fmla="*/ 920765 h 4722863"/>
              <a:gd name="connsiteX1076" fmla="*/ 3624745 w 12356823"/>
              <a:gd name="connsiteY1076" fmla="*/ 871205 h 4722863"/>
              <a:gd name="connsiteX1077" fmla="*/ 3585726 w 12356823"/>
              <a:gd name="connsiteY1077" fmla="*/ 815452 h 4722863"/>
              <a:gd name="connsiteX1078" fmla="*/ 3575085 w 12356823"/>
              <a:gd name="connsiteY1078" fmla="*/ 796867 h 4722863"/>
              <a:gd name="connsiteX1079" fmla="*/ 3575085 w 12356823"/>
              <a:gd name="connsiteY1079" fmla="*/ 793769 h 4722863"/>
              <a:gd name="connsiteX1080" fmla="*/ 3578631 w 12356823"/>
              <a:gd name="connsiteY1080" fmla="*/ 793769 h 4722863"/>
              <a:gd name="connsiteX1081" fmla="*/ 3582178 w 12356823"/>
              <a:gd name="connsiteY1081" fmla="*/ 796867 h 4722863"/>
              <a:gd name="connsiteX1082" fmla="*/ 3585726 w 12356823"/>
              <a:gd name="connsiteY1082" fmla="*/ 799965 h 4722863"/>
              <a:gd name="connsiteX1083" fmla="*/ 3599914 w 12356823"/>
              <a:gd name="connsiteY1083" fmla="*/ 812355 h 4722863"/>
              <a:gd name="connsiteX1084" fmla="*/ 3638934 w 12356823"/>
              <a:gd name="connsiteY1084" fmla="*/ 849523 h 4722863"/>
              <a:gd name="connsiteX1085" fmla="*/ 3887240 w 12356823"/>
              <a:gd name="connsiteY1085" fmla="*/ 1035370 h 4722863"/>
              <a:gd name="connsiteX1086" fmla="*/ 3880145 w 12356823"/>
              <a:gd name="connsiteY1086" fmla="*/ 1035370 h 4722863"/>
              <a:gd name="connsiteX1087" fmla="*/ 3880145 w 12356823"/>
              <a:gd name="connsiteY1087" fmla="*/ 1041565 h 4722863"/>
              <a:gd name="connsiteX1088" fmla="*/ 3954636 w 12356823"/>
              <a:gd name="connsiteY1088" fmla="*/ 1075637 h 4722863"/>
              <a:gd name="connsiteX1089" fmla="*/ 4022032 w 12356823"/>
              <a:gd name="connsiteY1089" fmla="*/ 1106612 h 4722863"/>
              <a:gd name="connsiteX1090" fmla="*/ 3943994 w 12356823"/>
              <a:gd name="connsiteY1090" fmla="*/ 1013688 h 4722863"/>
              <a:gd name="connsiteX1091" fmla="*/ 3855314 w 12356823"/>
              <a:gd name="connsiteY1091" fmla="*/ 920765 h 4722863"/>
              <a:gd name="connsiteX1092" fmla="*/ 3795012 w 12356823"/>
              <a:gd name="connsiteY1092" fmla="*/ 877401 h 4722863"/>
              <a:gd name="connsiteX1093" fmla="*/ 3713427 w 12356823"/>
              <a:gd name="connsiteY1093" fmla="*/ 840231 h 4722863"/>
              <a:gd name="connsiteX1094" fmla="*/ 3706332 w 12356823"/>
              <a:gd name="connsiteY1094" fmla="*/ 834036 h 4722863"/>
              <a:gd name="connsiteX1095" fmla="*/ 3692143 w 12356823"/>
              <a:gd name="connsiteY1095" fmla="*/ 827841 h 4722863"/>
              <a:gd name="connsiteX1096" fmla="*/ 3674407 w 12356823"/>
              <a:gd name="connsiteY1096" fmla="*/ 812355 h 4722863"/>
              <a:gd name="connsiteX1097" fmla="*/ 3635386 w 12356823"/>
              <a:gd name="connsiteY1097" fmla="*/ 765893 h 4722863"/>
              <a:gd name="connsiteX1098" fmla="*/ 3617650 w 12356823"/>
              <a:gd name="connsiteY1098" fmla="*/ 725626 h 4722863"/>
              <a:gd name="connsiteX1099" fmla="*/ 3617650 w 12356823"/>
              <a:gd name="connsiteY1099" fmla="*/ 716334 h 4722863"/>
              <a:gd name="connsiteX1100" fmla="*/ 3621198 w 12356823"/>
              <a:gd name="connsiteY1100" fmla="*/ 713236 h 4722863"/>
              <a:gd name="connsiteX1101" fmla="*/ 3624745 w 12356823"/>
              <a:gd name="connsiteY1101" fmla="*/ 713236 h 4722863"/>
              <a:gd name="connsiteX1102" fmla="*/ 3642481 w 12356823"/>
              <a:gd name="connsiteY1102" fmla="*/ 722529 h 4722863"/>
              <a:gd name="connsiteX1103" fmla="*/ 3674407 w 12356823"/>
              <a:gd name="connsiteY1103" fmla="*/ 738016 h 4722863"/>
              <a:gd name="connsiteX1104" fmla="*/ 3766635 w 12356823"/>
              <a:gd name="connsiteY1104" fmla="*/ 793769 h 4722863"/>
              <a:gd name="connsiteX1105" fmla="*/ 4018486 w 12356823"/>
              <a:gd name="connsiteY1105" fmla="*/ 945544 h 4722863"/>
              <a:gd name="connsiteX1106" fmla="*/ 4029127 w 12356823"/>
              <a:gd name="connsiteY1106" fmla="*/ 951739 h 4722863"/>
              <a:gd name="connsiteX1107" fmla="*/ 4029127 w 12356823"/>
              <a:gd name="connsiteY1107" fmla="*/ 926960 h 4722863"/>
              <a:gd name="connsiteX1108" fmla="*/ 4046863 w 12356823"/>
              <a:gd name="connsiteY1108" fmla="*/ 914570 h 4722863"/>
              <a:gd name="connsiteX1109" fmla="*/ 4071694 w 12356823"/>
              <a:gd name="connsiteY1109" fmla="*/ 917667 h 4722863"/>
              <a:gd name="connsiteX1110" fmla="*/ 4007844 w 12356823"/>
              <a:gd name="connsiteY1110" fmla="*/ 865011 h 4722863"/>
              <a:gd name="connsiteX1111" fmla="*/ 3880145 w 12356823"/>
              <a:gd name="connsiteY1111" fmla="*/ 747309 h 4722863"/>
              <a:gd name="connsiteX1112" fmla="*/ 3848221 w 12356823"/>
              <a:gd name="connsiteY1112" fmla="*/ 694651 h 4722863"/>
              <a:gd name="connsiteX1113" fmla="*/ 3844673 w 12356823"/>
              <a:gd name="connsiteY1113" fmla="*/ 657482 h 4722863"/>
              <a:gd name="connsiteX1114" fmla="*/ 3858861 w 12356823"/>
              <a:gd name="connsiteY1114" fmla="*/ 648190 h 4722863"/>
              <a:gd name="connsiteX1115" fmla="*/ 3883692 w 12356823"/>
              <a:gd name="connsiteY1115" fmla="*/ 651288 h 4722863"/>
              <a:gd name="connsiteX1116" fmla="*/ 3968825 w 12356823"/>
              <a:gd name="connsiteY1116" fmla="*/ 682262 h 4722863"/>
              <a:gd name="connsiteX1117" fmla="*/ 4673050 w 12356823"/>
              <a:gd name="connsiteY1117" fmla="*/ 1012185 h 4722863"/>
              <a:gd name="connsiteX1118" fmla="*/ 4986857 w 12356823"/>
              <a:gd name="connsiteY1118" fmla="*/ 1083759 h 4722863"/>
              <a:gd name="connsiteX1119" fmla="*/ 5190667 w 12356823"/>
              <a:gd name="connsiteY1119" fmla="*/ 1053493 h 4722863"/>
              <a:gd name="connsiteX1120" fmla="*/ 7161801 w 12356823"/>
              <a:gd name="connsiteY1120" fmla="*/ 412784 h 4722863"/>
              <a:gd name="connsiteX1121" fmla="*/ 7232745 w 12356823"/>
              <a:gd name="connsiteY1121" fmla="*/ 363226 h 4722863"/>
              <a:gd name="connsiteX1122" fmla="*/ 7289501 w 12356823"/>
              <a:gd name="connsiteY1122" fmla="*/ 332250 h 4722863"/>
              <a:gd name="connsiteX1123" fmla="*/ 7321425 w 12356823"/>
              <a:gd name="connsiteY1123" fmla="*/ 322959 h 4722863"/>
              <a:gd name="connsiteX1124" fmla="*/ 7324973 w 12356823"/>
              <a:gd name="connsiteY1124" fmla="*/ 350835 h 4722863"/>
              <a:gd name="connsiteX1125" fmla="*/ 7321425 w 12356823"/>
              <a:gd name="connsiteY1125" fmla="*/ 353933 h 4722863"/>
              <a:gd name="connsiteX1126" fmla="*/ 7317878 w 12356823"/>
              <a:gd name="connsiteY1126" fmla="*/ 363226 h 4722863"/>
              <a:gd name="connsiteX1127" fmla="*/ 7296595 w 12356823"/>
              <a:gd name="connsiteY1127" fmla="*/ 381810 h 4722863"/>
              <a:gd name="connsiteX1128" fmla="*/ 7218556 w 12356823"/>
              <a:gd name="connsiteY1128" fmla="*/ 449953 h 4722863"/>
              <a:gd name="connsiteX1129" fmla="*/ 7154707 w 12356823"/>
              <a:gd name="connsiteY1129" fmla="*/ 508806 h 4722863"/>
              <a:gd name="connsiteX1130" fmla="*/ 7403011 w 12356823"/>
              <a:gd name="connsiteY1130" fmla="*/ 316764 h 4722863"/>
              <a:gd name="connsiteX1131" fmla="*/ 7686787 w 12356823"/>
              <a:gd name="connsiteY1131" fmla="*/ 93748 h 4722863"/>
              <a:gd name="connsiteX1132" fmla="*/ 7764825 w 12356823"/>
              <a:gd name="connsiteY1132" fmla="*/ 41090 h 4722863"/>
              <a:gd name="connsiteX1133" fmla="*/ 7825129 w 12356823"/>
              <a:gd name="connsiteY1133" fmla="*/ 10116 h 4722863"/>
              <a:gd name="connsiteX1134" fmla="*/ 7864147 w 12356823"/>
              <a:gd name="connsiteY1134" fmla="*/ 824 h 472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</a:cxnLst>
            <a:rect l="l" t="t" r="r" b="b"/>
            <a:pathLst>
              <a:path w="12356823" h="4722863">
                <a:moveTo>
                  <a:pt x="10742574" y="1497163"/>
                </a:moveTo>
                <a:cubicBezTo>
                  <a:pt x="10746079" y="1497163"/>
                  <a:pt x="10746079" y="1497163"/>
                  <a:pt x="10749584" y="1497163"/>
                </a:cubicBezTo>
                <a:cubicBezTo>
                  <a:pt x="10756594" y="1494186"/>
                  <a:pt x="10767108" y="1500141"/>
                  <a:pt x="10774118" y="1503116"/>
                </a:cubicBezTo>
                <a:cubicBezTo>
                  <a:pt x="10777624" y="1503116"/>
                  <a:pt x="10781128" y="1506094"/>
                  <a:pt x="10784633" y="1509071"/>
                </a:cubicBezTo>
                <a:cubicBezTo>
                  <a:pt x="10784633" y="1509071"/>
                  <a:pt x="10788138" y="1509071"/>
                  <a:pt x="10788138" y="1509071"/>
                </a:cubicBezTo>
                <a:cubicBezTo>
                  <a:pt x="10788138" y="1509071"/>
                  <a:pt x="10788138" y="1509071"/>
                  <a:pt x="10788138" y="1512048"/>
                </a:cubicBezTo>
                <a:cubicBezTo>
                  <a:pt x="10784633" y="1515024"/>
                  <a:pt x="10784633" y="1515024"/>
                  <a:pt x="10784633" y="1515024"/>
                </a:cubicBezTo>
                <a:cubicBezTo>
                  <a:pt x="10781128" y="1515024"/>
                  <a:pt x="10777624" y="1515024"/>
                  <a:pt x="10774118" y="1515024"/>
                </a:cubicBezTo>
                <a:cubicBezTo>
                  <a:pt x="10767108" y="1515024"/>
                  <a:pt x="10756594" y="1515024"/>
                  <a:pt x="10746079" y="1512048"/>
                </a:cubicBezTo>
                <a:cubicBezTo>
                  <a:pt x="10746079" y="1512048"/>
                  <a:pt x="10746079" y="1509071"/>
                  <a:pt x="10742574" y="1506094"/>
                </a:cubicBezTo>
                <a:cubicBezTo>
                  <a:pt x="10742574" y="1506094"/>
                  <a:pt x="10742574" y="1503116"/>
                  <a:pt x="10742574" y="1500141"/>
                </a:cubicBezTo>
                <a:cubicBezTo>
                  <a:pt x="10742574" y="1500141"/>
                  <a:pt x="10742574" y="1500141"/>
                  <a:pt x="10742574" y="1497163"/>
                </a:cubicBezTo>
                <a:close/>
                <a:moveTo>
                  <a:pt x="10951795" y="1460091"/>
                </a:moveTo>
                <a:cubicBezTo>
                  <a:pt x="10962489" y="1460091"/>
                  <a:pt x="10973183" y="1460091"/>
                  <a:pt x="10980311" y="1463180"/>
                </a:cubicBezTo>
                <a:cubicBezTo>
                  <a:pt x="10987441" y="1466272"/>
                  <a:pt x="10998133" y="1469362"/>
                  <a:pt x="11005263" y="1472453"/>
                </a:cubicBezTo>
                <a:cubicBezTo>
                  <a:pt x="11008827" y="1475543"/>
                  <a:pt x="11012391" y="1475543"/>
                  <a:pt x="11012391" y="1478634"/>
                </a:cubicBezTo>
                <a:cubicBezTo>
                  <a:pt x="11015956" y="1478634"/>
                  <a:pt x="11015956" y="1478634"/>
                  <a:pt x="11015956" y="1481724"/>
                </a:cubicBezTo>
                <a:cubicBezTo>
                  <a:pt x="11015956" y="1481724"/>
                  <a:pt x="11015956" y="1481724"/>
                  <a:pt x="11012391" y="1484816"/>
                </a:cubicBezTo>
                <a:cubicBezTo>
                  <a:pt x="11008827" y="1484816"/>
                  <a:pt x="11005263" y="1484816"/>
                  <a:pt x="11005263" y="1484816"/>
                </a:cubicBezTo>
                <a:cubicBezTo>
                  <a:pt x="10998133" y="1487906"/>
                  <a:pt x="10991005" y="1484816"/>
                  <a:pt x="10983876" y="1487906"/>
                </a:cubicBezTo>
                <a:cubicBezTo>
                  <a:pt x="10944666" y="1484816"/>
                  <a:pt x="10909021" y="1518812"/>
                  <a:pt x="10866247" y="1512631"/>
                </a:cubicBezTo>
                <a:cubicBezTo>
                  <a:pt x="10866247" y="1509541"/>
                  <a:pt x="10869811" y="1509541"/>
                  <a:pt x="10869811" y="1506450"/>
                </a:cubicBezTo>
                <a:cubicBezTo>
                  <a:pt x="10869811" y="1503360"/>
                  <a:pt x="10866247" y="1497178"/>
                  <a:pt x="10866247" y="1497178"/>
                </a:cubicBezTo>
                <a:cubicBezTo>
                  <a:pt x="10866247" y="1494087"/>
                  <a:pt x="10866247" y="1494087"/>
                  <a:pt x="10866247" y="1490997"/>
                </a:cubicBezTo>
                <a:cubicBezTo>
                  <a:pt x="10866247" y="1490997"/>
                  <a:pt x="10866247" y="1487906"/>
                  <a:pt x="10866247" y="1487906"/>
                </a:cubicBezTo>
                <a:cubicBezTo>
                  <a:pt x="10873375" y="1484816"/>
                  <a:pt x="10873375" y="1481724"/>
                  <a:pt x="10876940" y="1478634"/>
                </a:cubicBezTo>
                <a:cubicBezTo>
                  <a:pt x="10880505" y="1478634"/>
                  <a:pt x="10887635" y="1475543"/>
                  <a:pt x="10891199" y="1475543"/>
                </a:cubicBezTo>
                <a:cubicBezTo>
                  <a:pt x="10912586" y="1469362"/>
                  <a:pt x="10930408" y="1466272"/>
                  <a:pt x="10951795" y="1460091"/>
                </a:cubicBezTo>
                <a:close/>
                <a:moveTo>
                  <a:pt x="225646" y="1240356"/>
                </a:moveTo>
                <a:cubicBezTo>
                  <a:pt x="225646" y="1240356"/>
                  <a:pt x="225646" y="1240356"/>
                  <a:pt x="229263" y="1240356"/>
                </a:cubicBezTo>
                <a:cubicBezTo>
                  <a:pt x="232878" y="1243404"/>
                  <a:pt x="236494" y="1246450"/>
                  <a:pt x="236494" y="1249498"/>
                </a:cubicBezTo>
                <a:cubicBezTo>
                  <a:pt x="247343" y="1261688"/>
                  <a:pt x="258191" y="1273877"/>
                  <a:pt x="265424" y="1286065"/>
                </a:cubicBezTo>
                <a:cubicBezTo>
                  <a:pt x="265424" y="1292160"/>
                  <a:pt x="269040" y="1298255"/>
                  <a:pt x="269040" y="1301302"/>
                </a:cubicBezTo>
                <a:cubicBezTo>
                  <a:pt x="269040" y="1304349"/>
                  <a:pt x="269040" y="1304349"/>
                  <a:pt x="269040" y="1307397"/>
                </a:cubicBezTo>
                <a:cubicBezTo>
                  <a:pt x="269040" y="1307397"/>
                  <a:pt x="269040" y="1310444"/>
                  <a:pt x="269040" y="1310444"/>
                </a:cubicBezTo>
                <a:cubicBezTo>
                  <a:pt x="265424" y="1307397"/>
                  <a:pt x="261807" y="1307397"/>
                  <a:pt x="261807" y="1307397"/>
                </a:cubicBezTo>
                <a:cubicBezTo>
                  <a:pt x="254576" y="1295208"/>
                  <a:pt x="243727" y="1279972"/>
                  <a:pt x="236494" y="1267782"/>
                </a:cubicBezTo>
                <a:cubicBezTo>
                  <a:pt x="232878" y="1261688"/>
                  <a:pt x="229263" y="1255593"/>
                  <a:pt x="229263" y="1246450"/>
                </a:cubicBezTo>
                <a:cubicBezTo>
                  <a:pt x="225646" y="1246450"/>
                  <a:pt x="225646" y="1243404"/>
                  <a:pt x="225646" y="1243404"/>
                </a:cubicBezTo>
                <a:cubicBezTo>
                  <a:pt x="225646" y="1240356"/>
                  <a:pt x="225646" y="1240356"/>
                  <a:pt x="225646" y="1240356"/>
                </a:cubicBezTo>
                <a:close/>
                <a:moveTo>
                  <a:pt x="10848" y="978949"/>
                </a:moveTo>
                <a:cubicBezTo>
                  <a:pt x="10848" y="978949"/>
                  <a:pt x="10848" y="978949"/>
                  <a:pt x="14374" y="978949"/>
                </a:cubicBezTo>
                <a:cubicBezTo>
                  <a:pt x="14374" y="978949"/>
                  <a:pt x="14374" y="978949"/>
                  <a:pt x="17899" y="978949"/>
                </a:cubicBezTo>
                <a:cubicBezTo>
                  <a:pt x="17899" y="982054"/>
                  <a:pt x="21425" y="985160"/>
                  <a:pt x="21425" y="988265"/>
                </a:cubicBezTo>
                <a:cubicBezTo>
                  <a:pt x="32002" y="997582"/>
                  <a:pt x="35529" y="1006897"/>
                  <a:pt x="42579" y="1016213"/>
                </a:cubicBezTo>
                <a:cubicBezTo>
                  <a:pt x="77837" y="1069004"/>
                  <a:pt x="116621" y="1081425"/>
                  <a:pt x="151878" y="1137321"/>
                </a:cubicBezTo>
                <a:cubicBezTo>
                  <a:pt x="151878" y="1137321"/>
                  <a:pt x="148352" y="1140427"/>
                  <a:pt x="148352" y="1140427"/>
                </a:cubicBezTo>
                <a:cubicBezTo>
                  <a:pt x="151878" y="1149742"/>
                  <a:pt x="151878" y="1155953"/>
                  <a:pt x="151878" y="1159059"/>
                </a:cubicBezTo>
                <a:cubicBezTo>
                  <a:pt x="151878" y="1162164"/>
                  <a:pt x="151878" y="1162164"/>
                  <a:pt x="151878" y="1165270"/>
                </a:cubicBezTo>
                <a:cubicBezTo>
                  <a:pt x="151878" y="1165270"/>
                  <a:pt x="151878" y="1168375"/>
                  <a:pt x="148352" y="1168375"/>
                </a:cubicBezTo>
                <a:cubicBezTo>
                  <a:pt x="148352" y="1168375"/>
                  <a:pt x="144826" y="1165270"/>
                  <a:pt x="141301" y="1165270"/>
                </a:cubicBezTo>
                <a:cubicBezTo>
                  <a:pt x="137775" y="1162164"/>
                  <a:pt x="134249" y="1155953"/>
                  <a:pt x="127198" y="1152848"/>
                </a:cubicBezTo>
                <a:cubicBezTo>
                  <a:pt x="109570" y="1131110"/>
                  <a:pt x="88414" y="1109373"/>
                  <a:pt x="70786" y="1087636"/>
                </a:cubicBezTo>
                <a:cubicBezTo>
                  <a:pt x="60209" y="1078320"/>
                  <a:pt x="53157" y="1065899"/>
                  <a:pt x="46106" y="1050371"/>
                </a:cubicBezTo>
                <a:cubicBezTo>
                  <a:pt x="35529" y="1034845"/>
                  <a:pt x="28476" y="1019319"/>
                  <a:pt x="21425" y="1000687"/>
                </a:cubicBezTo>
                <a:cubicBezTo>
                  <a:pt x="17899" y="997582"/>
                  <a:pt x="14374" y="988265"/>
                  <a:pt x="14374" y="982054"/>
                </a:cubicBezTo>
                <a:cubicBezTo>
                  <a:pt x="14374" y="982054"/>
                  <a:pt x="14374" y="982054"/>
                  <a:pt x="10848" y="978949"/>
                </a:cubicBezTo>
                <a:close/>
                <a:moveTo>
                  <a:pt x="8697751" y="863228"/>
                </a:moveTo>
                <a:lnTo>
                  <a:pt x="8630343" y="865011"/>
                </a:lnTo>
                <a:cubicBezTo>
                  <a:pt x="8619702" y="865011"/>
                  <a:pt x="8605513" y="865011"/>
                  <a:pt x="8594872" y="868108"/>
                </a:cubicBezTo>
                <a:cubicBezTo>
                  <a:pt x="8591324" y="868108"/>
                  <a:pt x="8587777" y="868108"/>
                  <a:pt x="8584229" y="868108"/>
                </a:cubicBezTo>
                <a:cubicBezTo>
                  <a:pt x="8584229" y="868108"/>
                  <a:pt x="8580683" y="871205"/>
                  <a:pt x="8580683" y="871205"/>
                </a:cubicBezTo>
                <a:cubicBezTo>
                  <a:pt x="8580683" y="878949"/>
                  <a:pt x="8580683" y="885144"/>
                  <a:pt x="8580240" y="890952"/>
                </a:cubicBezTo>
                <a:lnTo>
                  <a:pt x="8579818" y="893321"/>
                </a:lnTo>
                <a:close/>
                <a:moveTo>
                  <a:pt x="9084385" y="626508"/>
                </a:moveTo>
                <a:cubicBezTo>
                  <a:pt x="9080838" y="626508"/>
                  <a:pt x="9080838" y="626508"/>
                  <a:pt x="9080838" y="629606"/>
                </a:cubicBezTo>
                <a:cubicBezTo>
                  <a:pt x="9077292" y="629606"/>
                  <a:pt x="9077292" y="629606"/>
                  <a:pt x="9077292" y="629606"/>
                </a:cubicBezTo>
                <a:cubicBezTo>
                  <a:pt x="9073744" y="645093"/>
                  <a:pt x="9070197" y="648190"/>
                  <a:pt x="9063102" y="660580"/>
                </a:cubicBezTo>
                <a:cubicBezTo>
                  <a:pt x="9063102" y="663677"/>
                  <a:pt x="9063102" y="663677"/>
                  <a:pt x="9063102" y="663677"/>
                </a:cubicBezTo>
                <a:cubicBezTo>
                  <a:pt x="9066649" y="663677"/>
                  <a:pt x="9070197" y="663677"/>
                  <a:pt x="9073744" y="663677"/>
                </a:cubicBezTo>
                <a:cubicBezTo>
                  <a:pt x="9087933" y="663677"/>
                  <a:pt x="9098575" y="663677"/>
                  <a:pt x="9112764" y="666775"/>
                </a:cubicBezTo>
                <a:lnTo>
                  <a:pt x="9220878" y="687437"/>
                </a:lnTo>
                <a:lnTo>
                  <a:pt x="9283231" y="662690"/>
                </a:lnTo>
                <a:lnTo>
                  <a:pt x="9162424" y="635800"/>
                </a:lnTo>
                <a:cubicBezTo>
                  <a:pt x="9141141" y="632703"/>
                  <a:pt x="9119857" y="629606"/>
                  <a:pt x="9102121" y="626508"/>
                </a:cubicBezTo>
                <a:cubicBezTo>
                  <a:pt x="9095028" y="629606"/>
                  <a:pt x="9091480" y="626508"/>
                  <a:pt x="9084385" y="626508"/>
                </a:cubicBezTo>
                <a:close/>
                <a:moveTo>
                  <a:pt x="12143987" y="571686"/>
                </a:moveTo>
                <a:cubicBezTo>
                  <a:pt x="12147534" y="571686"/>
                  <a:pt x="12151081" y="571686"/>
                  <a:pt x="12154629" y="571686"/>
                </a:cubicBezTo>
                <a:cubicBezTo>
                  <a:pt x="12161723" y="571686"/>
                  <a:pt x="12168818" y="574758"/>
                  <a:pt x="12172365" y="574758"/>
                </a:cubicBezTo>
                <a:cubicBezTo>
                  <a:pt x="12179459" y="577831"/>
                  <a:pt x="12186554" y="580904"/>
                  <a:pt x="12197195" y="587049"/>
                </a:cubicBezTo>
                <a:cubicBezTo>
                  <a:pt x="12229121" y="599342"/>
                  <a:pt x="12261046" y="617779"/>
                  <a:pt x="12292972" y="636216"/>
                </a:cubicBezTo>
                <a:cubicBezTo>
                  <a:pt x="12303615" y="642362"/>
                  <a:pt x="12317803" y="651580"/>
                  <a:pt x="12324897" y="663873"/>
                </a:cubicBezTo>
                <a:cubicBezTo>
                  <a:pt x="12335540" y="673091"/>
                  <a:pt x="12346182" y="685383"/>
                  <a:pt x="12349728" y="694602"/>
                </a:cubicBezTo>
                <a:cubicBezTo>
                  <a:pt x="12353276" y="697675"/>
                  <a:pt x="12353276" y="703820"/>
                  <a:pt x="12356823" y="706894"/>
                </a:cubicBezTo>
                <a:cubicBezTo>
                  <a:pt x="12353276" y="709967"/>
                  <a:pt x="12353276" y="709967"/>
                  <a:pt x="12353276" y="709967"/>
                </a:cubicBezTo>
                <a:cubicBezTo>
                  <a:pt x="12353276" y="709967"/>
                  <a:pt x="12353276" y="709967"/>
                  <a:pt x="12353276" y="706894"/>
                </a:cubicBezTo>
                <a:cubicBezTo>
                  <a:pt x="12353276" y="706894"/>
                  <a:pt x="12353276" y="706894"/>
                  <a:pt x="12349728" y="709967"/>
                </a:cubicBezTo>
                <a:cubicBezTo>
                  <a:pt x="12346182" y="706894"/>
                  <a:pt x="12346182" y="706894"/>
                  <a:pt x="12346182" y="706894"/>
                </a:cubicBezTo>
                <a:cubicBezTo>
                  <a:pt x="12342634" y="703820"/>
                  <a:pt x="12339087" y="703820"/>
                  <a:pt x="12335540" y="700748"/>
                </a:cubicBezTo>
                <a:cubicBezTo>
                  <a:pt x="12328446" y="694602"/>
                  <a:pt x="12317803" y="688456"/>
                  <a:pt x="12310708" y="679237"/>
                </a:cubicBezTo>
                <a:cubicBezTo>
                  <a:pt x="12253952" y="639289"/>
                  <a:pt x="12186554" y="630070"/>
                  <a:pt x="12133344" y="587049"/>
                </a:cubicBezTo>
                <a:cubicBezTo>
                  <a:pt x="12133344" y="587049"/>
                  <a:pt x="12136893" y="587049"/>
                  <a:pt x="12140439" y="587049"/>
                </a:cubicBezTo>
                <a:cubicBezTo>
                  <a:pt x="12136893" y="580904"/>
                  <a:pt x="12136893" y="577831"/>
                  <a:pt x="12140439" y="574758"/>
                </a:cubicBezTo>
                <a:cubicBezTo>
                  <a:pt x="12143987" y="571686"/>
                  <a:pt x="12143987" y="571686"/>
                  <a:pt x="12143987" y="571686"/>
                </a:cubicBezTo>
                <a:close/>
                <a:moveTo>
                  <a:pt x="11958742" y="461819"/>
                </a:moveTo>
                <a:cubicBezTo>
                  <a:pt x="11958742" y="464897"/>
                  <a:pt x="11962282" y="464897"/>
                  <a:pt x="11965821" y="464897"/>
                </a:cubicBezTo>
                <a:cubicBezTo>
                  <a:pt x="11976442" y="471053"/>
                  <a:pt x="11990602" y="483366"/>
                  <a:pt x="12001222" y="492600"/>
                </a:cubicBezTo>
                <a:cubicBezTo>
                  <a:pt x="12004762" y="495678"/>
                  <a:pt x="12008302" y="501835"/>
                  <a:pt x="12008302" y="504913"/>
                </a:cubicBezTo>
                <a:cubicBezTo>
                  <a:pt x="12008302" y="507991"/>
                  <a:pt x="12011842" y="507991"/>
                  <a:pt x="12008302" y="511069"/>
                </a:cubicBezTo>
                <a:cubicBezTo>
                  <a:pt x="12008302" y="511069"/>
                  <a:pt x="12008302" y="511069"/>
                  <a:pt x="12004762" y="511069"/>
                </a:cubicBezTo>
                <a:cubicBezTo>
                  <a:pt x="12004762" y="511069"/>
                  <a:pt x="12001222" y="511069"/>
                  <a:pt x="12001222" y="511069"/>
                </a:cubicBezTo>
                <a:cubicBezTo>
                  <a:pt x="11997683" y="507991"/>
                  <a:pt x="11994141" y="504913"/>
                  <a:pt x="11990602" y="501835"/>
                </a:cubicBezTo>
                <a:cubicBezTo>
                  <a:pt x="11972902" y="495678"/>
                  <a:pt x="11962282" y="486443"/>
                  <a:pt x="11948121" y="477209"/>
                </a:cubicBezTo>
                <a:cubicBezTo>
                  <a:pt x="11944581" y="474132"/>
                  <a:pt x="11944581" y="471053"/>
                  <a:pt x="11948121" y="467974"/>
                </a:cubicBezTo>
                <a:cubicBezTo>
                  <a:pt x="11948121" y="467974"/>
                  <a:pt x="11948121" y="464897"/>
                  <a:pt x="11951662" y="464897"/>
                </a:cubicBezTo>
                <a:cubicBezTo>
                  <a:pt x="11951662" y="464897"/>
                  <a:pt x="11951662" y="464897"/>
                  <a:pt x="11955202" y="464897"/>
                </a:cubicBezTo>
                <a:cubicBezTo>
                  <a:pt x="11955202" y="464897"/>
                  <a:pt x="11955202" y="464897"/>
                  <a:pt x="11958742" y="461819"/>
                </a:cubicBezTo>
                <a:close/>
                <a:moveTo>
                  <a:pt x="9291742" y="461819"/>
                </a:moveTo>
                <a:cubicBezTo>
                  <a:pt x="9291742" y="464897"/>
                  <a:pt x="9295282" y="464897"/>
                  <a:pt x="9298821" y="464897"/>
                </a:cubicBezTo>
                <a:cubicBezTo>
                  <a:pt x="9309442" y="471053"/>
                  <a:pt x="9323602" y="483366"/>
                  <a:pt x="9334222" y="492600"/>
                </a:cubicBezTo>
                <a:cubicBezTo>
                  <a:pt x="9337762" y="495678"/>
                  <a:pt x="9341302" y="501835"/>
                  <a:pt x="9341302" y="504913"/>
                </a:cubicBezTo>
                <a:cubicBezTo>
                  <a:pt x="9341302" y="507991"/>
                  <a:pt x="9344842" y="507991"/>
                  <a:pt x="9341302" y="511069"/>
                </a:cubicBezTo>
                <a:cubicBezTo>
                  <a:pt x="9341302" y="511069"/>
                  <a:pt x="9341302" y="511069"/>
                  <a:pt x="9337762" y="511069"/>
                </a:cubicBezTo>
                <a:cubicBezTo>
                  <a:pt x="9337762" y="511069"/>
                  <a:pt x="9334222" y="511069"/>
                  <a:pt x="9334222" y="511069"/>
                </a:cubicBezTo>
                <a:cubicBezTo>
                  <a:pt x="9330683" y="507991"/>
                  <a:pt x="9327141" y="504913"/>
                  <a:pt x="9323602" y="501835"/>
                </a:cubicBezTo>
                <a:cubicBezTo>
                  <a:pt x="9305902" y="495678"/>
                  <a:pt x="9295282" y="486443"/>
                  <a:pt x="9281121" y="477209"/>
                </a:cubicBezTo>
                <a:cubicBezTo>
                  <a:pt x="9277581" y="474132"/>
                  <a:pt x="9277581" y="471053"/>
                  <a:pt x="9281121" y="467974"/>
                </a:cubicBezTo>
                <a:cubicBezTo>
                  <a:pt x="9281121" y="467974"/>
                  <a:pt x="9281121" y="464897"/>
                  <a:pt x="9284662" y="464897"/>
                </a:cubicBezTo>
                <a:cubicBezTo>
                  <a:pt x="9284662" y="464897"/>
                  <a:pt x="9284662" y="464897"/>
                  <a:pt x="9288202" y="464897"/>
                </a:cubicBezTo>
                <a:cubicBezTo>
                  <a:pt x="9288202" y="464897"/>
                  <a:pt x="9288202" y="464897"/>
                  <a:pt x="9291742" y="461819"/>
                </a:cubicBezTo>
                <a:close/>
                <a:moveTo>
                  <a:pt x="7864147" y="824"/>
                </a:moveTo>
                <a:cubicBezTo>
                  <a:pt x="7874789" y="3921"/>
                  <a:pt x="7871242" y="16312"/>
                  <a:pt x="7867695" y="25603"/>
                </a:cubicBezTo>
                <a:cubicBezTo>
                  <a:pt x="7867695" y="28701"/>
                  <a:pt x="7867695" y="28701"/>
                  <a:pt x="7867695" y="31799"/>
                </a:cubicBezTo>
                <a:cubicBezTo>
                  <a:pt x="7864147" y="31799"/>
                  <a:pt x="7860601" y="34896"/>
                  <a:pt x="7860601" y="37994"/>
                </a:cubicBezTo>
                <a:cubicBezTo>
                  <a:pt x="7853506" y="44188"/>
                  <a:pt x="7842865" y="50383"/>
                  <a:pt x="7835770" y="56578"/>
                </a:cubicBezTo>
                <a:cubicBezTo>
                  <a:pt x="7807393" y="81357"/>
                  <a:pt x="7782561" y="103039"/>
                  <a:pt x="7754184" y="127819"/>
                </a:cubicBezTo>
                <a:cubicBezTo>
                  <a:pt x="7676147" y="199061"/>
                  <a:pt x="7594561" y="267204"/>
                  <a:pt x="7516521" y="335348"/>
                </a:cubicBezTo>
                <a:cubicBezTo>
                  <a:pt x="7434936" y="406590"/>
                  <a:pt x="7356897" y="477831"/>
                  <a:pt x="7275311" y="549072"/>
                </a:cubicBezTo>
                <a:cubicBezTo>
                  <a:pt x="7275311" y="549072"/>
                  <a:pt x="7278859" y="545975"/>
                  <a:pt x="7282405" y="545975"/>
                </a:cubicBezTo>
                <a:cubicBezTo>
                  <a:pt x="7289501" y="542877"/>
                  <a:pt x="7296595" y="536682"/>
                  <a:pt x="7303690" y="533584"/>
                </a:cubicBezTo>
                <a:cubicBezTo>
                  <a:pt x="7456219" y="409686"/>
                  <a:pt x="7605202" y="282692"/>
                  <a:pt x="7761279" y="171183"/>
                </a:cubicBezTo>
                <a:cubicBezTo>
                  <a:pt x="7818033" y="134014"/>
                  <a:pt x="7867695" y="90650"/>
                  <a:pt x="7920902" y="50383"/>
                </a:cubicBezTo>
                <a:cubicBezTo>
                  <a:pt x="7931545" y="41090"/>
                  <a:pt x="7938638" y="37994"/>
                  <a:pt x="7949281" y="31799"/>
                </a:cubicBezTo>
                <a:cubicBezTo>
                  <a:pt x="7956375" y="25603"/>
                  <a:pt x="7963469" y="25603"/>
                  <a:pt x="7970564" y="22506"/>
                </a:cubicBezTo>
                <a:cubicBezTo>
                  <a:pt x="7977659" y="22506"/>
                  <a:pt x="7984752" y="22506"/>
                  <a:pt x="7991847" y="25603"/>
                </a:cubicBezTo>
                <a:cubicBezTo>
                  <a:pt x="7995395" y="31799"/>
                  <a:pt x="8002488" y="34896"/>
                  <a:pt x="8009583" y="41090"/>
                </a:cubicBezTo>
                <a:cubicBezTo>
                  <a:pt x="8009583" y="44188"/>
                  <a:pt x="8009583" y="47286"/>
                  <a:pt x="8006036" y="53481"/>
                </a:cubicBezTo>
                <a:cubicBezTo>
                  <a:pt x="8006036" y="56578"/>
                  <a:pt x="8002488" y="59676"/>
                  <a:pt x="7998941" y="62772"/>
                </a:cubicBezTo>
                <a:cubicBezTo>
                  <a:pt x="7988300" y="78261"/>
                  <a:pt x="7977659" y="90650"/>
                  <a:pt x="7963469" y="99942"/>
                </a:cubicBezTo>
                <a:cubicBezTo>
                  <a:pt x="7931545" y="130917"/>
                  <a:pt x="7896073" y="158794"/>
                  <a:pt x="7857053" y="183573"/>
                </a:cubicBezTo>
                <a:cubicBezTo>
                  <a:pt x="7846411" y="195963"/>
                  <a:pt x="7832223" y="205256"/>
                  <a:pt x="7818033" y="214548"/>
                </a:cubicBezTo>
                <a:cubicBezTo>
                  <a:pt x="7818033" y="214548"/>
                  <a:pt x="7818033" y="217645"/>
                  <a:pt x="7818033" y="217645"/>
                </a:cubicBezTo>
                <a:cubicBezTo>
                  <a:pt x="7821581" y="220743"/>
                  <a:pt x="7825129" y="220743"/>
                  <a:pt x="7825129" y="223841"/>
                </a:cubicBezTo>
                <a:cubicBezTo>
                  <a:pt x="7825129" y="223841"/>
                  <a:pt x="7825129" y="220743"/>
                  <a:pt x="7828675" y="220743"/>
                </a:cubicBezTo>
                <a:cubicBezTo>
                  <a:pt x="7839317" y="214548"/>
                  <a:pt x="7849959" y="208353"/>
                  <a:pt x="7857053" y="205256"/>
                </a:cubicBezTo>
                <a:cubicBezTo>
                  <a:pt x="7860601" y="205256"/>
                  <a:pt x="7864147" y="202159"/>
                  <a:pt x="7867695" y="202159"/>
                </a:cubicBezTo>
                <a:cubicBezTo>
                  <a:pt x="7867695" y="205256"/>
                  <a:pt x="7871242" y="202159"/>
                  <a:pt x="7871242" y="205256"/>
                </a:cubicBezTo>
                <a:cubicBezTo>
                  <a:pt x="7874789" y="205256"/>
                  <a:pt x="7871242" y="211450"/>
                  <a:pt x="7867695" y="214548"/>
                </a:cubicBezTo>
                <a:cubicBezTo>
                  <a:pt x="7867695" y="217645"/>
                  <a:pt x="7860601" y="223841"/>
                  <a:pt x="7860601" y="230035"/>
                </a:cubicBezTo>
                <a:cubicBezTo>
                  <a:pt x="7835770" y="257912"/>
                  <a:pt x="7807393" y="282692"/>
                  <a:pt x="7786109" y="307471"/>
                </a:cubicBezTo>
                <a:cubicBezTo>
                  <a:pt x="7775467" y="310568"/>
                  <a:pt x="7771920" y="316764"/>
                  <a:pt x="7768373" y="322959"/>
                </a:cubicBezTo>
                <a:cubicBezTo>
                  <a:pt x="7747089" y="347737"/>
                  <a:pt x="7725807" y="372517"/>
                  <a:pt x="7700976" y="400395"/>
                </a:cubicBezTo>
                <a:cubicBezTo>
                  <a:pt x="7661957" y="443759"/>
                  <a:pt x="7619390" y="493318"/>
                  <a:pt x="7576825" y="539780"/>
                </a:cubicBezTo>
                <a:cubicBezTo>
                  <a:pt x="7654862" y="471636"/>
                  <a:pt x="7718712" y="397297"/>
                  <a:pt x="7803845" y="338446"/>
                </a:cubicBezTo>
                <a:cubicBezTo>
                  <a:pt x="7828675" y="319861"/>
                  <a:pt x="7842865" y="301277"/>
                  <a:pt x="7864147" y="279594"/>
                </a:cubicBezTo>
                <a:cubicBezTo>
                  <a:pt x="7867695" y="276497"/>
                  <a:pt x="7871242" y="273399"/>
                  <a:pt x="7874789" y="270301"/>
                </a:cubicBezTo>
                <a:cubicBezTo>
                  <a:pt x="7878337" y="270301"/>
                  <a:pt x="7881883" y="270301"/>
                  <a:pt x="7885431" y="270301"/>
                </a:cubicBezTo>
                <a:cubicBezTo>
                  <a:pt x="7888978" y="273399"/>
                  <a:pt x="7892525" y="273399"/>
                  <a:pt x="7896073" y="279594"/>
                </a:cubicBezTo>
                <a:cubicBezTo>
                  <a:pt x="7899619" y="285790"/>
                  <a:pt x="7903166" y="288886"/>
                  <a:pt x="7910261" y="298179"/>
                </a:cubicBezTo>
                <a:cubicBezTo>
                  <a:pt x="7910261" y="301277"/>
                  <a:pt x="7910261" y="304374"/>
                  <a:pt x="7910261" y="307471"/>
                </a:cubicBezTo>
                <a:cubicBezTo>
                  <a:pt x="7910261" y="310568"/>
                  <a:pt x="7910261" y="313666"/>
                  <a:pt x="7906714" y="316764"/>
                </a:cubicBezTo>
                <a:cubicBezTo>
                  <a:pt x="7906714" y="322959"/>
                  <a:pt x="7903166" y="332250"/>
                  <a:pt x="7896073" y="335348"/>
                </a:cubicBezTo>
                <a:cubicBezTo>
                  <a:pt x="7888978" y="350835"/>
                  <a:pt x="7874789" y="366322"/>
                  <a:pt x="7860601" y="378712"/>
                </a:cubicBezTo>
                <a:cubicBezTo>
                  <a:pt x="7849959" y="388005"/>
                  <a:pt x="7839317" y="397297"/>
                  <a:pt x="7832223" y="406590"/>
                </a:cubicBezTo>
                <a:cubicBezTo>
                  <a:pt x="7832223" y="406590"/>
                  <a:pt x="7828675" y="406590"/>
                  <a:pt x="7828675" y="406590"/>
                </a:cubicBezTo>
                <a:cubicBezTo>
                  <a:pt x="7828675" y="406590"/>
                  <a:pt x="7832223" y="409686"/>
                  <a:pt x="7828675" y="409686"/>
                </a:cubicBezTo>
                <a:cubicBezTo>
                  <a:pt x="7828675" y="409686"/>
                  <a:pt x="7828675" y="409686"/>
                  <a:pt x="7832223" y="409686"/>
                </a:cubicBezTo>
                <a:cubicBezTo>
                  <a:pt x="7839317" y="406590"/>
                  <a:pt x="7842865" y="403492"/>
                  <a:pt x="7853506" y="403492"/>
                </a:cubicBezTo>
                <a:cubicBezTo>
                  <a:pt x="7857053" y="400395"/>
                  <a:pt x="7860601" y="397297"/>
                  <a:pt x="7864147" y="397297"/>
                </a:cubicBezTo>
                <a:cubicBezTo>
                  <a:pt x="7864147" y="397297"/>
                  <a:pt x="7867695" y="397297"/>
                  <a:pt x="7867695" y="397297"/>
                </a:cubicBezTo>
                <a:cubicBezTo>
                  <a:pt x="7871242" y="400395"/>
                  <a:pt x="7871242" y="400395"/>
                  <a:pt x="7871242" y="400395"/>
                </a:cubicBezTo>
                <a:cubicBezTo>
                  <a:pt x="7938638" y="357030"/>
                  <a:pt x="8006036" y="313666"/>
                  <a:pt x="8069885" y="264107"/>
                </a:cubicBezTo>
                <a:cubicBezTo>
                  <a:pt x="8091169" y="251717"/>
                  <a:pt x="8112451" y="236230"/>
                  <a:pt x="8133735" y="220743"/>
                </a:cubicBezTo>
                <a:cubicBezTo>
                  <a:pt x="8137282" y="217645"/>
                  <a:pt x="8137282" y="217645"/>
                  <a:pt x="8137282" y="214548"/>
                </a:cubicBezTo>
                <a:cubicBezTo>
                  <a:pt x="8144377" y="211450"/>
                  <a:pt x="8151471" y="205256"/>
                  <a:pt x="8158566" y="202159"/>
                </a:cubicBezTo>
                <a:cubicBezTo>
                  <a:pt x="8162113" y="199061"/>
                  <a:pt x="8169207" y="192866"/>
                  <a:pt x="8172754" y="192866"/>
                </a:cubicBezTo>
                <a:cubicBezTo>
                  <a:pt x="8179849" y="189768"/>
                  <a:pt x="8186943" y="186670"/>
                  <a:pt x="8194037" y="186670"/>
                </a:cubicBezTo>
                <a:cubicBezTo>
                  <a:pt x="8204679" y="183573"/>
                  <a:pt x="8211773" y="180476"/>
                  <a:pt x="8222415" y="183573"/>
                </a:cubicBezTo>
                <a:cubicBezTo>
                  <a:pt x="8247245" y="177379"/>
                  <a:pt x="8275623" y="177379"/>
                  <a:pt x="8307548" y="177379"/>
                </a:cubicBezTo>
                <a:cubicBezTo>
                  <a:pt x="8335925" y="180476"/>
                  <a:pt x="8367851" y="174281"/>
                  <a:pt x="8399775" y="168086"/>
                </a:cubicBezTo>
                <a:cubicBezTo>
                  <a:pt x="8428153" y="158794"/>
                  <a:pt x="8456530" y="146404"/>
                  <a:pt x="8481361" y="134014"/>
                </a:cubicBezTo>
                <a:cubicBezTo>
                  <a:pt x="8509738" y="124721"/>
                  <a:pt x="8538116" y="112332"/>
                  <a:pt x="8566493" y="106137"/>
                </a:cubicBezTo>
                <a:cubicBezTo>
                  <a:pt x="8598419" y="96845"/>
                  <a:pt x="8630343" y="93748"/>
                  <a:pt x="8662268" y="93748"/>
                </a:cubicBezTo>
                <a:cubicBezTo>
                  <a:pt x="8704835" y="96845"/>
                  <a:pt x="8747401" y="99942"/>
                  <a:pt x="8789968" y="99942"/>
                </a:cubicBezTo>
                <a:cubicBezTo>
                  <a:pt x="8825440" y="96845"/>
                  <a:pt x="8860912" y="106137"/>
                  <a:pt x="8892836" y="118527"/>
                </a:cubicBezTo>
                <a:cubicBezTo>
                  <a:pt x="8931856" y="134014"/>
                  <a:pt x="8967329" y="149501"/>
                  <a:pt x="8999253" y="171183"/>
                </a:cubicBezTo>
                <a:cubicBezTo>
                  <a:pt x="9013442" y="180476"/>
                  <a:pt x="9027630" y="189768"/>
                  <a:pt x="9034725" y="199061"/>
                </a:cubicBezTo>
                <a:cubicBezTo>
                  <a:pt x="9041820" y="205256"/>
                  <a:pt x="9048913" y="214548"/>
                  <a:pt x="9048913" y="226937"/>
                </a:cubicBezTo>
                <a:cubicBezTo>
                  <a:pt x="9048913" y="236230"/>
                  <a:pt x="9041820" y="242425"/>
                  <a:pt x="9034725" y="248619"/>
                </a:cubicBezTo>
                <a:cubicBezTo>
                  <a:pt x="9020535" y="254815"/>
                  <a:pt x="9002799" y="257912"/>
                  <a:pt x="8985063" y="261010"/>
                </a:cubicBezTo>
                <a:cubicBezTo>
                  <a:pt x="8974422" y="264107"/>
                  <a:pt x="8960234" y="261010"/>
                  <a:pt x="8949592" y="257912"/>
                </a:cubicBezTo>
                <a:cubicBezTo>
                  <a:pt x="8931856" y="257912"/>
                  <a:pt x="8917667" y="254815"/>
                  <a:pt x="8899931" y="251717"/>
                </a:cubicBezTo>
                <a:cubicBezTo>
                  <a:pt x="8868007" y="248619"/>
                  <a:pt x="8839628" y="245523"/>
                  <a:pt x="8807704" y="242425"/>
                </a:cubicBezTo>
                <a:cubicBezTo>
                  <a:pt x="8807704" y="242425"/>
                  <a:pt x="8807704" y="242425"/>
                  <a:pt x="8804157" y="242425"/>
                </a:cubicBezTo>
                <a:cubicBezTo>
                  <a:pt x="8804157" y="242425"/>
                  <a:pt x="8800609" y="245523"/>
                  <a:pt x="8800609" y="245523"/>
                </a:cubicBezTo>
                <a:cubicBezTo>
                  <a:pt x="8800609" y="248619"/>
                  <a:pt x="8800609" y="251717"/>
                  <a:pt x="8800609" y="254815"/>
                </a:cubicBezTo>
                <a:cubicBezTo>
                  <a:pt x="8804157" y="264107"/>
                  <a:pt x="8807704" y="273399"/>
                  <a:pt x="8807704" y="282692"/>
                </a:cubicBezTo>
                <a:cubicBezTo>
                  <a:pt x="8811250" y="288886"/>
                  <a:pt x="8811250" y="291984"/>
                  <a:pt x="8807704" y="295082"/>
                </a:cubicBezTo>
                <a:cubicBezTo>
                  <a:pt x="8807704" y="298179"/>
                  <a:pt x="8807704" y="298179"/>
                  <a:pt x="8804157" y="301277"/>
                </a:cubicBezTo>
                <a:cubicBezTo>
                  <a:pt x="8804157" y="301277"/>
                  <a:pt x="8800609" y="304374"/>
                  <a:pt x="8800609" y="304374"/>
                </a:cubicBezTo>
                <a:cubicBezTo>
                  <a:pt x="8797062" y="304374"/>
                  <a:pt x="8793514" y="304374"/>
                  <a:pt x="8786421" y="307471"/>
                </a:cubicBezTo>
                <a:cubicBezTo>
                  <a:pt x="8782873" y="307471"/>
                  <a:pt x="8775778" y="304374"/>
                  <a:pt x="8772232" y="304374"/>
                </a:cubicBezTo>
                <a:cubicBezTo>
                  <a:pt x="8758042" y="301277"/>
                  <a:pt x="8743854" y="298179"/>
                  <a:pt x="8726118" y="295082"/>
                </a:cubicBezTo>
                <a:cubicBezTo>
                  <a:pt x="8672910" y="282692"/>
                  <a:pt x="8612608" y="285790"/>
                  <a:pt x="8555852" y="291984"/>
                </a:cubicBezTo>
                <a:cubicBezTo>
                  <a:pt x="8474266" y="304374"/>
                  <a:pt x="8392680" y="319861"/>
                  <a:pt x="8314643" y="344641"/>
                </a:cubicBezTo>
                <a:cubicBezTo>
                  <a:pt x="8236603" y="372517"/>
                  <a:pt x="8158566" y="403492"/>
                  <a:pt x="8080527" y="440661"/>
                </a:cubicBezTo>
                <a:cubicBezTo>
                  <a:pt x="8073432" y="443759"/>
                  <a:pt x="8066337" y="449953"/>
                  <a:pt x="8059244" y="453051"/>
                </a:cubicBezTo>
                <a:cubicBezTo>
                  <a:pt x="8066337" y="453051"/>
                  <a:pt x="8069885" y="453051"/>
                  <a:pt x="8076981" y="453051"/>
                </a:cubicBezTo>
                <a:cubicBezTo>
                  <a:pt x="8084073" y="456148"/>
                  <a:pt x="8091169" y="456148"/>
                  <a:pt x="8098263" y="456148"/>
                </a:cubicBezTo>
                <a:cubicBezTo>
                  <a:pt x="8119546" y="443759"/>
                  <a:pt x="8144377" y="434466"/>
                  <a:pt x="8165659" y="428272"/>
                </a:cubicBezTo>
                <a:cubicBezTo>
                  <a:pt x="8169207" y="425174"/>
                  <a:pt x="8172754" y="425174"/>
                  <a:pt x="8172754" y="422077"/>
                </a:cubicBezTo>
                <a:cubicBezTo>
                  <a:pt x="8190490" y="409686"/>
                  <a:pt x="8204679" y="400395"/>
                  <a:pt x="8218867" y="391102"/>
                </a:cubicBezTo>
                <a:cubicBezTo>
                  <a:pt x="8236603" y="381810"/>
                  <a:pt x="8257887" y="375615"/>
                  <a:pt x="8272076" y="375615"/>
                </a:cubicBezTo>
                <a:cubicBezTo>
                  <a:pt x="8296907" y="375615"/>
                  <a:pt x="8321737" y="375615"/>
                  <a:pt x="8346567" y="369420"/>
                </a:cubicBezTo>
                <a:cubicBezTo>
                  <a:pt x="8360757" y="366322"/>
                  <a:pt x="8378493" y="369420"/>
                  <a:pt x="8392680" y="375615"/>
                </a:cubicBezTo>
                <a:cubicBezTo>
                  <a:pt x="8399775" y="369420"/>
                  <a:pt x="8410417" y="366322"/>
                  <a:pt x="8417511" y="360128"/>
                </a:cubicBezTo>
                <a:cubicBezTo>
                  <a:pt x="8424606" y="353933"/>
                  <a:pt x="8428153" y="350835"/>
                  <a:pt x="8438794" y="347737"/>
                </a:cubicBezTo>
                <a:cubicBezTo>
                  <a:pt x="8445889" y="344641"/>
                  <a:pt x="8452983" y="341543"/>
                  <a:pt x="8463625" y="341543"/>
                </a:cubicBezTo>
                <a:cubicBezTo>
                  <a:pt x="8484908" y="335348"/>
                  <a:pt x="8509738" y="335348"/>
                  <a:pt x="8531022" y="332250"/>
                </a:cubicBezTo>
                <a:cubicBezTo>
                  <a:pt x="8584229" y="329153"/>
                  <a:pt x="8640986" y="332250"/>
                  <a:pt x="8701287" y="338446"/>
                </a:cubicBezTo>
                <a:cubicBezTo>
                  <a:pt x="8761590" y="344641"/>
                  <a:pt x="8825440" y="347737"/>
                  <a:pt x="8889290" y="347737"/>
                </a:cubicBezTo>
                <a:cubicBezTo>
                  <a:pt x="8917667" y="347737"/>
                  <a:pt x="8949592" y="350835"/>
                  <a:pt x="8974422" y="347737"/>
                </a:cubicBezTo>
                <a:cubicBezTo>
                  <a:pt x="9002799" y="344641"/>
                  <a:pt x="9027630" y="341543"/>
                  <a:pt x="9056008" y="335348"/>
                </a:cubicBezTo>
                <a:cubicBezTo>
                  <a:pt x="9059556" y="332250"/>
                  <a:pt x="9070197" y="332250"/>
                  <a:pt x="9073744" y="332250"/>
                </a:cubicBezTo>
                <a:cubicBezTo>
                  <a:pt x="9084385" y="332250"/>
                  <a:pt x="9091480" y="332250"/>
                  <a:pt x="9098575" y="332250"/>
                </a:cubicBezTo>
                <a:cubicBezTo>
                  <a:pt x="9116311" y="335348"/>
                  <a:pt x="9134047" y="338446"/>
                  <a:pt x="9151783" y="344641"/>
                </a:cubicBezTo>
                <a:cubicBezTo>
                  <a:pt x="9183707" y="357030"/>
                  <a:pt x="9219179" y="372517"/>
                  <a:pt x="9251105" y="391102"/>
                </a:cubicBezTo>
                <a:cubicBezTo>
                  <a:pt x="9261746" y="400395"/>
                  <a:pt x="9272387" y="406590"/>
                  <a:pt x="9283029" y="415882"/>
                </a:cubicBezTo>
                <a:cubicBezTo>
                  <a:pt x="9286577" y="418979"/>
                  <a:pt x="9290123" y="425174"/>
                  <a:pt x="9290123" y="428272"/>
                </a:cubicBezTo>
                <a:cubicBezTo>
                  <a:pt x="9293670" y="431369"/>
                  <a:pt x="9293670" y="431369"/>
                  <a:pt x="9293670" y="434466"/>
                </a:cubicBezTo>
                <a:cubicBezTo>
                  <a:pt x="9293670" y="434466"/>
                  <a:pt x="9290123" y="434466"/>
                  <a:pt x="9290123" y="437564"/>
                </a:cubicBezTo>
                <a:cubicBezTo>
                  <a:pt x="9290123" y="437564"/>
                  <a:pt x="9290123" y="437564"/>
                  <a:pt x="9286577" y="437564"/>
                </a:cubicBezTo>
                <a:cubicBezTo>
                  <a:pt x="9286577" y="440661"/>
                  <a:pt x="9283029" y="440661"/>
                  <a:pt x="9283029" y="440661"/>
                </a:cubicBezTo>
                <a:cubicBezTo>
                  <a:pt x="9279482" y="440661"/>
                  <a:pt x="9275934" y="437564"/>
                  <a:pt x="9272387" y="437564"/>
                </a:cubicBezTo>
                <a:cubicBezTo>
                  <a:pt x="9254651" y="434466"/>
                  <a:pt x="9236915" y="431369"/>
                  <a:pt x="9219179" y="428272"/>
                </a:cubicBezTo>
                <a:cubicBezTo>
                  <a:pt x="9187255" y="418979"/>
                  <a:pt x="9155329" y="409686"/>
                  <a:pt x="9123405" y="409686"/>
                </a:cubicBezTo>
                <a:cubicBezTo>
                  <a:pt x="9119857" y="409686"/>
                  <a:pt x="9112764" y="409686"/>
                  <a:pt x="9109216" y="409686"/>
                </a:cubicBezTo>
                <a:cubicBezTo>
                  <a:pt x="9109216" y="409686"/>
                  <a:pt x="9105669" y="409686"/>
                  <a:pt x="9102121" y="409686"/>
                </a:cubicBezTo>
                <a:cubicBezTo>
                  <a:pt x="9098575" y="412784"/>
                  <a:pt x="9095028" y="415882"/>
                  <a:pt x="9091480" y="418979"/>
                </a:cubicBezTo>
                <a:cubicBezTo>
                  <a:pt x="9084385" y="440661"/>
                  <a:pt x="9095028" y="465441"/>
                  <a:pt x="9080838" y="490220"/>
                </a:cubicBezTo>
                <a:cubicBezTo>
                  <a:pt x="9077292" y="493318"/>
                  <a:pt x="9073744" y="499513"/>
                  <a:pt x="9073744" y="505708"/>
                </a:cubicBezTo>
                <a:cubicBezTo>
                  <a:pt x="9073744" y="505708"/>
                  <a:pt x="9073744" y="508806"/>
                  <a:pt x="9073744" y="508806"/>
                </a:cubicBezTo>
                <a:cubicBezTo>
                  <a:pt x="9073744" y="508806"/>
                  <a:pt x="9073744" y="508806"/>
                  <a:pt x="9073744" y="511902"/>
                </a:cubicBezTo>
                <a:cubicBezTo>
                  <a:pt x="9077292" y="511902"/>
                  <a:pt x="9077292" y="511902"/>
                  <a:pt x="9077292" y="511902"/>
                </a:cubicBezTo>
                <a:cubicBezTo>
                  <a:pt x="9077292" y="511902"/>
                  <a:pt x="9080838" y="511902"/>
                  <a:pt x="9080838" y="511902"/>
                </a:cubicBezTo>
                <a:cubicBezTo>
                  <a:pt x="9080838" y="511902"/>
                  <a:pt x="9084385" y="511902"/>
                  <a:pt x="9087933" y="511902"/>
                </a:cubicBezTo>
                <a:cubicBezTo>
                  <a:pt x="9091480" y="508806"/>
                  <a:pt x="9098575" y="505708"/>
                  <a:pt x="9105669" y="505708"/>
                </a:cubicBezTo>
                <a:cubicBezTo>
                  <a:pt x="9126952" y="499513"/>
                  <a:pt x="9144688" y="496415"/>
                  <a:pt x="9165971" y="493318"/>
                </a:cubicBezTo>
                <a:cubicBezTo>
                  <a:pt x="9194348" y="493318"/>
                  <a:pt x="9222727" y="493318"/>
                  <a:pt x="9254651" y="502610"/>
                </a:cubicBezTo>
                <a:cubicBezTo>
                  <a:pt x="9290123" y="511902"/>
                  <a:pt x="9325596" y="527390"/>
                  <a:pt x="9357520" y="552169"/>
                </a:cubicBezTo>
                <a:lnTo>
                  <a:pt x="9414037" y="610774"/>
                </a:lnTo>
                <a:lnTo>
                  <a:pt x="9469207" y="588878"/>
                </a:lnTo>
                <a:lnTo>
                  <a:pt x="9466344" y="587049"/>
                </a:lnTo>
                <a:cubicBezTo>
                  <a:pt x="9466344" y="587049"/>
                  <a:pt x="9469893" y="587049"/>
                  <a:pt x="9473439" y="587049"/>
                </a:cubicBezTo>
                <a:cubicBezTo>
                  <a:pt x="9469893" y="580904"/>
                  <a:pt x="9469893" y="577831"/>
                  <a:pt x="9473439" y="574758"/>
                </a:cubicBezTo>
                <a:cubicBezTo>
                  <a:pt x="9476987" y="571686"/>
                  <a:pt x="9476987" y="571686"/>
                  <a:pt x="9476987" y="571686"/>
                </a:cubicBezTo>
                <a:cubicBezTo>
                  <a:pt x="9480534" y="571686"/>
                  <a:pt x="9484081" y="571686"/>
                  <a:pt x="9487629" y="571686"/>
                </a:cubicBezTo>
                <a:lnTo>
                  <a:pt x="9501534" y="574095"/>
                </a:lnTo>
                <a:lnTo>
                  <a:pt x="9828801" y="412784"/>
                </a:lnTo>
                <a:cubicBezTo>
                  <a:pt x="9853632" y="394200"/>
                  <a:pt x="9874915" y="378712"/>
                  <a:pt x="9899745" y="363226"/>
                </a:cubicBezTo>
                <a:cubicBezTo>
                  <a:pt x="9917481" y="350835"/>
                  <a:pt x="9935217" y="338446"/>
                  <a:pt x="9956501" y="332250"/>
                </a:cubicBezTo>
                <a:cubicBezTo>
                  <a:pt x="9967142" y="326055"/>
                  <a:pt x="9981331" y="319861"/>
                  <a:pt x="9988425" y="322959"/>
                </a:cubicBezTo>
                <a:cubicBezTo>
                  <a:pt x="9995519" y="329153"/>
                  <a:pt x="9995519" y="338446"/>
                  <a:pt x="9991973" y="350835"/>
                </a:cubicBezTo>
                <a:cubicBezTo>
                  <a:pt x="9991973" y="350835"/>
                  <a:pt x="9991973" y="350835"/>
                  <a:pt x="9988425" y="353933"/>
                </a:cubicBezTo>
                <a:cubicBezTo>
                  <a:pt x="9988425" y="357030"/>
                  <a:pt x="9984878" y="360128"/>
                  <a:pt x="9984878" y="363226"/>
                </a:cubicBezTo>
                <a:cubicBezTo>
                  <a:pt x="9974237" y="369420"/>
                  <a:pt x="9967142" y="375615"/>
                  <a:pt x="9963595" y="381810"/>
                </a:cubicBezTo>
                <a:cubicBezTo>
                  <a:pt x="9935217" y="406590"/>
                  <a:pt x="9910387" y="428272"/>
                  <a:pt x="9885556" y="449953"/>
                </a:cubicBezTo>
                <a:cubicBezTo>
                  <a:pt x="9864273" y="468539"/>
                  <a:pt x="9842989" y="490220"/>
                  <a:pt x="9821707" y="508806"/>
                </a:cubicBezTo>
                <a:cubicBezTo>
                  <a:pt x="9903292" y="443759"/>
                  <a:pt x="9984878" y="381810"/>
                  <a:pt x="10070011" y="316764"/>
                </a:cubicBezTo>
                <a:cubicBezTo>
                  <a:pt x="10165785" y="245523"/>
                  <a:pt x="10258013" y="164988"/>
                  <a:pt x="10353787" y="93748"/>
                </a:cubicBezTo>
                <a:cubicBezTo>
                  <a:pt x="10382165" y="75163"/>
                  <a:pt x="10406996" y="56578"/>
                  <a:pt x="10431825" y="41090"/>
                </a:cubicBezTo>
                <a:cubicBezTo>
                  <a:pt x="10453109" y="28701"/>
                  <a:pt x="10474393" y="16312"/>
                  <a:pt x="10492129" y="10116"/>
                </a:cubicBezTo>
                <a:cubicBezTo>
                  <a:pt x="10506317" y="3921"/>
                  <a:pt x="10520506" y="-2273"/>
                  <a:pt x="10531147" y="824"/>
                </a:cubicBezTo>
                <a:cubicBezTo>
                  <a:pt x="10541789" y="3921"/>
                  <a:pt x="10538242" y="16312"/>
                  <a:pt x="10534695" y="25603"/>
                </a:cubicBezTo>
                <a:cubicBezTo>
                  <a:pt x="10534695" y="28701"/>
                  <a:pt x="10534695" y="28701"/>
                  <a:pt x="10534695" y="31799"/>
                </a:cubicBezTo>
                <a:cubicBezTo>
                  <a:pt x="10531147" y="31799"/>
                  <a:pt x="10527601" y="34896"/>
                  <a:pt x="10527601" y="37994"/>
                </a:cubicBezTo>
                <a:cubicBezTo>
                  <a:pt x="10520506" y="44188"/>
                  <a:pt x="10509865" y="50383"/>
                  <a:pt x="10502770" y="56578"/>
                </a:cubicBezTo>
                <a:cubicBezTo>
                  <a:pt x="10474393" y="81357"/>
                  <a:pt x="10449561" y="103039"/>
                  <a:pt x="10421184" y="127819"/>
                </a:cubicBezTo>
                <a:cubicBezTo>
                  <a:pt x="10343147" y="199061"/>
                  <a:pt x="10261561" y="267204"/>
                  <a:pt x="10183521" y="335348"/>
                </a:cubicBezTo>
                <a:cubicBezTo>
                  <a:pt x="10101936" y="406590"/>
                  <a:pt x="10023897" y="477831"/>
                  <a:pt x="9942311" y="549072"/>
                </a:cubicBezTo>
                <a:cubicBezTo>
                  <a:pt x="9942311" y="549072"/>
                  <a:pt x="9945859" y="545975"/>
                  <a:pt x="9949405" y="545975"/>
                </a:cubicBezTo>
                <a:cubicBezTo>
                  <a:pt x="9956501" y="542877"/>
                  <a:pt x="9963595" y="536682"/>
                  <a:pt x="9970690" y="533584"/>
                </a:cubicBezTo>
                <a:cubicBezTo>
                  <a:pt x="10123219" y="409686"/>
                  <a:pt x="10272202" y="282692"/>
                  <a:pt x="10428279" y="171183"/>
                </a:cubicBezTo>
                <a:cubicBezTo>
                  <a:pt x="10485033" y="134014"/>
                  <a:pt x="10534695" y="90650"/>
                  <a:pt x="10587902" y="50383"/>
                </a:cubicBezTo>
                <a:cubicBezTo>
                  <a:pt x="10598545" y="41090"/>
                  <a:pt x="10605638" y="37994"/>
                  <a:pt x="10616281" y="31799"/>
                </a:cubicBezTo>
                <a:cubicBezTo>
                  <a:pt x="10623375" y="25603"/>
                  <a:pt x="10630469" y="25603"/>
                  <a:pt x="10637564" y="22506"/>
                </a:cubicBezTo>
                <a:cubicBezTo>
                  <a:pt x="10644659" y="22506"/>
                  <a:pt x="10651752" y="22506"/>
                  <a:pt x="10658847" y="25603"/>
                </a:cubicBezTo>
                <a:cubicBezTo>
                  <a:pt x="10662395" y="31799"/>
                  <a:pt x="10669488" y="34896"/>
                  <a:pt x="10676583" y="41090"/>
                </a:cubicBezTo>
                <a:cubicBezTo>
                  <a:pt x="10676583" y="44188"/>
                  <a:pt x="10676583" y="47286"/>
                  <a:pt x="10673036" y="53481"/>
                </a:cubicBezTo>
                <a:cubicBezTo>
                  <a:pt x="10673036" y="56578"/>
                  <a:pt x="10669488" y="59676"/>
                  <a:pt x="10665941" y="62772"/>
                </a:cubicBezTo>
                <a:cubicBezTo>
                  <a:pt x="10655300" y="78261"/>
                  <a:pt x="10644659" y="90650"/>
                  <a:pt x="10630469" y="99942"/>
                </a:cubicBezTo>
                <a:cubicBezTo>
                  <a:pt x="10598545" y="130917"/>
                  <a:pt x="10563073" y="158794"/>
                  <a:pt x="10524053" y="183573"/>
                </a:cubicBezTo>
                <a:cubicBezTo>
                  <a:pt x="10513411" y="195963"/>
                  <a:pt x="10499223" y="205256"/>
                  <a:pt x="10485033" y="214548"/>
                </a:cubicBezTo>
                <a:cubicBezTo>
                  <a:pt x="10485033" y="214548"/>
                  <a:pt x="10485033" y="217645"/>
                  <a:pt x="10485033" y="217645"/>
                </a:cubicBezTo>
                <a:cubicBezTo>
                  <a:pt x="10488581" y="220743"/>
                  <a:pt x="10492129" y="220743"/>
                  <a:pt x="10492129" y="223841"/>
                </a:cubicBezTo>
                <a:cubicBezTo>
                  <a:pt x="10492129" y="223841"/>
                  <a:pt x="10492129" y="220743"/>
                  <a:pt x="10495675" y="220743"/>
                </a:cubicBezTo>
                <a:cubicBezTo>
                  <a:pt x="10506317" y="214548"/>
                  <a:pt x="10516959" y="208353"/>
                  <a:pt x="10524053" y="205256"/>
                </a:cubicBezTo>
                <a:cubicBezTo>
                  <a:pt x="10527601" y="205256"/>
                  <a:pt x="10531147" y="202159"/>
                  <a:pt x="10534695" y="202159"/>
                </a:cubicBezTo>
                <a:cubicBezTo>
                  <a:pt x="10534695" y="205256"/>
                  <a:pt x="10538242" y="202159"/>
                  <a:pt x="10538242" y="205256"/>
                </a:cubicBezTo>
                <a:cubicBezTo>
                  <a:pt x="10541789" y="205256"/>
                  <a:pt x="10538242" y="211450"/>
                  <a:pt x="10534695" y="214548"/>
                </a:cubicBezTo>
                <a:cubicBezTo>
                  <a:pt x="10534695" y="217645"/>
                  <a:pt x="10527601" y="223841"/>
                  <a:pt x="10527601" y="230035"/>
                </a:cubicBezTo>
                <a:cubicBezTo>
                  <a:pt x="10502770" y="257912"/>
                  <a:pt x="10474393" y="282692"/>
                  <a:pt x="10453109" y="307471"/>
                </a:cubicBezTo>
                <a:cubicBezTo>
                  <a:pt x="10442467" y="310568"/>
                  <a:pt x="10438920" y="316764"/>
                  <a:pt x="10435373" y="322959"/>
                </a:cubicBezTo>
                <a:cubicBezTo>
                  <a:pt x="10414089" y="347737"/>
                  <a:pt x="10392807" y="372517"/>
                  <a:pt x="10367976" y="400395"/>
                </a:cubicBezTo>
                <a:cubicBezTo>
                  <a:pt x="10328957" y="443759"/>
                  <a:pt x="10286390" y="493318"/>
                  <a:pt x="10243825" y="539780"/>
                </a:cubicBezTo>
                <a:cubicBezTo>
                  <a:pt x="10321862" y="471636"/>
                  <a:pt x="10385712" y="397297"/>
                  <a:pt x="10470845" y="338446"/>
                </a:cubicBezTo>
                <a:cubicBezTo>
                  <a:pt x="10495675" y="319861"/>
                  <a:pt x="10509865" y="301277"/>
                  <a:pt x="10531147" y="279594"/>
                </a:cubicBezTo>
                <a:cubicBezTo>
                  <a:pt x="10534695" y="276497"/>
                  <a:pt x="10538242" y="273399"/>
                  <a:pt x="10541789" y="270301"/>
                </a:cubicBezTo>
                <a:cubicBezTo>
                  <a:pt x="10545337" y="270301"/>
                  <a:pt x="10548883" y="270301"/>
                  <a:pt x="10552431" y="270301"/>
                </a:cubicBezTo>
                <a:cubicBezTo>
                  <a:pt x="10555978" y="273399"/>
                  <a:pt x="10559525" y="273399"/>
                  <a:pt x="10563073" y="279594"/>
                </a:cubicBezTo>
                <a:cubicBezTo>
                  <a:pt x="10566619" y="285790"/>
                  <a:pt x="10570166" y="288886"/>
                  <a:pt x="10577261" y="298179"/>
                </a:cubicBezTo>
                <a:cubicBezTo>
                  <a:pt x="10577261" y="301277"/>
                  <a:pt x="10577261" y="304374"/>
                  <a:pt x="10577261" y="307471"/>
                </a:cubicBezTo>
                <a:cubicBezTo>
                  <a:pt x="10577261" y="310568"/>
                  <a:pt x="10577261" y="313666"/>
                  <a:pt x="10573714" y="316764"/>
                </a:cubicBezTo>
                <a:cubicBezTo>
                  <a:pt x="10573714" y="322959"/>
                  <a:pt x="10570166" y="332250"/>
                  <a:pt x="10563073" y="335348"/>
                </a:cubicBezTo>
                <a:cubicBezTo>
                  <a:pt x="10555978" y="350835"/>
                  <a:pt x="10541789" y="366322"/>
                  <a:pt x="10527601" y="378712"/>
                </a:cubicBezTo>
                <a:cubicBezTo>
                  <a:pt x="10516959" y="388005"/>
                  <a:pt x="10506317" y="397297"/>
                  <a:pt x="10499223" y="406590"/>
                </a:cubicBezTo>
                <a:cubicBezTo>
                  <a:pt x="10499223" y="406590"/>
                  <a:pt x="10495675" y="406590"/>
                  <a:pt x="10495675" y="406590"/>
                </a:cubicBezTo>
                <a:cubicBezTo>
                  <a:pt x="10495675" y="406590"/>
                  <a:pt x="10499223" y="409686"/>
                  <a:pt x="10495675" y="409686"/>
                </a:cubicBezTo>
                <a:cubicBezTo>
                  <a:pt x="10495675" y="409686"/>
                  <a:pt x="10495675" y="409686"/>
                  <a:pt x="10499223" y="409686"/>
                </a:cubicBezTo>
                <a:cubicBezTo>
                  <a:pt x="10506317" y="406590"/>
                  <a:pt x="10509865" y="403492"/>
                  <a:pt x="10520506" y="403492"/>
                </a:cubicBezTo>
                <a:cubicBezTo>
                  <a:pt x="10524053" y="400395"/>
                  <a:pt x="10527601" y="397297"/>
                  <a:pt x="10531147" y="397297"/>
                </a:cubicBezTo>
                <a:cubicBezTo>
                  <a:pt x="10531147" y="397297"/>
                  <a:pt x="10534695" y="397297"/>
                  <a:pt x="10534695" y="397297"/>
                </a:cubicBezTo>
                <a:cubicBezTo>
                  <a:pt x="10538242" y="400395"/>
                  <a:pt x="10538242" y="400395"/>
                  <a:pt x="10538242" y="400395"/>
                </a:cubicBezTo>
                <a:cubicBezTo>
                  <a:pt x="10605638" y="357030"/>
                  <a:pt x="10673036" y="313666"/>
                  <a:pt x="10736885" y="264107"/>
                </a:cubicBezTo>
                <a:cubicBezTo>
                  <a:pt x="10758169" y="251717"/>
                  <a:pt x="10779451" y="236230"/>
                  <a:pt x="10800735" y="220743"/>
                </a:cubicBezTo>
                <a:cubicBezTo>
                  <a:pt x="10804282" y="217645"/>
                  <a:pt x="10804282" y="217645"/>
                  <a:pt x="10804282" y="214548"/>
                </a:cubicBezTo>
                <a:cubicBezTo>
                  <a:pt x="10811377" y="211450"/>
                  <a:pt x="10818471" y="205256"/>
                  <a:pt x="10825566" y="202159"/>
                </a:cubicBezTo>
                <a:cubicBezTo>
                  <a:pt x="10829113" y="199061"/>
                  <a:pt x="10836207" y="192866"/>
                  <a:pt x="10839754" y="192866"/>
                </a:cubicBezTo>
                <a:cubicBezTo>
                  <a:pt x="10846849" y="189768"/>
                  <a:pt x="10853943" y="186670"/>
                  <a:pt x="10861037" y="186670"/>
                </a:cubicBezTo>
                <a:cubicBezTo>
                  <a:pt x="10871679" y="183573"/>
                  <a:pt x="10878773" y="180476"/>
                  <a:pt x="10889415" y="183573"/>
                </a:cubicBezTo>
                <a:cubicBezTo>
                  <a:pt x="10914245" y="177379"/>
                  <a:pt x="10942623" y="177379"/>
                  <a:pt x="10974548" y="177379"/>
                </a:cubicBezTo>
                <a:cubicBezTo>
                  <a:pt x="11002925" y="180476"/>
                  <a:pt x="11034851" y="174281"/>
                  <a:pt x="11066775" y="168086"/>
                </a:cubicBezTo>
                <a:cubicBezTo>
                  <a:pt x="11095153" y="158794"/>
                  <a:pt x="11123530" y="146404"/>
                  <a:pt x="11148361" y="134014"/>
                </a:cubicBezTo>
                <a:cubicBezTo>
                  <a:pt x="11176738" y="124721"/>
                  <a:pt x="11205116" y="112332"/>
                  <a:pt x="11233493" y="106137"/>
                </a:cubicBezTo>
                <a:cubicBezTo>
                  <a:pt x="11265419" y="96845"/>
                  <a:pt x="11297343" y="93748"/>
                  <a:pt x="11329268" y="93748"/>
                </a:cubicBezTo>
                <a:cubicBezTo>
                  <a:pt x="11371835" y="96845"/>
                  <a:pt x="11414401" y="99942"/>
                  <a:pt x="11456968" y="99942"/>
                </a:cubicBezTo>
                <a:cubicBezTo>
                  <a:pt x="11492440" y="96845"/>
                  <a:pt x="11527912" y="106137"/>
                  <a:pt x="11559836" y="118527"/>
                </a:cubicBezTo>
                <a:cubicBezTo>
                  <a:pt x="11598856" y="134014"/>
                  <a:pt x="11634329" y="149501"/>
                  <a:pt x="11666253" y="171183"/>
                </a:cubicBezTo>
                <a:cubicBezTo>
                  <a:pt x="11680442" y="180476"/>
                  <a:pt x="11694630" y="189768"/>
                  <a:pt x="11701725" y="199061"/>
                </a:cubicBezTo>
                <a:cubicBezTo>
                  <a:pt x="11708820" y="205256"/>
                  <a:pt x="11715913" y="214548"/>
                  <a:pt x="11715913" y="226937"/>
                </a:cubicBezTo>
                <a:cubicBezTo>
                  <a:pt x="11715913" y="236230"/>
                  <a:pt x="11708820" y="242425"/>
                  <a:pt x="11701725" y="248619"/>
                </a:cubicBezTo>
                <a:cubicBezTo>
                  <a:pt x="11687535" y="254815"/>
                  <a:pt x="11669799" y="257912"/>
                  <a:pt x="11652063" y="261010"/>
                </a:cubicBezTo>
                <a:cubicBezTo>
                  <a:pt x="11641422" y="264107"/>
                  <a:pt x="11627234" y="261010"/>
                  <a:pt x="11616592" y="257912"/>
                </a:cubicBezTo>
                <a:cubicBezTo>
                  <a:pt x="11598856" y="257912"/>
                  <a:pt x="11584667" y="254815"/>
                  <a:pt x="11566931" y="251717"/>
                </a:cubicBezTo>
                <a:cubicBezTo>
                  <a:pt x="11535007" y="248619"/>
                  <a:pt x="11506628" y="245523"/>
                  <a:pt x="11474704" y="242425"/>
                </a:cubicBezTo>
                <a:cubicBezTo>
                  <a:pt x="11474704" y="242425"/>
                  <a:pt x="11474704" y="242425"/>
                  <a:pt x="11471157" y="242425"/>
                </a:cubicBezTo>
                <a:cubicBezTo>
                  <a:pt x="11471157" y="242425"/>
                  <a:pt x="11467609" y="245523"/>
                  <a:pt x="11467609" y="245523"/>
                </a:cubicBezTo>
                <a:cubicBezTo>
                  <a:pt x="11467609" y="248619"/>
                  <a:pt x="11467609" y="251717"/>
                  <a:pt x="11467609" y="254815"/>
                </a:cubicBezTo>
                <a:cubicBezTo>
                  <a:pt x="11471157" y="264107"/>
                  <a:pt x="11474704" y="273399"/>
                  <a:pt x="11474704" y="282692"/>
                </a:cubicBezTo>
                <a:cubicBezTo>
                  <a:pt x="11478250" y="288886"/>
                  <a:pt x="11478250" y="291984"/>
                  <a:pt x="11474704" y="295082"/>
                </a:cubicBezTo>
                <a:cubicBezTo>
                  <a:pt x="11474704" y="298179"/>
                  <a:pt x="11474704" y="298179"/>
                  <a:pt x="11471157" y="301277"/>
                </a:cubicBezTo>
                <a:cubicBezTo>
                  <a:pt x="11471157" y="301277"/>
                  <a:pt x="11467609" y="304374"/>
                  <a:pt x="11467609" y="304374"/>
                </a:cubicBezTo>
                <a:cubicBezTo>
                  <a:pt x="11464062" y="304374"/>
                  <a:pt x="11460514" y="304374"/>
                  <a:pt x="11453421" y="307471"/>
                </a:cubicBezTo>
                <a:cubicBezTo>
                  <a:pt x="11449873" y="307471"/>
                  <a:pt x="11442778" y="304374"/>
                  <a:pt x="11439232" y="304374"/>
                </a:cubicBezTo>
                <a:cubicBezTo>
                  <a:pt x="11425042" y="301277"/>
                  <a:pt x="11410854" y="298179"/>
                  <a:pt x="11393118" y="295082"/>
                </a:cubicBezTo>
                <a:cubicBezTo>
                  <a:pt x="11339910" y="282692"/>
                  <a:pt x="11279608" y="285790"/>
                  <a:pt x="11222852" y="291984"/>
                </a:cubicBezTo>
                <a:cubicBezTo>
                  <a:pt x="11141266" y="304374"/>
                  <a:pt x="11059680" y="319861"/>
                  <a:pt x="10981643" y="344641"/>
                </a:cubicBezTo>
                <a:cubicBezTo>
                  <a:pt x="10903603" y="372517"/>
                  <a:pt x="10825566" y="403492"/>
                  <a:pt x="10747527" y="440661"/>
                </a:cubicBezTo>
                <a:cubicBezTo>
                  <a:pt x="10740432" y="443759"/>
                  <a:pt x="10733337" y="449953"/>
                  <a:pt x="10726244" y="453051"/>
                </a:cubicBezTo>
                <a:cubicBezTo>
                  <a:pt x="10733337" y="453051"/>
                  <a:pt x="10736885" y="453051"/>
                  <a:pt x="10743981" y="453051"/>
                </a:cubicBezTo>
                <a:cubicBezTo>
                  <a:pt x="10751073" y="456148"/>
                  <a:pt x="10758169" y="456148"/>
                  <a:pt x="10765263" y="456148"/>
                </a:cubicBezTo>
                <a:cubicBezTo>
                  <a:pt x="10786546" y="443759"/>
                  <a:pt x="10811377" y="434466"/>
                  <a:pt x="10832659" y="428272"/>
                </a:cubicBezTo>
                <a:cubicBezTo>
                  <a:pt x="10836207" y="425174"/>
                  <a:pt x="10839754" y="425174"/>
                  <a:pt x="10839754" y="422077"/>
                </a:cubicBezTo>
                <a:cubicBezTo>
                  <a:pt x="10857490" y="409686"/>
                  <a:pt x="10871679" y="400395"/>
                  <a:pt x="10885867" y="391102"/>
                </a:cubicBezTo>
                <a:cubicBezTo>
                  <a:pt x="10903603" y="381810"/>
                  <a:pt x="10924887" y="375615"/>
                  <a:pt x="10939076" y="375615"/>
                </a:cubicBezTo>
                <a:cubicBezTo>
                  <a:pt x="10963907" y="375615"/>
                  <a:pt x="10988737" y="375615"/>
                  <a:pt x="11013567" y="369420"/>
                </a:cubicBezTo>
                <a:cubicBezTo>
                  <a:pt x="11027757" y="366322"/>
                  <a:pt x="11045493" y="369420"/>
                  <a:pt x="11059680" y="375615"/>
                </a:cubicBezTo>
                <a:cubicBezTo>
                  <a:pt x="11066775" y="369420"/>
                  <a:pt x="11077417" y="366322"/>
                  <a:pt x="11084511" y="360128"/>
                </a:cubicBezTo>
                <a:cubicBezTo>
                  <a:pt x="11091606" y="353933"/>
                  <a:pt x="11095153" y="350835"/>
                  <a:pt x="11105794" y="347737"/>
                </a:cubicBezTo>
                <a:cubicBezTo>
                  <a:pt x="11112889" y="344641"/>
                  <a:pt x="11119983" y="341543"/>
                  <a:pt x="11130625" y="341543"/>
                </a:cubicBezTo>
                <a:cubicBezTo>
                  <a:pt x="11151908" y="335348"/>
                  <a:pt x="11176738" y="335348"/>
                  <a:pt x="11198022" y="332250"/>
                </a:cubicBezTo>
                <a:cubicBezTo>
                  <a:pt x="11251229" y="329153"/>
                  <a:pt x="11307986" y="332250"/>
                  <a:pt x="11368287" y="338446"/>
                </a:cubicBezTo>
                <a:cubicBezTo>
                  <a:pt x="11428590" y="344641"/>
                  <a:pt x="11492440" y="347737"/>
                  <a:pt x="11556290" y="347737"/>
                </a:cubicBezTo>
                <a:cubicBezTo>
                  <a:pt x="11584667" y="347737"/>
                  <a:pt x="11616592" y="350835"/>
                  <a:pt x="11641422" y="347737"/>
                </a:cubicBezTo>
                <a:cubicBezTo>
                  <a:pt x="11669799" y="344641"/>
                  <a:pt x="11694630" y="341543"/>
                  <a:pt x="11723008" y="335348"/>
                </a:cubicBezTo>
                <a:cubicBezTo>
                  <a:pt x="11726556" y="332250"/>
                  <a:pt x="11737197" y="332250"/>
                  <a:pt x="11740744" y="332250"/>
                </a:cubicBezTo>
                <a:cubicBezTo>
                  <a:pt x="11751385" y="332250"/>
                  <a:pt x="11758480" y="332250"/>
                  <a:pt x="11765575" y="332250"/>
                </a:cubicBezTo>
                <a:cubicBezTo>
                  <a:pt x="11783311" y="335348"/>
                  <a:pt x="11801047" y="338446"/>
                  <a:pt x="11818783" y="344641"/>
                </a:cubicBezTo>
                <a:cubicBezTo>
                  <a:pt x="11850707" y="357030"/>
                  <a:pt x="11886179" y="372517"/>
                  <a:pt x="11918105" y="391102"/>
                </a:cubicBezTo>
                <a:cubicBezTo>
                  <a:pt x="11928746" y="400395"/>
                  <a:pt x="11939387" y="406590"/>
                  <a:pt x="11950029" y="415882"/>
                </a:cubicBezTo>
                <a:cubicBezTo>
                  <a:pt x="11953577" y="418979"/>
                  <a:pt x="11957123" y="425174"/>
                  <a:pt x="11957123" y="428272"/>
                </a:cubicBezTo>
                <a:cubicBezTo>
                  <a:pt x="11960670" y="431369"/>
                  <a:pt x="11960670" y="431369"/>
                  <a:pt x="11960670" y="434466"/>
                </a:cubicBezTo>
                <a:cubicBezTo>
                  <a:pt x="11960670" y="434466"/>
                  <a:pt x="11957123" y="434466"/>
                  <a:pt x="11957123" y="437564"/>
                </a:cubicBezTo>
                <a:cubicBezTo>
                  <a:pt x="11957123" y="437564"/>
                  <a:pt x="11957123" y="437564"/>
                  <a:pt x="11953577" y="437564"/>
                </a:cubicBezTo>
                <a:cubicBezTo>
                  <a:pt x="11953577" y="440661"/>
                  <a:pt x="11950029" y="440661"/>
                  <a:pt x="11950029" y="440661"/>
                </a:cubicBezTo>
                <a:cubicBezTo>
                  <a:pt x="11946482" y="440661"/>
                  <a:pt x="11942934" y="437564"/>
                  <a:pt x="11939387" y="437564"/>
                </a:cubicBezTo>
                <a:cubicBezTo>
                  <a:pt x="11921651" y="434466"/>
                  <a:pt x="11903915" y="431369"/>
                  <a:pt x="11886179" y="428272"/>
                </a:cubicBezTo>
                <a:cubicBezTo>
                  <a:pt x="11854255" y="418979"/>
                  <a:pt x="11822329" y="409686"/>
                  <a:pt x="11790405" y="409686"/>
                </a:cubicBezTo>
                <a:cubicBezTo>
                  <a:pt x="11786857" y="409686"/>
                  <a:pt x="11779764" y="409686"/>
                  <a:pt x="11776216" y="409686"/>
                </a:cubicBezTo>
                <a:cubicBezTo>
                  <a:pt x="11776216" y="409686"/>
                  <a:pt x="11772669" y="409686"/>
                  <a:pt x="11769121" y="409686"/>
                </a:cubicBezTo>
                <a:cubicBezTo>
                  <a:pt x="11765575" y="412784"/>
                  <a:pt x="11762028" y="415882"/>
                  <a:pt x="11758480" y="418979"/>
                </a:cubicBezTo>
                <a:cubicBezTo>
                  <a:pt x="11751385" y="440661"/>
                  <a:pt x="11762028" y="465441"/>
                  <a:pt x="11747838" y="490220"/>
                </a:cubicBezTo>
                <a:cubicBezTo>
                  <a:pt x="11744292" y="493318"/>
                  <a:pt x="11740744" y="499513"/>
                  <a:pt x="11740744" y="505708"/>
                </a:cubicBezTo>
                <a:cubicBezTo>
                  <a:pt x="11740744" y="505708"/>
                  <a:pt x="11740744" y="508806"/>
                  <a:pt x="11740744" y="508806"/>
                </a:cubicBezTo>
                <a:cubicBezTo>
                  <a:pt x="11740744" y="508806"/>
                  <a:pt x="11740744" y="508806"/>
                  <a:pt x="11740744" y="511902"/>
                </a:cubicBezTo>
                <a:cubicBezTo>
                  <a:pt x="11744292" y="511902"/>
                  <a:pt x="11744292" y="511902"/>
                  <a:pt x="11744292" y="511902"/>
                </a:cubicBezTo>
                <a:cubicBezTo>
                  <a:pt x="11744292" y="511902"/>
                  <a:pt x="11747838" y="511902"/>
                  <a:pt x="11747838" y="511902"/>
                </a:cubicBezTo>
                <a:cubicBezTo>
                  <a:pt x="11747838" y="511902"/>
                  <a:pt x="11751385" y="511902"/>
                  <a:pt x="11754933" y="511902"/>
                </a:cubicBezTo>
                <a:cubicBezTo>
                  <a:pt x="11758480" y="508806"/>
                  <a:pt x="11765575" y="505708"/>
                  <a:pt x="11772669" y="505708"/>
                </a:cubicBezTo>
                <a:cubicBezTo>
                  <a:pt x="11793952" y="499513"/>
                  <a:pt x="11811688" y="496415"/>
                  <a:pt x="11832971" y="493318"/>
                </a:cubicBezTo>
                <a:cubicBezTo>
                  <a:pt x="11861348" y="493318"/>
                  <a:pt x="11889727" y="493318"/>
                  <a:pt x="11921651" y="502610"/>
                </a:cubicBezTo>
                <a:cubicBezTo>
                  <a:pt x="11957123" y="511902"/>
                  <a:pt x="11992596" y="527390"/>
                  <a:pt x="12024520" y="552169"/>
                </a:cubicBezTo>
                <a:cubicBezTo>
                  <a:pt x="12045804" y="570754"/>
                  <a:pt x="12063540" y="592436"/>
                  <a:pt x="12081276" y="611022"/>
                </a:cubicBezTo>
                <a:cubicBezTo>
                  <a:pt x="12099012" y="632703"/>
                  <a:pt x="12116748" y="648190"/>
                  <a:pt x="12141578" y="663677"/>
                </a:cubicBezTo>
                <a:cubicBezTo>
                  <a:pt x="12152219" y="672969"/>
                  <a:pt x="12169955" y="679164"/>
                  <a:pt x="12184145" y="682262"/>
                </a:cubicBezTo>
                <a:cubicBezTo>
                  <a:pt x="12205427" y="688457"/>
                  <a:pt x="12223163" y="694651"/>
                  <a:pt x="12247994" y="697749"/>
                </a:cubicBezTo>
                <a:cubicBezTo>
                  <a:pt x="12247994" y="697749"/>
                  <a:pt x="12251541" y="697749"/>
                  <a:pt x="12255089" y="697749"/>
                </a:cubicBezTo>
                <a:cubicBezTo>
                  <a:pt x="12255089" y="700847"/>
                  <a:pt x="12258636" y="700847"/>
                  <a:pt x="12262184" y="703944"/>
                </a:cubicBezTo>
                <a:cubicBezTo>
                  <a:pt x="12265730" y="703944"/>
                  <a:pt x="12272825" y="707042"/>
                  <a:pt x="12272825" y="713236"/>
                </a:cubicBezTo>
                <a:cubicBezTo>
                  <a:pt x="12283466" y="719431"/>
                  <a:pt x="12290561" y="728724"/>
                  <a:pt x="12297654" y="738016"/>
                </a:cubicBezTo>
                <a:cubicBezTo>
                  <a:pt x="12301202" y="744211"/>
                  <a:pt x="12304749" y="753503"/>
                  <a:pt x="12304749" y="762796"/>
                </a:cubicBezTo>
                <a:cubicBezTo>
                  <a:pt x="12304749" y="765893"/>
                  <a:pt x="12304749" y="765893"/>
                  <a:pt x="12304749" y="768991"/>
                </a:cubicBezTo>
                <a:cubicBezTo>
                  <a:pt x="12301202" y="768991"/>
                  <a:pt x="12301202" y="772087"/>
                  <a:pt x="12297654" y="772087"/>
                </a:cubicBezTo>
                <a:cubicBezTo>
                  <a:pt x="12297654" y="772087"/>
                  <a:pt x="12297654" y="772087"/>
                  <a:pt x="12294108" y="772087"/>
                </a:cubicBezTo>
                <a:cubicBezTo>
                  <a:pt x="12290561" y="772087"/>
                  <a:pt x="12287013" y="768991"/>
                  <a:pt x="12279920" y="768991"/>
                </a:cubicBezTo>
                <a:cubicBezTo>
                  <a:pt x="12272825" y="765893"/>
                  <a:pt x="12265730" y="762796"/>
                  <a:pt x="12262184" y="762796"/>
                </a:cubicBezTo>
                <a:cubicBezTo>
                  <a:pt x="12237353" y="753503"/>
                  <a:pt x="12216069" y="747309"/>
                  <a:pt x="12194786" y="738016"/>
                </a:cubicBezTo>
                <a:cubicBezTo>
                  <a:pt x="12130936" y="716334"/>
                  <a:pt x="12070635" y="694651"/>
                  <a:pt x="12010332" y="676067"/>
                </a:cubicBezTo>
                <a:cubicBezTo>
                  <a:pt x="11950029" y="660580"/>
                  <a:pt x="11889727" y="648190"/>
                  <a:pt x="11829424" y="635800"/>
                </a:cubicBezTo>
                <a:cubicBezTo>
                  <a:pt x="11808141" y="632703"/>
                  <a:pt x="11786857" y="629606"/>
                  <a:pt x="11769121" y="626508"/>
                </a:cubicBezTo>
                <a:cubicBezTo>
                  <a:pt x="11762028" y="629606"/>
                  <a:pt x="11758480" y="626508"/>
                  <a:pt x="11751385" y="626508"/>
                </a:cubicBezTo>
                <a:cubicBezTo>
                  <a:pt x="11747838" y="626508"/>
                  <a:pt x="11747838" y="626508"/>
                  <a:pt x="11747838" y="629606"/>
                </a:cubicBezTo>
                <a:cubicBezTo>
                  <a:pt x="11744292" y="629606"/>
                  <a:pt x="11744292" y="629606"/>
                  <a:pt x="11744292" y="629606"/>
                </a:cubicBezTo>
                <a:cubicBezTo>
                  <a:pt x="11740744" y="645093"/>
                  <a:pt x="11737197" y="648190"/>
                  <a:pt x="11730102" y="660580"/>
                </a:cubicBezTo>
                <a:cubicBezTo>
                  <a:pt x="11730102" y="663677"/>
                  <a:pt x="11730102" y="663677"/>
                  <a:pt x="11730102" y="663677"/>
                </a:cubicBezTo>
                <a:cubicBezTo>
                  <a:pt x="11733649" y="663677"/>
                  <a:pt x="11737197" y="663677"/>
                  <a:pt x="11740744" y="663677"/>
                </a:cubicBezTo>
                <a:cubicBezTo>
                  <a:pt x="11754933" y="663677"/>
                  <a:pt x="11765575" y="663677"/>
                  <a:pt x="11779764" y="666775"/>
                </a:cubicBezTo>
                <a:cubicBezTo>
                  <a:pt x="11857802" y="672969"/>
                  <a:pt x="11939387" y="697749"/>
                  <a:pt x="12006784" y="734918"/>
                </a:cubicBezTo>
                <a:cubicBezTo>
                  <a:pt x="12038709" y="747309"/>
                  <a:pt x="12070635" y="768991"/>
                  <a:pt x="12091917" y="793769"/>
                </a:cubicBezTo>
                <a:cubicBezTo>
                  <a:pt x="12102559" y="803062"/>
                  <a:pt x="12106105" y="812355"/>
                  <a:pt x="12113200" y="824743"/>
                </a:cubicBezTo>
                <a:cubicBezTo>
                  <a:pt x="12113200" y="834036"/>
                  <a:pt x="12109654" y="843329"/>
                  <a:pt x="12106105" y="852621"/>
                </a:cubicBezTo>
                <a:cubicBezTo>
                  <a:pt x="12102559" y="855718"/>
                  <a:pt x="12099012" y="858816"/>
                  <a:pt x="12095464" y="858816"/>
                </a:cubicBezTo>
                <a:cubicBezTo>
                  <a:pt x="12088369" y="861914"/>
                  <a:pt x="12081276" y="865011"/>
                  <a:pt x="12074181" y="865011"/>
                </a:cubicBezTo>
                <a:cubicBezTo>
                  <a:pt x="12056445" y="865011"/>
                  <a:pt x="12035163" y="865011"/>
                  <a:pt x="12013878" y="865011"/>
                </a:cubicBezTo>
                <a:cubicBezTo>
                  <a:pt x="11957123" y="858816"/>
                  <a:pt x="11896820" y="846426"/>
                  <a:pt x="11836519" y="834036"/>
                </a:cubicBezTo>
                <a:cubicBezTo>
                  <a:pt x="11772669" y="824743"/>
                  <a:pt x="11708820" y="815452"/>
                  <a:pt x="11641422" y="812355"/>
                </a:cubicBezTo>
                <a:cubicBezTo>
                  <a:pt x="11620139" y="812355"/>
                  <a:pt x="11595308" y="812355"/>
                  <a:pt x="11574026" y="812355"/>
                </a:cubicBezTo>
                <a:cubicBezTo>
                  <a:pt x="11581120" y="815452"/>
                  <a:pt x="11588214" y="821647"/>
                  <a:pt x="11591762" y="827841"/>
                </a:cubicBezTo>
                <a:cubicBezTo>
                  <a:pt x="11595308" y="834036"/>
                  <a:pt x="11602403" y="840231"/>
                  <a:pt x="11602403" y="849523"/>
                </a:cubicBezTo>
                <a:cubicBezTo>
                  <a:pt x="11602403" y="852621"/>
                  <a:pt x="11605950" y="855718"/>
                  <a:pt x="11605950" y="858816"/>
                </a:cubicBezTo>
                <a:cubicBezTo>
                  <a:pt x="11602403" y="858816"/>
                  <a:pt x="11602403" y="858816"/>
                  <a:pt x="11602403" y="861914"/>
                </a:cubicBezTo>
                <a:cubicBezTo>
                  <a:pt x="11602403" y="861914"/>
                  <a:pt x="11602403" y="861914"/>
                  <a:pt x="11598856" y="861914"/>
                </a:cubicBezTo>
                <a:cubicBezTo>
                  <a:pt x="11598856" y="865011"/>
                  <a:pt x="11595308" y="865011"/>
                  <a:pt x="11591762" y="865011"/>
                </a:cubicBezTo>
                <a:cubicBezTo>
                  <a:pt x="11588214" y="865011"/>
                  <a:pt x="11581120" y="865011"/>
                  <a:pt x="11577572" y="865011"/>
                </a:cubicBezTo>
                <a:cubicBezTo>
                  <a:pt x="11563384" y="865011"/>
                  <a:pt x="11549195" y="865011"/>
                  <a:pt x="11531459" y="865011"/>
                </a:cubicBezTo>
                <a:cubicBezTo>
                  <a:pt x="11492440" y="861914"/>
                  <a:pt x="11453421" y="861914"/>
                  <a:pt x="11414401" y="861914"/>
                </a:cubicBezTo>
                <a:cubicBezTo>
                  <a:pt x="11375382" y="861914"/>
                  <a:pt x="11336363" y="861914"/>
                  <a:pt x="11297343" y="865011"/>
                </a:cubicBezTo>
                <a:cubicBezTo>
                  <a:pt x="11286702" y="865011"/>
                  <a:pt x="11272513" y="865011"/>
                  <a:pt x="11261872" y="868108"/>
                </a:cubicBezTo>
                <a:cubicBezTo>
                  <a:pt x="11258324" y="868108"/>
                  <a:pt x="11254777" y="868108"/>
                  <a:pt x="11251229" y="868108"/>
                </a:cubicBezTo>
                <a:cubicBezTo>
                  <a:pt x="11251229" y="868108"/>
                  <a:pt x="11247683" y="871205"/>
                  <a:pt x="11247683" y="871205"/>
                </a:cubicBezTo>
                <a:cubicBezTo>
                  <a:pt x="11247683" y="886692"/>
                  <a:pt x="11247683" y="895985"/>
                  <a:pt x="11244136" y="908376"/>
                </a:cubicBezTo>
                <a:cubicBezTo>
                  <a:pt x="11247683" y="908376"/>
                  <a:pt x="11247683" y="908376"/>
                  <a:pt x="11251229" y="908376"/>
                </a:cubicBezTo>
                <a:cubicBezTo>
                  <a:pt x="11258324" y="908376"/>
                  <a:pt x="11265419" y="902180"/>
                  <a:pt x="11272513" y="902180"/>
                </a:cubicBezTo>
                <a:cubicBezTo>
                  <a:pt x="11325722" y="895985"/>
                  <a:pt x="11378929" y="902180"/>
                  <a:pt x="11425042" y="920765"/>
                </a:cubicBezTo>
                <a:cubicBezTo>
                  <a:pt x="11446326" y="930058"/>
                  <a:pt x="11471157" y="939350"/>
                  <a:pt x="11488893" y="957934"/>
                </a:cubicBezTo>
                <a:cubicBezTo>
                  <a:pt x="11495987" y="964128"/>
                  <a:pt x="11503081" y="973421"/>
                  <a:pt x="11503081" y="982713"/>
                </a:cubicBezTo>
                <a:cubicBezTo>
                  <a:pt x="11510176" y="992006"/>
                  <a:pt x="11510176" y="1001298"/>
                  <a:pt x="11506628" y="1010590"/>
                </a:cubicBezTo>
                <a:cubicBezTo>
                  <a:pt x="11510176" y="1016785"/>
                  <a:pt x="11506628" y="1019883"/>
                  <a:pt x="11503081" y="1022981"/>
                </a:cubicBezTo>
                <a:cubicBezTo>
                  <a:pt x="11499535" y="1029175"/>
                  <a:pt x="11495987" y="1032272"/>
                  <a:pt x="11492440" y="1035370"/>
                </a:cubicBezTo>
                <a:cubicBezTo>
                  <a:pt x="11481799" y="1041565"/>
                  <a:pt x="11467609" y="1047761"/>
                  <a:pt x="11453421" y="1050857"/>
                </a:cubicBezTo>
                <a:cubicBezTo>
                  <a:pt x="11414401" y="1060150"/>
                  <a:pt x="11375382" y="1063246"/>
                  <a:pt x="11336363" y="1063246"/>
                </a:cubicBezTo>
                <a:cubicBezTo>
                  <a:pt x="11293796" y="1069442"/>
                  <a:pt x="11251229" y="1069442"/>
                  <a:pt x="11208664" y="1072539"/>
                </a:cubicBezTo>
                <a:cubicBezTo>
                  <a:pt x="11180286" y="1075637"/>
                  <a:pt x="11148361" y="1078734"/>
                  <a:pt x="11119983" y="1094221"/>
                </a:cubicBezTo>
                <a:cubicBezTo>
                  <a:pt x="11006472" y="1153073"/>
                  <a:pt x="10885867" y="1149975"/>
                  <a:pt x="10775905" y="1221217"/>
                </a:cubicBezTo>
                <a:cubicBezTo>
                  <a:pt x="10754621" y="1233606"/>
                  <a:pt x="10736885" y="1242899"/>
                  <a:pt x="10715601" y="1252191"/>
                </a:cubicBezTo>
                <a:cubicBezTo>
                  <a:pt x="10658847" y="1295555"/>
                  <a:pt x="10602091" y="1342017"/>
                  <a:pt x="10541789" y="1385382"/>
                </a:cubicBezTo>
                <a:cubicBezTo>
                  <a:pt x="10545337" y="1385382"/>
                  <a:pt x="10545337" y="1388479"/>
                  <a:pt x="10545337" y="1391577"/>
                </a:cubicBezTo>
                <a:cubicBezTo>
                  <a:pt x="10548883" y="1397771"/>
                  <a:pt x="10548883" y="1407064"/>
                  <a:pt x="10548883" y="1413259"/>
                </a:cubicBezTo>
                <a:cubicBezTo>
                  <a:pt x="10545337" y="1425648"/>
                  <a:pt x="10541789" y="1434941"/>
                  <a:pt x="10534695" y="1444233"/>
                </a:cubicBezTo>
                <a:cubicBezTo>
                  <a:pt x="10531147" y="1447330"/>
                  <a:pt x="10524053" y="1450428"/>
                  <a:pt x="10516959" y="1456623"/>
                </a:cubicBezTo>
                <a:cubicBezTo>
                  <a:pt x="10509865" y="1459720"/>
                  <a:pt x="10502770" y="1462817"/>
                  <a:pt x="10495675" y="1465915"/>
                </a:cubicBezTo>
                <a:cubicBezTo>
                  <a:pt x="10481487" y="1469013"/>
                  <a:pt x="10467297" y="1475208"/>
                  <a:pt x="10449561" y="1478306"/>
                </a:cubicBezTo>
                <a:cubicBezTo>
                  <a:pt x="10449561" y="1481403"/>
                  <a:pt x="10449561" y="1481403"/>
                  <a:pt x="10446015" y="1481403"/>
                </a:cubicBezTo>
                <a:cubicBezTo>
                  <a:pt x="10446015" y="1484500"/>
                  <a:pt x="10446015" y="1484500"/>
                  <a:pt x="10446015" y="1484500"/>
                </a:cubicBezTo>
                <a:cubicBezTo>
                  <a:pt x="10446015" y="1487597"/>
                  <a:pt x="10449561" y="1490695"/>
                  <a:pt x="10449561" y="1493791"/>
                </a:cubicBezTo>
                <a:cubicBezTo>
                  <a:pt x="10453109" y="1499987"/>
                  <a:pt x="10460203" y="1506182"/>
                  <a:pt x="10467297" y="1512377"/>
                </a:cubicBezTo>
                <a:cubicBezTo>
                  <a:pt x="10467297" y="1515475"/>
                  <a:pt x="10470845" y="1521669"/>
                  <a:pt x="10470845" y="1524766"/>
                </a:cubicBezTo>
                <a:cubicBezTo>
                  <a:pt x="10470845" y="1527864"/>
                  <a:pt x="10467297" y="1527864"/>
                  <a:pt x="10467297" y="1530962"/>
                </a:cubicBezTo>
                <a:cubicBezTo>
                  <a:pt x="10467297" y="1530962"/>
                  <a:pt x="10467297" y="1534059"/>
                  <a:pt x="10467297" y="1534059"/>
                </a:cubicBezTo>
                <a:cubicBezTo>
                  <a:pt x="10467297" y="1537156"/>
                  <a:pt x="10463751" y="1537156"/>
                  <a:pt x="10460203" y="1537156"/>
                </a:cubicBezTo>
                <a:cubicBezTo>
                  <a:pt x="10460203" y="1540253"/>
                  <a:pt x="10456656" y="1540253"/>
                  <a:pt x="10453109" y="1540253"/>
                </a:cubicBezTo>
                <a:cubicBezTo>
                  <a:pt x="10446015" y="1543351"/>
                  <a:pt x="10438920" y="1543351"/>
                  <a:pt x="10431825" y="1543351"/>
                </a:cubicBezTo>
                <a:cubicBezTo>
                  <a:pt x="10403448" y="1546449"/>
                  <a:pt x="10371524" y="1561936"/>
                  <a:pt x="10343147" y="1574326"/>
                </a:cubicBezTo>
                <a:cubicBezTo>
                  <a:pt x="10307674" y="1596008"/>
                  <a:pt x="10268654" y="1620787"/>
                  <a:pt x="10233182" y="1645567"/>
                </a:cubicBezTo>
                <a:cubicBezTo>
                  <a:pt x="10197711" y="1673444"/>
                  <a:pt x="10162239" y="1701320"/>
                  <a:pt x="10126767" y="1732295"/>
                </a:cubicBezTo>
                <a:cubicBezTo>
                  <a:pt x="10116125" y="1747782"/>
                  <a:pt x="10101936" y="1760173"/>
                  <a:pt x="10087747" y="1775660"/>
                </a:cubicBezTo>
                <a:cubicBezTo>
                  <a:pt x="10080653" y="1784952"/>
                  <a:pt x="10073559" y="1797342"/>
                  <a:pt x="10066463" y="1812829"/>
                </a:cubicBezTo>
                <a:cubicBezTo>
                  <a:pt x="10066463" y="1812829"/>
                  <a:pt x="10062917" y="1815927"/>
                  <a:pt x="10062917" y="1815927"/>
                </a:cubicBezTo>
                <a:cubicBezTo>
                  <a:pt x="10062917" y="1815927"/>
                  <a:pt x="10059369" y="1819024"/>
                  <a:pt x="10059369" y="1819024"/>
                </a:cubicBezTo>
                <a:cubicBezTo>
                  <a:pt x="10055823" y="1825218"/>
                  <a:pt x="10048727" y="1828316"/>
                  <a:pt x="10045181" y="1834511"/>
                </a:cubicBezTo>
                <a:cubicBezTo>
                  <a:pt x="10034539" y="1840706"/>
                  <a:pt x="10027445" y="1846900"/>
                  <a:pt x="10016803" y="1856193"/>
                </a:cubicBezTo>
                <a:cubicBezTo>
                  <a:pt x="10013255" y="1859291"/>
                  <a:pt x="10006161" y="1862389"/>
                  <a:pt x="10006161" y="1865486"/>
                </a:cubicBezTo>
                <a:cubicBezTo>
                  <a:pt x="10006161" y="1868583"/>
                  <a:pt x="10002614" y="1868583"/>
                  <a:pt x="10002614" y="1871680"/>
                </a:cubicBezTo>
                <a:cubicBezTo>
                  <a:pt x="10002614" y="1874778"/>
                  <a:pt x="10002614" y="1874778"/>
                  <a:pt x="10002614" y="1874778"/>
                </a:cubicBezTo>
                <a:cubicBezTo>
                  <a:pt x="10006161" y="1874778"/>
                  <a:pt x="10006161" y="1874778"/>
                  <a:pt x="10006161" y="1874778"/>
                </a:cubicBezTo>
                <a:cubicBezTo>
                  <a:pt x="10013255" y="1874778"/>
                  <a:pt x="10020350" y="1874778"/>
                  <a:pt x="10030991" y="1871680"/>
                </a:cubicBezTo>
                <a:cubicBezTo>
                  <a:pt x="10080653" y="1856193"/>
                  <a:pt x="10126767" y="1825218"/>
                  <a:pt x="10176427" y="1784952"/>
                </a:cubicBezTo>
                <a:cubicBezTo>
                  <a:pt x="10201257" y="1766367"/>
                  <a:pt x="10226089" y="1744685"/>
                  <a:pt x="10247371" y="1719906"/>
                </a:cubicBezTo>
                <a:cubicBezTo>
                  <a:pt x="10265107" y="1695126"/>
                  <a:pt x="10279295" y="1673444"/>
                  <a:pt x="10293485" y="1648664"/>
                </a:cubicBezTo>
                <a:cubicBezTo>
                  <a:pt x="10293485" y="1645567"/>
                  <a:pt x="10297031" y="1639371"/>
                  <a:pt x="10300579" y="1639371"/>
                </a:cubicBezTo>
                <a:cubicBezTo>
                  <a:pt x="10304126" y="1633177"/>
                  <a:pt x="10307674" y="1630080"/>
                  <a:pt x="10311221" y="1626982"/>
                </a:cubicBezTo>
                <a:cubicBezTo>
                  <a:pt x="10321862" y="1620787"/>
                  <a:pt x="10332503" y="1617690"/>
                  <a:pt x="10343147" y="1614593"/>
                </a:cubicBezTo>
                <a:cubicBezTo>
                  <a:pt x="10371524" y="1602202"/>
                  <a:pt x="10403448" y="1596008"/>
                  <a:pt x="10431825" y="1586715"/>
                </a:cubicBezTo>
                <a:cubicBezTo>
                  <a:pt x="10460203" y="1577424"/>
                  <a:pt x="10495675" y="1568131"/>
                  <a:pt x="10524053" y="1549546"/>
                </a:cubicBezTo>
                <a:cubicBezTo>
                  <a:pt x="10541789" y="1543351"/>
                  <a:pt x="10552431" y="1530962"/>
                  <a:pt x="10563073" y="1521669"/>
                </a:cubicBezTo>
                <a:cubicBezTo>
                  <a:pt x="10577261" y="1509279"/>
                  <a:pt x="10584355" y="1496889"/>
                  <a:pt x="10591450" y="1481403"/>
                </a:cubicBezTo>
                <a:cubicBezTo>
                  <a:pt x="10594997" y="1478306"/>
                  <a:pt x="10598545" y="1475208"/>
                  <a:pt x="10598545" y="1472110"/>
                </a:cubicBezTo>
                <a:cubicBezTo>
                  <a:pt x="10602091" y="1469013"/>
                  <a:pt x="10609187" y="1465915"/>
                  <a:pt x="10609187" y="1465915"/>
                </a:cubicBezTo>
                <a:cubicBezTo>
                  <a:pt x="10619827" y="1459720"/>
                  <a:pt x="10626923" y="1456623"/>
                  <a:pt x="10637564" y="1456623"/>
                </a:cubicBezTo>
                <a:cubicBezTo>
                  <a:pt x="10655300" y="1453526"/>
                  <a:pt x="10676583" y="1453526"/>
                  <a:pt x="10697867" y="1456623"/>
                </a:cubicBezTo>
                <a:cubicBezTo>
                  <a:pt x="10704960" y="1456623"/>
                  <a:pt x="10712055" y="1459720"/>
                  <a:pt x="10719149" y="1462817"/>
                </a:cubicBezTo>
                <a:cubicBezTo>
                  <a:pt x="10722696" y="1462817"/>
                  <a:pt x="10726244" y="1465915"/>
                  <a:pt x="10729791" y="1465915"/>
                </a:cubicBezTo>
                <a:cubicBezTo>
                  <a:pt x="10729791" y="1469013"/>
                  <a:pt x="10733337" y="1469013"/>
                  <a:pt x="10733337" y="1472110"/>
                </a:cubicBezTo>
                <a:cubicBezTo>
                  <a:pt x="10733337" y="1475208"/>
                  <a:pt x="10733337" y="1475208"/>
                  <a:pt x="10733337" y="1475208"/>
                </a:cubicBezTo>
                <a:cubicBezTo>
                  <a:pt x="10733337" y="1475208"/>
                  <a:pt x="10733337" y="1475208"/>
                  <a:pt x="10733337" y="1478306"/>
                </a:cubicBezTo>
                <a:cubicBezTo>
                  <a:pt x="10729791" y="1478306"/>
                  <a:pt x="10729791" y="1481403"/>
                  <a:pt x="10729791" y="1481403"/>
                </a:cubicBezTo>
                <a:cubicBezTo>
                  <a:pt x="10729791" y="1481403"/>
                  <a:pt x="10729791" y="1484500"/>
                  <a:pt x="10726244" y="1484500"/>
                </a:cubicBezTo>
                <a:cubicBezTo>
                  <a:pt x="10719149" y="1493791"/>
                  <a:pt x="10708508" y="1493791"/>
                  <a:pt x="10697867" y="1496889"/>
                </a:cubicBezTo>
                <a:cubicBezTo>
                  <a:pt x="10683677" y="1503084"/>
                  <a:pt x="10665941" y="1509279"/>
                  <a:pt x="10651752" y="1521669"/>
                </a:cubicBezTo>
                <a:cubicBezTo>
                  <a:pt x="10648205" y="1521669"/>
                  <a:pt x="10648205" y="1521669"/>
                  <a:pt x="10644659" y="1524766"/>
                </a:cubicBezTo>
                <a:cubicBezTo>
                  <a:pt x="10644659" y="1524766"/>
                  <a:pt x="10644659" y="1527864"/>
                  <a:pt x="10644659" y="1530962"/>
                </a:cubicBezTo>
                <a:cubicBezTo>
                  <a:pt x="10641111" y="1534059"/>
                  <a:pt x="10644659" y="1537156"/>
                  <a:pt x="10644659" y="1540253"/>
                </a:cubicBezTo>
                <a:cubicBezTo>
                  <a:pt x="10648205" y="1565033"/>
                  <a:pt x="10662395" y="1580520"/>
                  <a:pt x="10665941" y="1605300"/>
                </a:cubicBezTo>
                <a:cubicBezTo>
                  <a:pt x="10665941" y="1611495"/>
                  <a:pt x="10665941" y="1617690"/>
                  <a:pt x="10665941" y="1620787"/>
                </a:cubicBezTo>
                <a:cubicBezTo>
                  <a:pt x="10669488" y="1623884"/>
                  <a:pt x="10669488" y="1623884"/>
                  <a:pt x="10669488" y="1626982"/>
                </a:cubicBezTo>
                <a:cubicBezTo>
                  <a:pt x="10673036" y="1626982"/>
                  <a:pt x="10673036" y="1626982"/>
                  <a:pt x="10673036" y="1626982"/>
                </a:cubicBezTo>
                <a:cubicBezTo>
                  <a:pt x="10673036" y="1623884"/>
                  <a:pt x="10676583" y="1623884"/>
                  <a:pt x="10673036" y="1620787"/>
                </a:cubicBezTo>
                <a:cubicBezTo>
                  <a:pt x="10680131" y="1617690"/>
                  <a:pt x="10680131" y="1614593"/>
                  <a:pt x="10683677" y="1611495"/>
                </a:cubicBezTo>
                <a:cubicBezTo>
                  <a:pt x="10690772" y="1599106"/>
                  <a:pt x="10697867" y="1586715"/>
                  <a:pt x="10704960" y="1577424"/>
                </a:cubicBezTo>
                <a:cubicBezTo>
                  <a:pt x="10715601" y="1561936"/>
                  <a:pt x="10729791" y="1552644"/>
                  <a:pt x="10747527" y="1546449"/>
                </a:cubicBezTo>
                <a:cubicBezTo>
                  <a:pt x="10772357" y="1537156"/>
                  <a:pt x="10793641" y="1537156"/>
                  <a:pt x="10811377" y="1540253"/>
                </a:cubicBezTo>
                <a:cubicBezTo>
                  <a:pt x="10832659" y="1543351"/>
                  <a:pt x="10850395" y="1552644"/>
                  <a:pt x="10864585" y="1561936"/>
                </a:cubicBezTo>
                <a:cubicBezTo>
                  <a:pt x="10878773" y="1568131"/>
                  <a:pt x="10896509" y="1574326"/>
                  <a:pt x="10914245" y="1571228"/>
                </a:cubicBezTo>
                <a:cubicBezTo>
                  <a:pt x="10921340" y="1571228"/>
                  <a:pt x="10931981" y="1568131"/>
                  <a:pt x="10939076" y="1561936"/>
                </a:cubicBezTo>
                <a:cubicBezTo>
                  <a:pt x="10949717" y="1555740"/>
                  <a:pt x="10963907" y="1546449"/>
                  <a:pt x="10971001" y="1537156"/>
                </a:cubicBezTo>
                <a:cubicBezTo>
                  <a:pt x="10971001" y="1537156"/>
                  <a:pt x="10974548" y="1537156"/>
                  <a:pt x="10974548" y="1534059"/>
                </a:cubicBezTo>
                <a:cubicBezTo>
                  <a:pt x="10978095" y="1534059"/>
                  <a:pt x="10978095" y="1530962"/>
                  <a:pt x="10978095" y="1530962"/>
                </a:cubicBezTo>
                <a:cubicBezTo>
                  <a:pt x="10981643" y="1530962"/>
                  <a:pt x="10985189" y="1530962"/>
                  <a:pt x="10992284" y="1530962"/>
                </a:cubicBezTo>
                <a:cubicBezTo>
                  <a:pt x="10999379" y="1530962"/>
                  <a:pt x="11006472" y="1534059"/>
                  <a:pt x="11013567" y="1537156"/>
                </a:cubicBezTo>
                <a:cubicBezTo>
                  <a:pt x="11020661" y="1540253"/>
                  <a:pt x="11024209" y="1546449"/>
                  <a:pt x="11031303" y="1552644"/>
                </a:cubicBezTo>
                <a:cubicBezTo>
                  <a:pt x="11031303" y="1552644"/>
                  <a:pt x="11031303" y="1555740"/>
                  <a:pt x="11034851" y="1558838"/>
                </a:cubicBezTo>
                <a:cubicBezTo>
                  <a:pt x="11031303" y="1561936"/>
                  <a:pt x="11031303" y="1561936"/>
                  <a:pt x="11031303" y="1561936"/>
                </a:cubicBezTo>
                <a:cubicBezTo>
                  <a:pt x="11031303" y="1565033"/>
                  <a:pt x="11031303" y="1565033"/>
                  <a:pt x="11031303" y="1565033"/>
                </a:cubicBezTo>
                <a:cubicBezTo>
                  <a:pt x="11027757" y="1568131"/>
                  <a:pt x="11027757" y="1571228"/>
                  <a:pt x="11024209" y="1571228"/>
                </a:cubicBezTo>
                <a:cubicBezTo>
                  <a:pt x="11020661" y="1574326"/>
                  <a:pt x="11013567" y="1577424"/>
                  <a:pt x="11010020" y="1577424"/>
                </a:cubicBezTo>
                <a:cubicBezTo>
                  <a:pt x="10999379" y="1586715"/>
                  <a:pt x="10985189" y="1592911"/>
                  <a:pt x="10971001" y="1599106"/>
                </a:cubicBezTo>
                <a:cubicBezTo>
                  <a:pt x="10956812" y="1608398"/>
                  <a:pt x="10942623" y="1614593"/>
                  <a:pt x="10924887" y="1620787"/>
                </a:cubicBezTo>
                <a:cubicBezTo>
                  <a:pt x="10946171" y="1617690"/>
                  <a:pt x="10967453" y="1614593"/>
                  <a:pt x="10985189" y="1611495"/>
                </a:cubicBezTo>
                <a:cubicBezTo>
                  <a:pt x="10992284" y="1611495"/>
                  <a:pt x="11002925" y="1611495"/>
                  <a:pt x="11006472" y="1614593"/>
                </a:cubicBezTo>
                <a:cubicBezTo>
                  <a:pt x="11010020" y="1614593"/>
                  <a:pt x="11006472" y="1617690"/>
                  <a:pt x="11006472" y="1617690"/>
                </a:cubicBezTo>
                <a:cubicBezTo>
                  <a:pt x="11006472" y="1620787"/>
                  <a:pt x="11002925" y="1620787"/>
                  <a:pt x="11002925" y="1620787"/>
                </a:cubicBezTo>
                <a:cubicBezTo>
                  <a:pt x="10999379" y="1620787"/>
                  <a:pt x="10999379" y="1623884"/>
                  <a:pt x="10995831" y="1623884"/>
                </a:cubicBezTo>
                <a:cubicBezTo>
                  <a:pt x="10995831" y="1626982"/>
                  <a:pt x="10992284" y="1626982"/>
                  <a:pt x="10988737" y="1626982"/>
                </a:cubicBezTo>
                <a:cubicBezTo>
                  <a:pt x="10985189" y="1630080"/>
                  <a:pt x="10981643" y="1630080"/>
                  <a:pt x="10978095" y="1633177"/>
                </a:cubicBezTo>
                <a:cubicBezTo>
                  <a:pt x="10967453" y="1636275"/>
                  <a:pt x="10956812" y="1639371"/>
                  <a:pt x="10946171" y="1642469"/>
                </a:cubicBezTo>
                <a:cubicBezTo>
                  <a:pt x="10914245" y="1654860"/>
                  <a:pt x="10882321" y="1661054"/>
                  <a:pt x="10850395" y="1673444"/>
                </a:cubicBezTo>
                <a:cubicBezTo>
                  <a:pt x="10804282" y="1688931"/>
                  <a:pt x="10761717" y="1704418"/>
                  <a:pt x="10719149" y="1723003"/>
                </a:cubicBezTo>
                <a:cubicBezTo>
                  <a:pt x="10719149" y="1723003"/>
                  <a:pt x="10719149" y="1726100"/>
                  <a:pt x="10715601" y="1726100"/>
                </a:cubicBezTo>
                <a:cubicBezTo>
                  <a:pt x="10719149" y="1741588"/>
                  <a:pt x="10719149" y="1747782"/>
                  <a:pt x="10719149" y="1763271"/>
                </a:cubicBezTo>
                <a:cubicBezTo>
                  <a:pt x="10722696" y="1763271"/>
                  <a:pt x="10722696" y="1763271"/>
                  <a:pt x="10726244" y="1760173"/>
                </a:cubicBezTo>
                <a:cubicBezTo>
                  <a:pt x="10733337" y="1753978"/>
                  <a:pt x="10736885" y="1747782"/>
                  <a:pt x="10743981" y="1744685"/>
                </a:cubicBezTo>
                <a:cubicBezTo>
                  <a:pt x="10793641" y="1716809"/>
                  <a:pt x="10843302" y="1704418"/>
                  <a:pt x="10889415" y="1698224"/>
                </a:cubicBezTo>
                <a:cubicBezTo>
                  <a:pt x="10914245" y="1695126"/>
                  <a:pt x="10935529" y="1698224"/>
                  <a:pt x="10953265" y="1704418"/>
                </a:cubicBezTo>
                <a:cubicBezTo>
                  <a:pt x="10963907" y="1707516"/>
                  <a:pt x="10971001" y="1710613"/>
                  <a:pt x="10978095" y="1716809"/>
                </a:cubicBezTo>
                <a:cubicBezTo>
                  <a:pt x="10985189" y="1726100"/>
                  <a:pt x="10988737" y="1732295"/>
                  <a:pt x="10988737" y="1741588"/>
                </a:cubicBezTo>
                <a:cubicBezTo>
                  <a:pt x="10988737" y="1747782"/>
                  <a:pt x="10988737" y="1753978"/>
                  <a:pt x="10988737" y="1757074"/>
                </a:cubicBezTo>
                <a:cubicBezTo>
                  <a:pt x="10985189" y="1763271"/>
                  <a:pt x="10981643" y="1769465"/>
                  <a:pt x="10978095" y="1772562"/>
                </a:cubicBezTo>
                <a:cubicBezTo>
                  <a:pt x="10967453" y="1784952"/>
                  <a:pt x="10956812" y="1794244"/>
                  <a:pt x="10946171" y="1803536"/>
                </a:cubicBezTo>
                <a:cubicBezTo>
                  <a:pt x="10910699" y="1828316"/>
                  <a:pt x="10871679" y="1846900"/>
                  <a:pt x="10836207" y="1862389"/>
                </a:cubicBezTo>
                <a:cubicBezTo>
                  <a:pt x="10797187" y="1884070"/>
                  <a:pt x="10754621" y="1902655"/>
                  <a:pt x="10715601" y="1924336"/>
                </a:cubicBezTo>
                <a:cubicBezTo>
                  <a:pt x="10690772" y="1939823"/>
                  <a:pt x="10658847" y="1952214"/>
                  <a:pt x="10634015" y="1973896"/>
                </a:cubicBezTo>
                <a:cubicBezTo>
                  <a:pt x="10531147" y="2066818"/>
                  <a:pt x="10421184" y="2097791"/>
                  <a:pt x="10321862" y="2187618"/>
                </a:cubicBezTo>
                <a:cubicBezTo>
                  <a:pt x="10293485" y="2215494"/>
                  <a:pt x="10272202" y="2230981"/>
                  <a:pt x="10247371" y="2246469"/>
                </a:cubicBezTo>
                <a:cubicBezTo>
                  <a:pt x="10222541" y="2258859"/>
                  <a:pt x="10204805" y="2274345"/>
                  <a:pt x="10187068" y="2286736"/>
                </a:cubicBezTo>
                <a:cubicBezTo>
                  <a:pt x="10116125" y="2330100"/>
                  <a:pt x="10048727" y="2367270"/>
                  <a:pt x="9977783" y="2407536"/>
                </a:cubicBezTo>
                <a:cubicBezTo>
                  <a:pt x="9779140" y="2515946"/>
                  <a:pt x="9576950" y="2615065"/>
                  <a:pt x="9374759" y="2707988"/>
                </a:cubicBezTo>
                <a:cubicBezTo>
                  <a:pt x="9310910" y="2735866"/>
                  <a:pt x="9140643" y="2940296"/>
                  <a:pt x="8874603" y="2943393"/>
                </a:cubicBezTo>
                <a:cubicBezTo>
                  <a:pt x="8512788" y="2949589"/>
                  <a:pt x="8555355" y="2906224"/>
                  <a:pt x="8661772" y="3491641"/>
                </a:cubicBezTo>
                <a:cubicBezTo>
                  <a:pt x="8679508" y="3600052"/>
                  <a:pt x="8711432" y="3696073"/>
                  <a:pt x="8743358" y="3795191"/>
                </a:cubicBezTo>
                <a:cubicBezTo>
                  <a:pt x="8775282" y="3891211"/>
                  <a:pt x="8778828" y="4129715"/>
                  <a:pt x="8693696" y="4132812"/>
                </a:cubicBezTo>
                <a:cubicBezTo>
                  <a:pt x="8647582" y="4135909"/>
                  <a:pt x="8619205" y="4101838"/>
                  <a:pt x="8605015" y="3816873"/>
                </a:cubicBezTo>
                <a:cubicBezTo>
                  <a:pt x="8601469" y="3708462"/>
                  <a:pt x="8597922" y="3600052"/>
                  <a:pt x="8597922" y="3497836"/>
                </a:cubicBezTo>
                <a:cubicBezTo>
                  <a:pt x="8597922" y="3438985"/>
                  <a:pt x="8594374" y="3386328"/>
                  <a:pt x="8594374" y="3333672"/>
                </a:cubicBezTo>
                <a:cubicBezTo>
                  <a:pt x="8587279" y="3092071"/>
                  <a:pt x="8626300" y="3054902"/>
                  <a:pt x="8420561" y="3126143"/>
                </a:cubicBezTo>
                <a:cubicBezTo>
                  <a:pt x="8342522" y="3154020"/>
                  <a:pt x="8275126" y="3154020"/>
                  <a:pt x="8260936" y="3200482"/>
                </a:cubicBezTo>
                <a:cubicBezTo>
                  <a:pt x="8257390" y="3222164"/>
                  <a:pt x="8260936" y="3271723"/>
                  <a:pt x="8268031" y="3305794"/>
                </a:cubicBezTo>
                <a:cubicBezTo>
                  <a:pt x="8310598" y="3457570"/>
                  <a:pt x="8239654" y="3531908"/>
                  <a:pt x="8225464" y="3358452"/>
                </a:cubicBezTo>
                <a:cubicBezTo>
                  <a:pt x="8225464" y="3339867"/>
                  <a:pt x="8225464" y="3305794"/>
                  <a:pt x="8236107" y="3271723"/>
                </a:cubicBezTo>
                <a:cubicBezTo>
                  <a:pt x="8260936" y="3150923"/>
                  <a:pt x="8271579" y="3191189"/>
                  <a:pt x="8133237" y="3194287"/>
                </a:cubicBezTo>
                <a:cubicBezTo>
                  <a:pt x="7980709" y="3200482"/>
                  <a:pt x="7835273" y="3237651"/>
                  <a:pt x="7867197" y="3414205"/>
                </a:cubicBezTo>
                <a:cubicBezTo>
                  <a:pt x="7881387" y="3504032"/>
                  <a:pt x="7923952" y="3584565"/>
                  <a:pt x="7923952" y="3689877"/>
                </a:cubicBezTo>
                <a:cubicBezTo>
                  <a:pt x="7923952" y="3807581"/>
                  <a:pt x="7892028" y="3894309"/>
                  <a:pt x="7860103" y="3711560"/>
                </a:cubicBezTo>
                <a:cubicBezTo>
                  <a:pt x="7853009" y="3671293"/>
                  <a:pt x="7860103" y="3541201"/>
                  <a:pt x="7856556" y="3423498"/>
                </a:cubicBezTo>
                <a:cubicBezTo>
                  <a:pt x="7845915" y="3222164"/>
                  <a:pt x="7824630" y="3277918"/>
                  <a:pt x="7668554" y="3302698"/>
                </a:cubicBezTo>
                <a:cubicBezTo>
                  <a:pt x="7466366" y="3336769"/>
                  <a:pt x="7512477" y="3355354"/>
                  <a:pt x="7530213" y="3600052"/>
                </a:cubicBezTo>
                <a:cubicBezTo>
                  <a:pt x="7551496" y="3878822"/>
                  <a:pt x="7601157" y="4160689"/>
                  <a:pt x="7590516" y="4420874"/>
                </a:cubicBezTo>
                <a:cubicBezTo>
                  <a:pt x="7586968" y="4585039"/>
                  <a:pt x="7597609" y="4671768"/>
                  <a:pt x="7491194" y="4718230"/>
                </a:cubicBezTo>
                <a:cubicBezTo>
                  <a:pt x="7413156" y="4752301"/>
                  <a:pt x="7384779" y="4594332"/>
                  <a:pt x="7448631" y="4380608"/>
                </a:cubicBezTo>
                <a:cubicBezTo>
                  <a:pt x="7491194" y="4225736"/>
                  <a:pt x="7608252" y="3339867"/>
                  <a:pt x="7416703" y="3336769"/>
                </a:cubicBezTo>
                <a:cubicBezTo>
                  <a:pt x="7249985" y="3333672"/>
                  <a:pt x="7203870" y="3194287"/>
                  <a:pt x="7221608" y="3457570"/>
                </a:cubicBezTo>
                <a:cubicBezTo>
                  <a:pt x="7228701" y="3541201"/>
                  <a:pt x="7257082" y="3723950"/>
                  <a:pt x="7242890" y="3807581"/>
                </a:cubicBezTo>
                <a:cubicBezTo>
                  <a:pt x="7235797" y="3841653"/>
                  <a:pt x="7221608" y="3860237"/>
                  <a:pt x="7207419" y="3863335"/>
                </a:cubicBezTo>
                <a:cubicBezTo>
                  <a:pt x="7168402" y="3866433"/>
                  <a:pt x="7161306" y="3782801"/>
                  <a:pt x="7171949" y="3689877"/>
                </a:cubicBezTo>
                <a:cubicBezTo>
                  <a:pt x="7182589" y="3615539"/>
                  <a:pt x="7214513" y="3535006"/>
                  <a:pt x="7207419" y="3479252"/>
                </a:cubicBezTo>
                <a:cubicBezTo>
                  <a:pt x="7186135" y="3256236"/>
                  <a:pt x="7150666" y="3268625"/>
                  <a:pt x="7072628" y="3311990"/>
                </a:cubicBezTo>
                <a:cubicBezTo>
                  <a:pt x="7008777" y="3346061"/>
                  <a:pt x="6927191" y="3315087"/>
                  <a:pt x="6842060" y="3318185"/>
                </a:cubicBezTo>
                <a:cubicBezTo>
                  <a:pt x="6746284" y="3321282"/>
                  <a:pt x="6693076" y="3274820"/>
                  <a:pt x="6735642" y="3392523"/>
                </a:cubicBezTo>
                <a:cubicBezTo>
                  <a:pt x="6856247" y="3674390"/>
                  <a:pt x="6536999" y="3640319"/>
                  <a:pt x="6590207" y="3420401"/>
                </a:cubicBezTo>
                <a:cubicBezTo>
                  <a:pt x="6618585" y="3271723"/>
                  <a:pt x="6774664" y="3281016"/>
                  <a:pt x="6547642" y="3253138"/>
                </a:cubicBezTo>
                <a:cubicBezTo>
                  <a:pt x="6398660" y="3234554"/>
                  <a:pt x="6235487" y="3209774"/>
                  <a:pt x="6175185" y="3315087"/>
                </a:cubicBezTo>
                <a:cubicBezTo>
                  <a:pt x="6107789" y="3435888"/>
                  <a:pt x="6224845" y="3863335"/>
                  <a:pt x="6235487" y="4018207"/>
                </a:cubicBezTo>
                <a:cubicBezTo>
                  <a:pt x="6249675" y="4222638"/>
                  <a:pt x="6317072" y="4386803"/>
                  <a:pt x="6200016" y="4374414"/>
                </a:cubicBezTo>
                <a:cubicBezTo>
                  <a:pt x="6107789" y="4365121"/>
                  <a:pt x="6121977" y="4216443"/>
                  <a:pt x="6153902" y="4021304"/>
                </a:cubicBezTo>
                <a:cubicBezTo>
                  <a:pt x="6182280" y="3838555"/>
                  <a:pt x="6139713" y="3562883"/>
                  <a:pt x="6125525" y="3377036"/>
                </a:cubicBezTo>
                <a:cubicBezTo>
                  <a:pt x="6118874" y="3282177"/>
                  <a:pt x="6041556" y="3230875"/>
                  <a:pt x="5957656" y="3210276"/>
                </a:cubicBezTo>
                <a:lnTo>
                  <a:pt x="5940846" y="3207361"/>
                </a:lnTo>
                <a:lnTo>
                  <a:pt x="5943892" y="3224189"/>
                </a:lnTo>
                <a:cubicBezTo>
                  <a:pt x="5957111" y="3294215"/>
                  <a:pt x="5974819" y="3381875"/>
                  <a:pt x="5994772" y="3491641"/>
                </a:cubicBezTo>
                <a:cubicBezTo>
                  <a:pt x="6012508" y="3600052"/>
                  <a:pt x="6044433" y="3696073"/>
                  <a:pt x="6076358" y="3795191"/>
                </a:cubicBezTo>
                <a:cubicBezTo>
                  <a:pt x="6108283" y="3891211"/>
                  <a:pt x="6111829" y="4129715"/>
                  <a:pt x="6026696" y="4132812"/>
                </a:cubicBezTo>
                <a:cubicBezTo>
                  <a:pt x="5980582" y="4135909"/>
                  <a:pt x="5952206" y="4101838"/>
                  <a:pt x="5938015" y="3816873"/>
                </a:cubicBezTo>
                <a:cubicBezTo>
                  <a:pt x="5934469" y="3708462"/>
                  <a:pt x="5930922" y="3600052"/>
                  <a:pt x="5930922" y="3497836"/>
                </a:cubicBezTo>
                <a:cubicBezTo>
                  <a:pt x="5930922" y="3438985"/>
                  <a:pt x="5927375" y="3386328"/>
                  <a:pt x="5927375" y="3333672"/>
                </a:cubicBezTo>
                <a:cubicBezTo>
                  <a:pt x="5926488" y="3303472"/>
                  <a:pt x="5926321" y="3276466"/>
                  <a:pt x="5926307" y="3252467"/>
                </a:cubicBezTo>
                <a:lnTo>
                  <a:pt x="5926192" y="3204820"/>
                </a:lnTo>
                <a:lnTo>
                  <a:pt x="5907039" y="3201498"/>
                </a:lnTo>
                <a:cubicBezTo>
                  <a:pt x="5873451" y="3197965"/>
                  <a:pt x="5840861" y="3198933"/>
                  <a:pt x="5813370" y="3203579"/>
                </a:cubicBezTo>
                <a:cubicBezTo>
                  <a:pt x="5777455" y="3209387"/>
                  <a:pt x="5749022" y="3177300"/>
                  <a:pt x="5710675" y="3141945"/>
                </a:cubicBezTo>
                <a:lnTo>
                  <a:pt x="5708138" y="3139837"/>
                </a:lnTo>
                <a:lnTo>
                  <a:pt x="5697693" y="3142986"/>
                </a:lnTo>
                <a:cubicBezTo>
                  <a:pt x="5645150" y="3156924"/>
                  <a:pt x="5604579" y="3165636"/>
                  <a:pt x="5593936" y="3200482"/>
                </a:cubicBezTo>
                <a:cubicBezTo>
                  <a:pt x="5590390" y="3222164"/>
                  <a:pt x="5593936" y="3271723"/>
                  <a:pt x="5601031" y="3305794"/>
                </a:cubicBezTo>
                <a:cubicBezTo>
                  <a:pt x="5643598" y="3457570"/>
                  <a:pt x="5572654" y="3531908"/>
                  <a:pt x="5558464" y="3358452"/>
                </a:cubicBezTo>
                <a:cubicBezTo>
                  <a:pt x="5558464" y="3339867"/>
                  <a:pt x="5558464" y="3305794"/>
                  <a:pt x="5569108" y="3271723"/>
                </a:cubicBezTo>
                <a:cubicBezTo>
                  <a:pt x="5593936" y="3150923"/>
                  <a:pt x="5604579" y="3191189"/>
                  <a:pt x="5466237" y="3194287"/>
                </a:cubicBezTo>
                <a:cubicBezTo>
                  <a:pt x="5313710" y="3200482"/>
                  <a:pt x="5168273" y="3237651"/>
                  <a:pt x="5200198" y="3414205"/>
                </a:cubicBezTo>
                <a:cubicBezTo>
                  <a:pt x="5214387" y="3504032"/>
                  <a:pt x="5256952" y="3584565"/>
                  <a:pt x="5256952" y="3689877"/>
                </a:cubicBezTo>
                <a:cubicBezTo>
                  <a:pt x="5256952" y="3807581"/>
                  <a:pt x="5225029" y="3894309"/>
                  <a:pt x="5193104" y="3711560"/>
                </a:cubicBezTo>
                <a:cubicBezTo>
                  <a:pt x="5186009" y="3671293"/>
                  <a:pt x="5193104" y="3541201"/>
                  <a:pt x="5189556" y="3423498"/>
                </a:cubicBezTo>
                <a:cubicBezTo>
                  <a:pt x="5178915" y="3222164"/>
                  <a:pt x="5157630" y="3277918"/>
                  <a:pt x="5001554" y="3302698"/>
                </a:cubicBezTo>
                <a:cubicBezTo>
                  <a:pt x="4799366" y="3336769"/>
                  <a:pt x="4845477" y="3355354"/>
                  <a:pt x="4863213" y="3600052"/>
                </a:cubicBezTo>
                <a:cubicBezTo>
                  <a:pt x="4884496" y="3878822"/>
                  <a:pt x="4934157" y="4160689"/>
                  <a:pt x="4923516" y="4420874"/>
                </a:cubicBezTo>
                <a:cubicBezTo>
                  <a:pt x="4919968" y="4585039"/>
                  <a:pt x="4930609" y="4671768"/>
                  <a:pt x="4824194" y="4718230"/>
                </a:cubicBezTo>
                <a:cubicBezTo>
                  <a:pt x="4746156" y="4752301"/>
                  <a:pt x="4717779" y="4594332"/>
                  <a:pt x="4781631" y="4380608"/>
                </a:cubicBezTo>
                <a:cubicBezTo>
                  <a:pt x="4824194" y="4225736"/>
                  <a:pt x="4941252" y="3339867"/>
                  <a:pt x="4749704" y="3336769"/>
                </a:cubicBezTo>
                <a:cubicBezTo>
                  <a:pt x="4582985" y="3333672"/>
                  <a:pt x="4536870" y="3194287"/>
                  <a:pt x="4554608" y="3457570"/>
                </a:cubicBezTo>
                <a:cubicBezTo>
                  <a:pt x="4561702" y="3541201"/>
                  <a:pt x="4590082" y="3723950"/>
                  <a:pt x="4575890" y="3807581"/>
                </a:cubicBezTo>
                <a:cubicBezTo>
                  <a:pt x="4568797" y="3841653"/>
                  <a:pt x="4554608" y="3860237"/>
                  <a:pt x="4540419" y="3863335"/>
                </a:cubicBezTo>
                <a:cubicBezTo>
                  <a:pt x="4501402" y="3866433"/>
                  <a:pt x="4494306" y="3782801"/>
                  <a:pt x="4504949" y="3689877"/>
                </a:cubicBezTo>
                <a:cubicBezTo>
                  <a:pt x="4515589" y="3615539"/>
                  <a:pt x="4547513" y="3535006"/>
                  <a:pt x="4540419" y="3479252"/>
                </a:cubicBezTo>
                <a:cubicBezTo>
                  <a:pt x="4519135" y="3256236"/>
                  <a:pt x="4483666" y="3268625"/>
                  <a:pt x="4405628" y="3311990"/>
                </a:cubicBezTo>
                <a:cubicBezTo>
                  <a:pt x="4341777" y="3346061"/>
                  <a:pt x="4260191" y="3315087"/>
                  <a:pt x="4175060" y="3318185"/>
                </a:cubicBezTo>
                <a:cubicBezTo>
                  <a:pt x="4079284" y="3321282"/>
                  <a:pt x="4026076" y="3274820"/>
                  <a:pt x="4068642" y="3392523"/>
                </a:cubicBezTo>
                <a:cubicBezTo>
                  <a:pt x="4189247" y="3674390"/>
                  <a:pt x="3869999" y="3640319"/>
                  <a:pt x="3923207" y="3420401"/>
                </a:cubicBezTo>
                <a:cubicBezTo>
                  <a:pt x="3951585" y="3271723"/>
                  <a:pt x="4107664" y="3281016"/>
                  <a:pt x="3880642" y="3253138"/>
                </a:cubicBezTo>
                <a:cubicBezTo>
                  <a:pt x="3731660" y="3234554"/>
                  <a:pt x="3568487" y="3209774"/>
                  <a:pt x="3508185" y="3315087"/>
                </a:cubicBezTo>
                <a:cubicBezTo>
                  <a:pt x="3440789" y="3435888"/>
                  <a:pt x="3557845" y="3863335"/>
                  <a:pt x="3568487" y="4018207"/>
                </a:cubicBezTo>
                <a:cubicBezTo>
                  <a:pt x="3582675" y="4222638"/>
                  <a:pt x="3650072" y="4386803"/>
                  <a:pt x="3533016" y="4374414"/>
                </a:cubicBezTo>
                <a:cubicBezTo>
                  <a:pt x="3440789" y="4365121"/>
                  <a:pt x="3454977" y="4216443"/>
                  <a:pt x="3486901" y="4021304"/>
                </a:cubicBezTo>
                <a:cubicBezTo>
                  <a:pt x="3515280" y="3838555"/>
                  <a:pt x="3472713" y="3562883"/>
                  <a:pt x="3458525" y="3377036"/>
                </a:cubicBezTo>
                <a:cubicBezTo>
                  <a:pt x="3447883" y="3225261"/>
                  <a:pt x="3256333" y="3184994"/>
                  <a:pt x="3146370" y="3203579"/>
                </a:cubicBezTo>
                <a:cubicBezTo>
                  <a:pt x="3050596" y="3219067"/>
                  <a:pt x="3008029" y="2965076"/>
                  <a:pt x="2688781" y="3098266"/>
                </a:cubicBezTo>
                <a:cubicBezTo>
                  <a:pt x="2674593" y="3104461"/>
                  <a:pt x="2663952" y="3113753"/>
                  <a:pt x="2649762" y="3119949"/>
                </a:cubicBezTo>
                <a:cubicBezTo>
                  <a:pt x="2649762" y="3119949"/>
                  <a:pt x="2649762" y="3119949"/>
                  <a:pt x="2646214" y="3123045"/>
                </a:cubicBezTo>
                <a:cubicBezTo>
                  <a:pt x="2642668" y="3123045"/>
                  <a:pt x="2639120" y="3129240"/>
                  <a:pt x="2639120" y="3129240"/>
                </a:cubicBezTo>
                <a:cubicBezTo>
                  <a:pt x="2635573" y="3132338"/>
                  <a:pt x="2632026" y="3132338"/>
                  <a:pt x="2628478" y="3132338"/>
                </a:cubicBezTo>
                <a:cubicBezTo>
                  <a:pt x="2621383" y="3132338"/>
                  <a:pt x="2617837" y="3132338"/>
                  <a:pt x="2610741" y="3129240"/>
                </a:cubicBezTo>
                <a:cubicBezTo>
                  <a:pt x="2607196" y="3126143"/>
                  <a:pt x="2600101" y="3126143"/>
                  <a:pt x="2593008" y="3123045"/>
                </a:cubicBezTo>
                <a:cubicBezTo>
                  <a:pt x="2575270" y="3113753"/>
                  <a:pt x="2553989" y="3101363"/>
                  <a:pt x="2536251" y="3088974"/>
                </a:cubicBezTo>
                <a:cubicBezTo>
                  <a:pt x="2511421" y="3079682"/>
                  <a:pt x="2490137" y="3070389"/>
                  <a:pt x="2468854" y="3070389"/>
                </a:cubicBezTo>
                <a:cubicBezTo>
                  <a:pt x="2451119" y="3070389"/>
                  <a:pt x="2436929" y="3073487"/>
                  <a:pt x="2419195" y="3079682"/>
                </a:cubicBezTo>
                <a:cubicBezTo>
                  <a:pt x="2405005" y="3082778"/>
                  <a:pt x="2387269" y="3088974"/>
                  <a:pt x="2369533" y="3092071"/>
                </a:cubicBezTo>
                <a:cubicBezTo>
                  <a:pt x="2351797" y="3095169"/>
                  <a:pt x="2330514" y="3092071"/>
                  <a:pt x="2309230" y="3085876"/>
                </a:cubicBezTo>
                <a:cubicBezTo>
                  <a:pt x="2280853" y="3073487"/>
                  <a:pt x="2252475" y="3061096"/>
                  <a:pt x="2224098" y="3058000"/>
                </a:cubicBezTo>
                <a:cubicBezTo>
                  <a:pt x="2202815" y="3051804"/>
                  <a:pt x="2177984" y="3036318"/>
                  <a:pt x="2153153" y="3020829"/>
                </a:cubicBezTo>
                <a:cubicBezTo>
                  <a:pt x="2128323" y="3002245"/>
                  <a:pt x="2099945" y="2980563"/>
                  <a:pt x="2075114" y="2955784"/>
                </a:cubicBezTo>
                <a:cubicBezTo>
                  <a:pt x="2064473" y="2943393"/>
                  <a:pt x="2053832" y="2931004"/>
                  <a:pt x="2046737" y="2918615"/>
                </a:cubicBezTo>
                <a:cubicBezTo>
                  <a:pt x="2036095" y="2906224"/>
                  <a:pt x="2032549" y="2896933"/>
                  <a:pt x="2025454" y="2884542"/>
                </a:cubicBezTo>
                <a:cubicBezTo>
                  <a:pt x="2025454" y="2872153"/>
                  <a:pt x="2025454" y="2862860"/>
                  <a:pt x="2029001" y="2856666"/>
                </a:cubicBezTo>
                <a:cubicBezTo>
                  <a:pt x="2032549" y="2847373"/>
                  <a:pt x="2046737" y="2841178"/>
                  <a:pt x="2053832" y="2838080"/>
                </a:cubicBezTo>
                <a:cubicBezTo>
                  <a:pt x="2060926" y="2838080"/>
                  <a:pt x="2071568" y="2838080"/>
                  <a:pt x="2078662" y="2841178"/>
                </a:cubicBezTo>
                <a:cubicBezTo>
                  <a:pt x="2089304" y="2844275"/>
                  <a:pt x="2099945" y="2850471"/>
                  <a:pt x="2110587" y="2853568"/>
                </a:cubicBezTo>
                <a:cubicBezTo>
                  <a:pt x="2131871" y="2859762"/>
                  <a:pt x="2153153" y="2869055"/>
                  <a:pt x="2174436" y="2878347"/>
                </a:cubicBezTo>
                <a:cubicBezTo>
                  <a:pt x="2177984" y="2878347"/>
                  <a:pt x="2177984" y="2878347"/>
                  <a:pt x="2177984" y="2878347"/>
                </a:cubicBezTo>
                <a:cubicBezTo>
                  <a:pt x="2177984" y="2878347"/>
                  <a:pt x="2177984" y="2875250"/>
                  <a:pt x="2177984" y="2875250"/>
                </a:cubicBezTo>
                <a:cubicBezTo>
                  <a:pt x="2181531" y="2872153"/>
                  <a:pt x="2177984" y="2869055"/>
                  <a:pt x="2177984" y="2862860"/>
                </a:cubicBezTo>
                <a:cubicBezTo>
                  <a:pt x="2170890" y="2853568"/>
                  <a:pt x="2167343" y="2841178"/>
                  <a:pt x="2160248" y="2828788"/>
                </a:cubicBezTo>
                <a:cubicBezTo>
                  <a:pt x="2160248" y="2822593"/>
                  <a:pt x="2156700" y="2816399"/>
                  <a:pt x="2160248" y="2813302"/>
                </a:cubicBezTo>
                <a:cubicBezTo>
                  <a:pt x="2160248" y="2810204"/>
                  <a:pt x="2160248" y="2810204"/>
                  <a:pt x="2160248" y="2807106"/>
                </a:cubicBezTo>
                <a:cubicBezTo>
                  <a:pt x="2160248" y="2807106"/>
                  <a:pt x="2163795" y="2807106"/>
                  <a:pt x="2163795" y="2804009"/>
                </a:cubicBezTo>
                <a:cubicBezTo>
                  <a:pt x="2167343" y="2804009"/>
                  <a:pt x="2167343" y="2804009"/>
                  <a:pt x="2167343" y="2804009"/>
                </a:cubicBezTo>
                <a:cubicBezTo>
                  <a:pt x="2174436" y="2804009"/>
                  <a:pt x="2177984" y="2807106"/>
                  <a:pt x="2181531" y="2807106"/>
                </a:cubicBezTo>
                <a:cubicBezTo>
                  <a:pt x="2192174" y="2813302"/>
                  <a:pt x="2202815" y="2819496"/>
                  <a:pt x="2213456" y="2825691"/>
                </a:cubicBezTo>
                <a:cubicBezTo>
                  <a:pt x="2252475" y="2850471"/>
                  <a:pt x="2295042" y="2862860"/>
                  <a:pt x="2334061" y="2872153"/>
                </a:cubicBezTo>
                <a:cubicBezTo>
                  <a:pt x="2390816" y="2884542"/>
                  <a:pt x="2444024" y="2890737"/>
                  <a:pt x="2497231" y="2896933"/>
                </a:cubicBezTo>
                <a:cubicBezTo>
                  <a:pt x="2550439" y="2903127"/>
                  <a:pt x="2603649" y="2903127"/>
                  <a:pt x="2653309" y="2896933"/>
                </a:cubicBezTo>
                <a:cubicBezTo>
                  <a:pt x="2674593" y="2893835"/>
                  <a:pt x="2695875" y="2890737"/>
                  <a:pt x="2713612" y="2887640"/>
                </a:cubicBezTo>
                <a:cubicBezTo>
                  <a:pt x="2727800" y="2881445"/>
                  <a:pt x="2741990" y="2875250"/>
                  <a:pt x="2749083" y="2865958"/>
                </a:cubicBezTo>
                <a:cubicBezTo>
                  <a:pt x="2752631" y="2865958"/>
                  <a:pt x="2752631" y="2865958"/>
                  <a:pt x="2756178" y="2865958"/>
                </a:cubicBezTo>
                <a:cubicBezTo>
                  <a:pt x="2759725" y="2865958"/>
                  <a:pt x="2759725" y="2865958"/>
                  <a:pt x="2763272" y="2865958"/>
                </a:cubicBezTo>
                <a:cubicBezTo>
                  <a:pt x="2766819" y="2862860"/>
                  <a:pt x="2773914" y="2862860"/>
                  <a:pt x="2781010" y="2862860"/>
                </a:cubicBezTo>
                <a:cubicBezTo>
                  <a:pt x="2795196" y="2862860"/>
                  <a:pt x="2809387" y="2862860"/>
                  <a:pt x="2827123" y="2862860"/>
                </a:cubicBezTo>
                <a:cubicBezTo>
                  <a:pt x="2830670" y="2862860"/>
                  <a:pt x="2837765" y="2862860"/>
                  <a:pt x="2841310" y="2862860"/>
                </a:cubicBezTo>
                <a:cubicBezTo>
                  <a:pt x="2844858" y="2862860"/>
                  <a:pt x="2848406" y="2862860"/>
                  <a:pt x="2848406" y="2859762"/>
                </a:cubicBezTo>
                <a:cubicBezTo>
                  <a:pt x="2848406" y="2859762"/>
                  <a:pt x="2848406" y="2859762"/>
                  <a:pt x="2848406" y="2856666"/>
                </a:cubicBezTo>
                <a:cubicBezTo>
                  <a:pt x="2777460" y="2850471"/>
                  <a:pt x="2706517" y="2841178"/>
                  <a:pt x="2635573" y="2831886"/>
                </a:cubicBezTo>
                <a:cubicBezTo>
                  <a:pt x="2585913" y="2825691"/>
                  <a:pt x="2536251" y="2819496"/>
                  <a:pt x="2486591" y="2810204"/>
                </a:cubicBezTo>
                <a:cubicBezTo>
                  <a:pt x="2461760" y="2816399"/>
                  <a:pt x="2436929" y="2825691"/>
                  <a:pt x="2419195" y="2841178"/>
                </a:cubicBezTo>
                <a:cubicBezTo>
                  <a:pt x="2415647" y="2844275"/>
                  <a:pt x="2412100" y="2844275"/>
                  <a:pt x="2408552" y="2844275"/>
                </a:cubicBezTo>
                <a:cubicBezTo>
                  <a:pt x="2401459" y="2844275"/>
                  <a:pt x="2394364" y="2847373"/>
                  <a:pt x="2390816" y="2844275"/>
                </a:cubicBezTo>
                <a:cubicBezTo>
                  <a:pt x="2373080" y="2844275"/>
                  <a:pt x="2358892" y="2838080"/>
                  <a:pt x="2341156" y="2834984"/>
                </a:cubicBezTo>
                <a:cubicBezTo>
                  <a:pt x="2302137" y="2819496"/>
                  <a:pt x="2263117" y="2797813"/>
                  <a:pt x="2220550" y="2782326"/>
                </a:cubicBezTo>
                <a:cubicBezTo>
                  <a:pt x="2192174" y="2766839"/>
                  <a:pt x="2156700" y="2754450"/>
                  <a:pt x="2124776" y="2742060"/>
                </a:cubicBezTo>
                <a:cubicBezTo>
                  <a:pt x="2099945" y="2738962"/>
                  <a:pt x="2075114" y="2732768"/>
                  <a:pt x="2046737" y="2726573"/>
                </a:cubicBezTo>
                <a:cubicBezTo>
                  <a:pt x="2043190" y="2726573"/>
                  <a:pt x="2036095" y="2726573"/>
                  <a:pt x="2032549" y="2726573"/>
                </a:cubicBezTo>
                <a:cubicBezTo>
                  <a:pt x="2014813" y="2726573"/>
                  <a:pt x="2000623" y="2732768"/>
                  <a:pt x="1986435" y="2742060"/>
                </a:cubicBezTo>
                <a:cubicBezTo>
                  <a:pt x="1982889" y="2745157"/>
                  <a:pt x="1979341" y="2745157"/>
                  <a:pt x="1975793" y="2745157"/>
                </a:cubicBezTo>
                <a:cubicBezTo>
                  <a:pt x="1972246" y="2745157"/>
                  <a:pt x="1965151" y="2745157"/>
                  <a:pt x="1958056" y="2745157"/>
                </a:cubicBezTo>
                <a:cubicBezTo>
                  <a:pt x="1947416" y="2742060"/>
                  <a:pt x="1936774" y="2735866"/>
                  <a:pt x="1926132" y="2729670"/>
                </a:cubicBezTo>
                <a:cubicBezTo>
                  <a:pt x="1901301" y="2717280"/>
                  <a:pt x="1880019" y="2701793"/>
                  <a:pt x="1855188" y="2683208"/>
                </a:cubicBezTo>
                <a:cubicBezTo>
                  <a:pt x="1557222" y="2605772"/>
                  <a:pt x="1259258" y="2519044"/>
                  <a:pt x="961291" y="2419926"/>
                </a:cubicBezTo>
                <a:cubicBezTo>
                  <a:pt x="851328" y="2385854"/>
                  <a:pt x="744913" y="2357977"/>
                  <a:pt x="634950" y="2320807"/>
                </a:cubicBezTo>
                <a:cubicBezTo>
                  <a:pt x="606573" y="2311515"/>
                  <a:pt x="578194" y="2299125"/>
                  <a:pt x="546269" y="2283638"/>
                </a:cubicBezTo>
                <a:cubicBezTo>
                  <a:pt x="524987" y="2271248"/>
                  <a:pt x="503703" y="2261956"/>
                  <a:pt x="478873" y="2246469"/>
                </a:cubicBezTo>
                <a:cubicBezTo>
                  <a:pt x="464684" y="2237176"/>
                  <a:pt x="446948" y="2221689"/>
                  <a:pt x="432760" y="2206202"/>
                </a:cubicBezTo>
                <a:cubicBezTo>
                  <a:pt x="425665" y="2187618"/>
                  <a:pt x="425665" y="2178325"/>
                  <a:pt x="429212" y="2165936"/>
                </a:cubicBezTo>
                <a:cubicBezTo>
                  <a:pt x="429212" y="2165936"/>
                  <a:pt x="432760" y="2165936"/>
                  <a:pt x="432760" y="2165936"/>
                </a:cubicBezTo>
                <a:cubicBezTo>
                  <a:pt x="436306" y="2165936"/>
                  <a:pt x="439853" y="2165936"/>
                  <a:pt x="439853" y="2165936"/>
                </a:cubicBezTo>
                <a:cubicBezTo>
                  <a:pt x="450494" y="2165936"/>
                  <a:pt x="461137" y="2165936"/>
                  <a:pt x="468231" y="2169032"/>
                </a:cubicBezTo>
                <a:cubicBezTo>
                  <a:pt x="496608" y="2175227"/>
                  <a:pt x="528534" y="2181423"/>
                  <a:pt x="560458" y="2187618"/>
                </a:cubicBezTo>
                <a:cubicBezTo>
                  <a:pt x="649138" y="2209300"/>
                  <a:pt x="741365" y="2227885"/>
                  <a:pt x="833592" y="2252663"/>
                </a:cubicBezTo>
                <a:cubicBezTo>
                  <a:pt x="961291" y="2277443"/>
                  <a:pt x="1092540" y="2305321"/>
                  <a:pt x="1216692" y="2330100"/>
                </a:cubicBezTo>
                <a:cubicBezTo>
                  <a:pt x="996764" y="2265054"/>
                  <a:pt x="780385" y="2218592"/>
                  <a:pt x="553364" y="2125669"/>
                </a:cubicBezTo>
                <a:cubicBezTo>
                  <a:pt x="489515" y="2097791"/>
                  <a:pt x="432760" y="2085402"/>
                  <a:pt x="372457" y="2066818"/>
                </a:cubicBezTo>
                <a:cubicBezTo>
                  <a:pt x="361815" y="2063721"/>
                  <a:pt x="351174" y="2060624"/>
                  <a:pt x="340531" y="2054430"/>
                </a:cubicBezTo>
                <a:cubicBezTo>
                  <a:pt x="333438" y="2048235"/>
                  <a:pt x="322795" y="2042040"/>
                  <a:pt x="315702" y="2032747"/>
                </a:cubicBezTo>
                <a:cubicBezTo>
                  <a:pt x="305060" y="2026553"/>
                  <a:pt x="301512" y="2017260"/>
                  <a:pt x="297966" y="2004870"/>
                </a:cubicBezTo>
                <a:cubicBezTo>
                  <a:pt x="287324" y="1992481"/>
                  <a:pt x="283776" y="1976994"/>
                  <a:pt x="276681" y="1964603"/>
                </a:cubicBezTo>
                <a:cubicBezTo>
                  <a:pt x="276681" y="1958409"/>
                  <a:pt x="280230" y="1955311"/>
                  <a:pt x="280230" y="1952214"/>
                </a:cubicBezTo>
                <a:cubicBezTo>
                  <a:pt x="283776" y="1949116"/>
                  <a:pt x="287324" y="1949116"/>
                  <a:pt x="287324" y="1949116"/>
                </a:cubicBezTo>
                <a:cubicBezTo>
                  <a:pt x="301512" y="1942922"/>
                  <a:pt x="315702" y="1946019"/>
                  <a:pt x="329890" y="1949116"/>
                </a:cubicBezTo>
                <a:cubicBezTo>
                  <a:pt x="368909" y="1958409"/>
                  <a:pt x="407929" y="1970798"/>
                  <a:pt x="450494" y="1986285"/>
                </a:cubicBezTo>
                <a:cubicBezTo>
                  <a:pt x="478873" y="1995578"/>
                  <a:pt x="507251" y="2007968"/>
                  <a:pt x="539175" y="2014163"/>
                </a:cubicBezTo>
                <a:cubicBezTo>
                  <a:pt x="542722" y="2014163"/>
                  <a:pt x="542722" y="2014163"/>
                  <a:pt x="542722" y="2014163"/>
                </a:cubicBezTo>
                <a:cubicBezTo>
                  <a:pt x="542722" y="2014163"/>
                  <a:pt x="542722" y="2014163"/>
                  <a:pt x="542722" y="2011065"/>
                </a:cubicBezTo>
                <a:cubicBezTo>
                  <a:pt x="539175" y="2011065"/>
                  <a:pt x="539175" y="2011065"/>
                  <a:pt x="539175" y="2011065"/>
                </a:cubicBezTo>
                <a:cubicBezTo>
                  <a:pt x="539175" y="2011065"/>
                  <a:pt x="535628" y="2007968"/>
                  <a:pt x="535628" y="2007968"/>
                </a:cubicBezTo>
                <a:cubicBezTo>
                  <a:pt x="517892" y="1998676"/>
                  <a:pt x="503703" y="1989383"/>
                  <a:pt x="485967" y="1980091"/>
                </a:cubicBezTo>
                <a:cubicBezTo>
                  <a:pt x="475325" y="1973896"/>
                  <a:pt x="464684" y="1967701"/>
                  <a:pt x="454043" y="1961507"/>
                </a:cubicBezTo>
                <a:cubicBezTo>
                  <a:pt x="450494" y="1958409"/>
                  <a:pt x="446948" y="1955311"/>
                  <a:pt x="443401" y="1952214"/>
                </a:cubicBezTo>
                <a:cubicBezTo>
                  <a:pt x="443401" y="1952214"/>
                  <a:pt x="439853" y="1949116"/>
                  <a:pt x="439853" y="1946019"/>
                </a:cubicBezTo>
                <a:cubicBezTo>
                  <a:pt x="436306" y="1942922"/>
                  <a:pt x="439853" y="1939823"/>
                  <a:pt x="439853" y="1936727"/>
                </a:cubicBezTo>
                <a:cubicBezTo>
                  <a:pt x="446948" y="1936727"/>
                  <a:pt x="450494" y="1933629"/>
                  <a:pt x="454043" y="1933629"/>
                </a:cubicBezTo>
                <a:cubicBezTo>
                  <a:pt x="482420" y="1930532"/>
                  <a:pt x="514344" y="1930532"/>
                  <a:pt x="546269" y="1936727"/>
                </a:cubicBezTo>
                <a:cubicBezTo>
                  <a:pt x="634950" y="1949116"/>
                  <a:pt x="723629" y="1964603"/>
                  <a:pt x="815856" y="1983189"/>
                </a:cubicBezTo>
                <a:cubicBezTo>
                  <a:pt x="812310" y="1980091"/>
                  <a:pt x="808763" y="1980091"/>
                  <a:pt x="808763" y="1976994"/>
                </a:cubicBezTo>
                <a:cubicBezTo>
                  <a:pt x="791027" y="1961507"/>
                  <a:pt x="776837" y="1952214"/>
                  <a:pt x="762649" y="1949116"/>
                </a:cubicBezTo>
                <a:cubicBezTo>
                  <a:pt x="752007" y="1946019"/>
                  <a:pt x="741365" y="1946019"/>
                  <a:pt x="730724" y="1952214"/>
                </a:cubicBezTo>
                <a:cubicBezTo>
                  <a:pt x="720082" y="1952214"/>
                  <a:pt x="709441" y="1958409"/>
                  <a:pt x="698800" y="1958409"/>
                </a:cubicBezTo>
                <a:cubicBezTo>
                  <a:pt x="684610" y="1958409"/>
                  <a:pt x="670422" y="1955311"/>
                  <a:pt x="656233" y="1942922"/>
                </a:cubicBezTo>
                <a:cubicBezTo>
                  <a:pt x="634950" y="1930532"/>
                  <a:pt x="617214" y="1915045"/>
                  <a:pt x="595930" y="1902655"/>
                </a:cubicBezTo>
                <a:cubicBezTo>
                  <a:pt x="581742" y="1896460"/>
                  <a:pt x="560458" y="1874778"/>
                  <a:pt x="546269" y="1856193"/>
                </a:cubicBezTo>
                <a:cubicBezTo>
                  <a:pt x="524987" y="1831414"/>
                  <a:pt x="503703" y="1800440"/>
                  <a:pt x="485967" y="1772562"/>
                </a:cubicBezTo>
                <a:cubicBezTo>
                  <a:pt x="478873" y="1757074"/>
                  <a:pt x="468231" y="1741588"/>
                  <a:pt x="464684" y="1723003"/>
                </a:cubicBezTo>
                <a:cubicBezTo>
                  <a:pt x="457589" y="1710613"/>
                  <a:pt x="450494" y="1698224"/>
                  <a:pt x="446948" y="1682736"/>
                </a:cubicBezTo>
                <a:cubicBezTo>
                  <a:pt x="446948" y="1673444"/>
                  <a:pt x="443401" y="1661054"/>
                  <a:pt x="446948" y="1651762"/>
                </a:cubicBezTo>
                <a:cubicBezTo>
                  <a:pt x="450494" y="1642469"/>
                  <a:pt x="457589" y="1639371"/>
                  <a:pt x="464684" y="1636275"/>
                </a:cubicBezTo>
                <a:cubicBezTo>
                  <a:pt x="468231" y="1636275"/>
                  <a:pt x="471778" y="1639371"/>
                  <a:pt x="478873" y="1642469"/>
                </a:cubicBezTo>
                <a:cubicBezTo>
                  <a:pt x="485967" y="1648664"/>
                  <a:pt x="496608" y="1654860"/>
                  <a:pt x="503703" y="1657957"/>
                </a:cubicBezTo>
                <a:cubicBezTo>
                  <a:pt x="517892" y="1670347"/>
                  <a:pt x="532080" y="1685833"/>
                  <a:pt x="546269" y="1695126"/>
                </a:cubicBezTo>
                <a:cubicBezTo>
                  <a:pt x="549816" y="1698224"/>
                  <a:pt x="549816" y="1698224"/>
                  <a:pt x="549816" y="1695126"/>
                </a:cubicBezTo>
                <a:cubicBezTo>
                  <a:pt x="549816" y="1688931"/>
                  <a:pt x="549816" y="1682736"/>
                  <a:pt x="549816" y="1679639"/>
                </a:cubicBezTo>
                <a:cubicBezTo>
                  <a:pt x="542722" y="1667249"/>
                  <a:pt x="539175" y="1651762"/>
                  <a:pt x="535628" y="1636275"/>
                </a:cubicBezTo>
                <a:cubicBezTo>
                  <a:pt x="535628" y="1633177"/>
                  <a:pt x="532080" y="1623884"/>
                  <a:pt x="532080" y="1620787"/>
                </a:cubicBezTo>
                <a:cubicBezTo>
                  <a:pt x="532080" y="1617690"/>
                  <a:pt x="532080" y="1614593"/>
                  <a:pt x="532080" y="1614593"/>
                </a:cubicBezTo>
                <a:cubicBezTo>
                  <a:pt x="532080" y="1611495"/>
                  <a:pt x="532080" y="1611495"/>
                  <a:pt x="535628" y="1611495"/>
                </a:cubicBezTo>
                <a:cubicBezTo>
                  <a:pt x="535628" y="1611495"/>
                  <a:pt x="539175" y="1611495"/>
                  <a:pt x="539175" y="1611495"/>
                </a:cubicBezTo>
                <a:cubicBezTo>
                  <a:pt x="542722" y="1614593"/>
                  <a:pt x="546269" y="1614593"/>
                  <a:pt x="546269" y="1614593"/>
                </a:cubicBezTo>
                <a:cubicBezTo>
                  <a:pt x="556911" y="1623884"/>
                  <a:pt x="564006" y="1633177"/>
                  <a:pt x="571100" y="1642469"/>
                </a:cubicBezTo>
                <a:cubicBezTo>
                  <a:pt x="595930" y="1673444"/>
                  <a:pt x="627855" y="1688931"/>
                  <a:pt x="656233" y="1704418"/>
                </a:cubicBezTo>
                <a:cubicBezTo>
                  <a:pt x="691705" y="1726100"/>
                  <a:pt x="730724" y="1741588"/>
                  <a:pt x="766196" y="1750880"/>
                </a:cubicBezTo>
                <a:cubicBezTo>
                  <a:pt x="801668" y="1760173"/>
                  <a:pt x="840687" y="1766367"/>
                  <a:pt x="872613" y="1766367"/>
                </a:cubicBezTo>
                <a:cubicBezTo>
                  <a:pt x="886801" y="1766367"/>
                  <a:pt x="897442" y="1766367"/>
                  <a:pt x="911631" y="1760173"/>
                </a:cubicBezTo>
                <a:cubicBezTo>
                  <a:pt x="918726" y="1757074"/>
                  <a:pt x="925819" y="1750880"/>
                  <a:pt x="932914" y="1741588"/>
                </a:cubicBezTo>
                <a:cubicBezTo>
                  <a:pt x="932914" y="1741588"/>
                  <a:pt x="936462" y="1741588"/>
                  <a:pt x="936462" y="1738491"/>
                </a:cubicBezTo>
                <a:cubicBezTo>
                  <a:pt x="936462" y="1738491"/>
                  <a:pt x="936462" y="1738491"/>
                  <a:pt x="940009" y="1738491"/>
                </a:cubicBezTo>
                <a:cubicBezTo>
                  <a:pt x="943556" y="1738491"/>
                  <a:pt x="947104" y="1738491"/>
                  <a:pt x="954198" y="1738491"/>
                </a:cubicBezTo>
                <a:cubicBezTo>
                  <a:pt x="964840" y="1741588"/>
                  <a:pt x="971934" y="1741588"/>
                  <a:pt x="982576" y="1744685"/>
                </a:cubicBezTo>
                <a:cubicBezTo>
                  <a:pt x="986122" y="1744685"/>
                  <a:pt x="989670" y="1744685"/>
                  <a:pt x="996764" y="1744685"/>
                </a:cubicBezTo>
                <a:cubicBezTo>
                  <a:pt x="996764" y="1741588"/>
                  <a:pt x="996764" y="1744685"/>
                  <a:pt x="996764" y="1741588"/>
                </a:cubicBezTo>
                <a:cubicBezTo>
                  <a:pt x="996764" y="1738491"/>
                  <a:pt x="996764" y="1738491"/>
                  <a:pt x="996764" y="1738491"/>
                </a:cubicBezTo>
                <a:cubicBezTo>
                  <a:pt x="996764" y="1738491"/>
                  <a:pt x="996764" y="1735393"/>
                  <a:pt x="996764" y="1735393"/>
                </a:cubicBezTo>
                <a:cubicBezTo>
                  <a:pt x="993217" y="1735393"/>
                  <a:pt x="993217" y="1732295"/>
                  <a:pt x="989670" y="1729198"/>
                </a:cubicBezTo>
                <a:cubicBezTo>
                  <a:pt x="986122" y="1723003"/>
                  <a:pt x="975481" y="1716809"/>
                  <a:pt x="968386" y="1710613"/>
                </a:cubicBezTo>
                <a:cubicBezTo>
                  <a:pt x="922273" y="1670347"/>
                  <a:pt x="872613" y="1657957"/>
                  <a:pt x="826499" y="1648664"/>
                </a:cubicBezTo>
                <a:cubicBezTo>
                  <a:pt x="801668" y="1645567"/>
                  <a:pt x="780385" y="1645567"/>
                  <a:pt x="755554" y="1648664"/>
                </a:cubicBezTo>
                <a:cubicBezTo>
                  <a:pt x="737819" y="1654860"/>
                  <a:pt x="723629" y="1661054"/>
                  <a:pt x="709441" y="1676542"/>
                </a:cubicBezTo>
                <a:cubicBezTo>
                  <a:pt x="705893" y="1679639"/>
                  <a:pt x="705893" y="1682736"/>
                  <a:pt x="702346" y="1682736"/>
                </a:cubicBezTo>
                <a:cubicBezTo>
                  <a:pt x="698800" y="1682736"/>
                  <a:pt x="691705" y="1682736"/>
                  <a:pt x="688158" y="1682736"/>
                </a:cubicBezTo>
                <a:cubicBezTo>
                  <a:pt x="677516" y="1676542"/>
                  <a:pt x="670422" y="1670347"/>
                  <a:pt x="659779" y="1664151"/>
                </a:cubicBezTo>
                <a:cubicBezTo>
                  <a:pt x="627855" y="1639371"/>
                  <a:pt x="603024" y="1614593"/>
                  <a:pt x="574647" y="1589813"/>
                </a:cubicBezTo>
                <a:cubicBezTo>
                  <a:pt x="542722" y="1565033"/>
                  <a:pt x="510797" y="1540253"/>
                  <a:pt x="482420" y="1521669"/>
                </a:cubicBezTo>
                <a:cubicBezTo>
                  <a:pt x="468231" y="1515475"/>
                  <a:pt x="454043" y="1509279"/>
                  <a:pt x="439853" y="1509279"/>
                </a:cubicBezTo>
                <a:cubicBezTo>
                  <a:pt x="429212" y="1506182"/>
                  <a:pt x="418570" y="1512377"/>
                  <a:pt x="411476" y="1518571"/>
                </a:cubicBezTo>
                <a:cubicBezTo>
                  <a:pt x="407929" y="1521669"/>
                  <a:pt x="404381" y="1521669"/>
                  <a:pt x="404381" y="1521669"/>
                </a:cubicBezTo>
                <a:cubicBezTo>
                  <a:pt x="400834" y="1521669"/>
                  <a:pt x="397288" y="1521669"/>
                  <a:pt x="393740" y="1518571"/>
                </a:cubicBezTo>
                <a:cubicBezTo>
                  <a:pt x="383098" y="1512377"/>
                  <a:pt x="376003" y="1506182"/>
                  <a:pt x="368909" y="1496889"/>
                </a:cubicBezTo>
                <a:cubicBezTo>
                  <a:pt x="347626" y="1478306"/>
                  <a:pt x="329890" y="1450428"/>
                  <a:pt x="308607" y="1422551"/>
                </a:cubicBezTo>
                <a:cubicBezTo>
                  <a:pt x="301512" y="1410161"/>
                  <a:pt x="294418" y="1397771"/>
                  <a:pt x="290871" y="1385382"/>
                </a:cubicBezTo>
                <a:cubicBezTo>
                  <a:pt x="287324" y="1379186"/>
                  <a:pt x="283776" y="1372991"/>
                  <a:pt x="283776" y="1369895"/>
                </a:cubicBezTo>
                <a:cubicBezTo>
                  <a:pt x="280230" y="1366797"/>
                  <a:pt x="280230" y="1363699"/>
                  <a:pt x="276681" y="1357504"/>
                </a:cubicBezTo>
                <a:cubicBezTo>
                  <a:pt x="276681" y="1357504"/>
                  <a:pt x="276681" y="1354408"/>
                  <a:pt x="276681" y="1354408"/>
                </a:cubicBezTo>
                <a:cubicBezTo>
                  <a:pt x="276681" y="1351310"/>
                  <a:pt x="276681" y="1351310"/>
                  <a:pt x="280230" y="1351310"/>
                </a:cubicBezTo>
                <a:cubicBezTo>
                  <a:pt x="280230" y="1351310"/>
                  <a:pt x="280230" y="1348212"/>
                  <a:pt x="280230" y="1348212"/>
                </a:cubicBezTo>
                <a:cubicBezTo>
                  <a:pt x="280230" y="1348212"/>
                  <a:pt x="283776" y="1348212"/>
                  <a:pt x="283776" y="1348212"/>
                </a:cubicBezTo>
                <a:cubicBezTo>
                  <a:pt x="290871" y="1351310"/>
                  <a:pt x="301512" y="1360602"/>
                  <a:pt x="308607" y="1366797"/>
                </a:cubicBezTo>
                <a:cubicBezTo>
                  <a:pt x="326343" y="1382284"/>
                  <a:pt x="344079" y="1394673"/>
                  <a:pt x="358267" y="1400869"/>
                </a:cubicBezTo>
                <a:cubicBezTo>
                  <a:pt x="358267" y="1400869"/>
                  <a:pt x="361815" y="1400869"/>
                  <a:pt x="361815" y="1400869"/>
                </a:cubicBezTo>
                <a:cubicBezTo>
                  <a:pt x="361815" y="1400869"/>
                  <a:pt x="365362" y="1400869"/>
                  <a:pt x="365362" y="1397771"/>
                </a:cubicBezTo>
                <a:cubicBezTo>
                  <a:pt x="365362" y="1394673"/>
                  <a:pt x="368909" y="1391577"/>
                  <a:pt x="368909" y="1385382"/>
                </a:cubicBezTo>
                <a:cubicBezTo>
                  <a:pt x="361815" y="1351310"/>
                  <a:pt x="351174" y="1317237"/>
                  <a:pt x="351174" y="1283166"/>
                </a:cubicBezTo>
                <a:cubicBezTo>
                  <a:pt x="351174" y="1273873"/>
                  <a:pt x="351174" y="1264581"/>
                  <a:pt x="351174" y="1258386"/>
                </a:cubicBezTo>
                <a:cubicBezTo>
                  <a:pt x="351174" y="1258386"/>
                  <a:pt x="347626" y="1255288"/>
                  <a:pt x="347626" y="1252191"/>
                </a:cubicBezTo>
                <a:cubicBezTo>
                  <a:pt x="347626" y="1249093"/>
                  <a:pt x="347626" y="1249093"/>
                  <a:pt x="347626" y="1249093"/>
                </a:cubicBezTo>
                <a:cubicBezTo>
                  <a:pt x="347626" y="1249093"/>
                  <a:pt x="347626" y="1249093"/>
                  <a:pt x="344079" y="1249093"/>
                </a:cubicBezTo>
                <a:cubicBezTo>
                  <a:pt x="344079" y="1249093"/>
                  <a:pt x="344079" y="1249093"/>
                  <a:pt x="340531" y="1249093"/>
                </a:cubicBezTo>
                <a:cubicBezTo>
                  <a:pt x="340531" y="1249093"/>
                  <a:pt x="336985" y="1252191"/>
                  <a:pt x="336985" y="1255288"/>
                </a:cubicBezTo>
                <a:cubicBezTo>
                  <a:pt x="329890" y="1261484"/>
                  <a:pt x="319248" y="1264581"/>
                  <a:pt x="312154" y="1264581"/>
                </a:cubicBezTo>
                <a:cubicBezTo>
                  <a:pt x="297966" y="1267679"/>
                  <a:pt x="287324" y="1264581"/>
                  <a:pt x="269588" y="1249093"/>
                </a:cubicBezTo>
                <a:cubicBezTo>
                  <a:pt x="248304" y="1233606"/>
                  <a:pt x="227021" y="1205730"/>
                  <a:pt x="209285" y="1174755"/>
                </a:cubicBezTo>
                <a:cubicBezTo>
                  <a:pt x="191549" y="1146877"/>
                  <a:pt x="177361" y="1115904"/>
                  <a:pt x="163172" y="1084930"/>
                </a:cubicBezTo>
                <a:cubicBezTo>
                  <a:pt x="148982" y="1060150"/>
                  <a:pt x="134794" y="1032272"/>
                  <a:pt x="117058" y="1007493"/>
                </a:cubicBezTo>
                <a:cubicBezTo>
                  <a:pt x="109964" y="998201"/>
                  <a:pt x="99322" y="992006"/>
                  <a:pt x="92227" y="982713"/>
                </a:cubicBezTo>
                <a:cubicBezTo>
                  <a:pt x="78039" y="976519"/>
                  <a:pt x="70945" y="973421"/>
                  <a:pt x="60303" y="973421"/>
                </a:cubicBezTo>
                <a:cubicBezTo>
                  <a:pt x="56755" y="970323"/>
                  <a:pt x="56755" y="970323"/>
                  <a:pt x="56755" y="970323"/>
                </a:cubicBezTo>
                <a:cubicBezTo>
                  <a:pt x="53209" y="970323"/>
                  <a:pt x="53209" y="970323"/>
                  <a:pt x="53209" y="967226"/>
                </a:cubicBezTo>
                <a:cubicBezTo>
                  <a:pt x="49660" y="964128"/>
                  <a:pt x="46114" y="957934"/>
                  <a:pt x="39019" y="954836"/>
                </a:cubicBezTo>
                <a:cubicBezTo>
                  <a:pt x="35472" y="942447"/>
                  <a:pt x="28378" y="926960"/>
                  <a:pt x="21283" y="914570"/>
                </a:cubicBezTo>
                <a:cubicBezTo>
                  <a:pt x="14190" y="902180"/>
                  <a:pt x="7095" y="886692"/>
                  <a:pt x="3547" y="874304"/>
                </a:cubicBezTo>
                <a:cubicBezTo>
                  <a:pt x="3547" y="871205"/>
                  <a:pt x="0" y="865011"/>
                  <a:pt x="0" y="861914"/>
                </a:cubicBezTo>
                <a:cubicBezTo>
                  <a:pt x="0" y="858816"/>
                  <a:pt x="0" y="858816"/>
                  <a:pt x="3547" y="855718"/>
                </a:cubicBezTo>
                <a:cubicBezTo>
                  <a:pt x="7095" y="855718"/>
                  <a:pt x="10642" y="855718"/>
                  <a:pt x="10642" y="858816"/>
                </a:cubicBezTo>
                <a:cubicBezTo>
                  <a:pt x="14190" y="858816"/>
                  <a:pt x="21283" y="861914"/>
                  <a:pt x="24831" y="865011"/>
                </a:cubicBezTo>
                <a:cubicBezTo>
                  <a:pt x="39019" y="874304"/>
                  <a:pt x="49660" y="883596"/>
                  <a:pt x="63850" y="892887"/>
                </a:cubicBezTo>
                <a:cubicBezTo>
                  <a:pt x="95775" y="917667"/>
                  <a:pt x="131246" y="945544"/>
                  <a:pt x="166718" y="973421"/>
                </a:cubicBezTo>
                <a:cubicBezTo>
                  <a:pt x="202190" y="995103"/>
                  <a:pt x="234116" y="1019883"/>
                  <a:pt x="266040" y="1044662"/>
                </a:cubicBezTo>
                <a:cubicBezTo>
                  <a:pt x="276681" y="1053955"/>
                  <a:pt x="287324" y="1060150"/>
                  <a:pt x="297966" y="1066344"/>
                </a:cubicBezTo>
                <a:cubicBezTo>
                  <a:pt x="301512" y="1066344"/>
                  <a:pt x="305060" y="1069442"/>
                  <a:pt x="305060" y="1069442"/>
                </a:cubicBezTo>
                <a:cubicBezTo>
                  <a:pt x="308607" y="1069442"/>
                  <a:pt x="308607" y="1069442"/>
                  <a:pt x="308607" y="1069442"/>
                </a:cubicBezTo>
                <a:cubicBezTo>
                  <a:pt x="308607" y="1066344"/>
                  <a:pt x="308607" y="1066344"/>
                  <a:pt x="308607" y="1066344"/>
                </a:cubicBezTo>
                <a:cubicBezTo>
                  <a:pt x="308607" y="1047761"/>
                  <a:pt x="308607" y="1035370"/>
                  <a:pt x="305060" y="1016785"/>
                </a:cubicBezTo>
                <a:cubicBezTo>
                  <a:pt x="305060" y="1013688"/>
                  <a:pt x="301512" y="1016785"/>
                  <a:pt x="301512" y="1013688"/>
                </a:cubicBezTo>
                <a:cubicBezTo>
                  <a:pt x="294418" y="1013688"/>
                  <a:pt x="287324" y="1010590"/>
                  <a:pt x="280230" y="1007493"/>
                </a:cubicBezTo>
                <a:cubicBezTo>
                  <a:pt x="234116" y="982713"/>
                  <a:pt x="184455" y="930058"/>
                  <a:pt x="145436" y="880498"/>
                </a:cubicBezTo>
                <a:cubicBezTo>
                  <a:pt x="120605" y="849523"/>
                  <a:pt x="99322" y="815452"/>
                  <a:pt x="81586" y="781380"/>
                </a:cubicBezTo>
                <a:cubicBezTo>
                  <a:pt x="70945" y="765893"/>
                  <a:pt x="63850" y="747309"/>
                  <a:pt x="60303" y="731822"/>
                </a:cubicBezTo>
                <a:cubicBezTo>
                  <a:pt x="53209" y="713236"/>
                  <a:pt x="49660" y="700847"/>
                  <a:pt x="49660" y="685360"/>
                </a:cubicBezTo>
                <a:cubicBezTo>
                  <a:pt x="46114" y="679164"/>
                  <a:pt x="49660" y="672969"/>
                  <a:pt x="53209" y="669873"/>
                </a:cubicBezTo>
                <a:cubicBezTo>
                  <a:pt x="53209" y="666775"/>
                  <a:pt x="56755" y="663677"/>
                  <a:pt x="60303" y="660580"/>
                </a:cubicBezTo>
                <a:cubicBezTo>
                  <a:pt x="67397" y="657482"/>
                  <a:pt x="78039" y="663677"/>
                  <a:pt x="92227" y="666775"/>
                </a:cubicBezTo>
                <a:cubicBezTo>
                  <a:pt x="124153" y="679164"/>
                  <a:pt x="156077" y="707042"/>
                  <a:pt x="191549" y="731822"/>
                </a:cubicBezTo>
                <a:cubicBezTo>
                  <a:pt x="230568" y="756600"/>
                  <a:pt x="269588" y="784478"/>
                  <a:pt x="305060" y="812355"/>
                </a:cubicBezTo>
                <a:cubicBezTo>
                  <a:pt x="329890" y="827841"/>
                  <a:pt x="358267" y="849523"/>
                  <a:pt x="379552" y="852621"/>
                </a:cubicBezTo>
                <a:cubicBezTo>
                  <a:pt x="475325" y="865011"/>
                  <a:pt x="578194" y="964128"/>
                  <a:pt x="670422" y="967226"/>
                </a:cubicBezTo>
                <a:cubicBezTo>
                  <a:pt x="705893" y="967226"/>
                  <a:pt x="730724" y="979616"/>
                  <a:pt x="766196" y="1001298"/>
                </a:cubicBezTo>
                <a:cubicBezTo>
                  <a:pt x="798122" y="1022981"/>
                  <a:pt x="833592" y="1044662"/>
                  <a:pt x="865518" y="1060150"/>
                </a:cubicBezTo>
                <a:cubicBezTo>
                  <a:pt x="893895" y="1072539"/>
                  <a:pt x="925819" y="1078734"/>
                  <a:pt x="954198" y="1088026"/>
                </a:cubicBezTo>
                <a:cubicBezTo>
                  <a:pt x="971934" y="1094221"/>
                  <a:pt x="989670" y="1097319"/>
                  <a:pt x="1007407" y="1106612"/>
                </a:cubicBezTo>
                <a:cubicBezTo>
                  <a:pt x="1014501" y="1109708"/>
                  <a:pt x="1018049" y="1109708"/>
                  <a:pt x="1025143" y="1115904"/>
                </a:cubicBezTo>
                <a:cubicBezTo>
                  <a:pt x="1025143" y="1115904"/>
                  <a:pt x="1028691" y="1119001"/>
                  <a:pt x="1032237" y="1119001"/>
                </a:cubicBezTo>
                <a:cubicBezTo>
                  <a:pt x="1032237" y="1119001"/>
                  <a:pt x="1032237" y="1119001"/>
                  <a:pt x="1032237" y="1122099"/>
                </a:cubicBezTo>
                <a:cubicBezTo>
                  <a:pt x="1032237" y="1125195"/>
                  <a:pt x="1035785" y="1128293"/>
                  <a:pt x="1032237" y="1131392"/>
                </a:cubicBezTo>
                <a:cubicBezTo>
                  <a:pt x="1032237" y="1131392"/>
                  <a:pt x="1032237" y="1134488"/>
                  <a:pt x="1032237" y="1134488"/>
                </a:cubicBezTo>
                <a:cubicBezTo>
                  <a:pt x="1028691" y="1137586"/>
                  <a:pt x="1025143" y="1140683"/>
                  <a:pt x="1021596" y="1140683"/>
                </a:cubicBezTo>
                <a:cubicBezTo>
                  <a:pt x="1010955" y="1140683"/>
                  <a:pt x="996764" y="1137586"/>
                  <a:pt x="982576" y="1134488"/>
                </a:cubicBezTo>
                <a:cubicBezTo>
                  <a:pt x="943556" y="1119001"/>
                  <a:pt x="900990" y="1100417"/>
                  <a:pt x="858423" y="1081832"/>
                </a:cubicBezTo>
                <a:cubicBezTo>
                  <a:pt x="812310" y="1063246"/>
                  <a:pt x="766196" y="1044662"/>
                  <a:pt x="720082" y="1032272"/>
                </a:cubicBezTo>
                <a:cubicBezTo>
                  <a:pt x="705893" y="1026078"/>
                  <a:pt x="691705" y="1022981"/>
                  <a:pt x="673969" y="1022981"/>
                </a:cubicBezTo>
                <a:cubicBezTo>
                  <a:pt x="670422" y="1022981"/>
                  <a:pt x="663328" y="1022981"/>
                  <a:pt x="659779" y="1026078"/>
                </a:cubicBezTo>
                <a:cubicBezTo>
                  <a:pt x="656233" y="1029175"/>
                  <a:pt x="652686" y="1032272"/>
                  <a:pt x="649138" y="1035370"/>
                </a:cubicBezTo>
                <a:cubicBezTo>
                  <a:pt x="652686" y="1038468"/>
                  <a:pt x="652686" y="1038468"/>
                  <a:pt x="652686" y="1038468"/>
                </a:cubicBezTo>
                <a:cubicBezTo>
                  <a:pt x="652686" y="1038468"/>
                  <a:pt x="649138" y="1038468"/>
                  <a:pt x="649138" y="1038468"/>
                </a:cubicBezTo>
                <a:cubicBezTo>
                  <a:pt x="649138" y="1038468"/>
                  <a:pt x="652686" y="1038468"/>
                  <a:pt x="652686" y="1041565"/>
                </a:cubicBezTo>
                <a:cubicBezTo>
                  <a:pt x="656233" y="1047761"/>
                  <a:pt x="659779" y="1050857"/>
                  <a:pt x="663328" y="1050857"/>
                </a:cubicBezTo>
                <a:cubicBezTo>
                  <a:pt x="681064" y="1063246"/>
                  <a:pt x="695252" y="1072539"/>
                  <a:pt x="709441" y="1078734"/>
                </a:cubicBezTo>
                <a:cubicBezTo>
                  <a:pt x="755554" y="1103514"/>
                  <a:pt x="801668" y="1125195"/>
                  <a:pt x="847782" y="1146877"/>
                </a:cubicBezTo>
                <a:cubicBezTo>
                  <a:pt x="897442" y="1168561"/>
                  <a:pt x="943556" y="1190242"/>
                  <a:pt x="996764" y="1215022"/>
                </a:cubicBezTo>
                <a:cubicBezTo>
                  <a:pt x="1010955" y="1224315"/>
                  <a:pt x="1028691" y="1230510"/>
                  <a:pt x="1046427" y="1239801"/>
                </a:cubicBezTo>
                <a:cubicBezTo>
                  <a:pt x="1053520" y="1242899"/>
                  <a:pt x="1064161" y="1249093"/>
                  <a:pt x="1074804" y="1255288"/>
                </a:cubicBezTo>
                <a:cubicBezTo>
                  <a:pt x="1074804" y="1261484"/>
                  <a:pt x="1078351" y="1261484"/>
                  <a:pt x="1081899" y="1264581"/>
                </a:cubicBezTo>
                <a:cubicBezTo>
                  <a:pt x="1088992" y="1264581"/>
                  <a:pt x="1088992" y="1264581"/>
                  <a:pt x="1088992" y="1264581"/>
                </a:cubicBezTo>
                <a:cubicBezTo>
                  <a:pt x="1096087" y="1261484"/>
                  <a:pt x="1099635" y="1255288"/>
                  <a:pt x="1103182" y="1249093"/>
                </a:cubicBezTo>
                <a:cubicBezTo>
                  <a:pt x="1103182" y="1249093"/>
                  <a:pt x="1103182" y="1245997"/>
                  <a:pt x="1103182" y="1245997"/>
                </a:cubicBezTo>
                <a:cubicBezTo>
                  <a:pt x="1106728" y="1242899"/>
                  <a:pt x="1110276" y="1242899"/>
                  <a:pt x="1113823" y="1242899"/>
                </a:cubicBezTo>
                <a:cubicBezTo>
                  <a:pt x="1117370" y="1242899"/>
                  <a:pt x="1128012" y="1242899"/>
                  <a:pt x="1135106" y="1242899"/>
                </a:cubicBezTo>
                <a:cubicBezTo>
                  <a:pt x="1159937" y="1245997"/>
                  <a:pt x="1184767" y="1252191"/>
                  <a:pt x="1209597" y="1258386"/>
                </a:cubicBezTo>
                <a:cubicBezTo>
                  <a:pt x="1252164" y="1273873"/>
                  <a:pt x="1301825" y="1286263"/>
                  <a:pt x="1344391" y="1301751"/>
                </a:cubicBezTo>
                <a:cubicBezTo>
                  <a:pt x="1294731" y="1276971"/>
                  <a:pt x="1248617" y="1245997"/>
                  <a:pt x="1202503" y="1215022"/>
                </a:cubicBezTo>
                <a:cubicBezTo>
                  <a:pt x="1184767" y="1205730"/>
                  <a:pt x="1163483" y="1190242"/>
                  <a:pt x="1145749" y="1171658"/>
                </a:cubicBezTo>
                <a:cubicBezTo>
                  <a:pt x="1128012" y="1156170"/>
                  <a:pt x="1110276" y="1140683"/>
                  <a:pt x="1096087" y="1119001"/>
                </a:cubicBezTo>
                <a:cubicBezTo>
                  <a:pt x="1092540" y="1115904"/>
                  <a:pt x="1088992" y="1109708"/>
                  <a:pt x="1085446" y="1103514"/>
                </a:cubicBezTo>
                <a:cubicBezTo>
                  <a:pt x="1085446" y="1100417"/>
                  <a:pt x="1085446" y="1100417"/>
                  <a:pt x="1085446" y="1100417"/>
                </a:cubicBezTo>
                <a:cubicBezTo>
                  <a:pt x="1088992" y="1100417"/>
                  <a:pt x="1088992" y="1100417"/>
                  <a:pt x="1088992" y="1100417"/>
                </a:cubicBezTo>
                <a:cubicBezTo>
                  <a:pt x="1088992" y="1097319"/>
                  <a:pt x="1088992" y="1097319"/>
                  <a:pt x="1088992" y="1097319"/>
                </a:cubicBezTo>
                <a:cubicBezTo>
                  <a:pt x="1092540" y="1100417"/>
                  <a:pt x="1092540" y="1100417"/>
                  <a:pt x="1092540" y="1100417"/>
                </a:cubicBezTo>
                <a:cubicBezTo>
                  <a:pt x="1096087" y="1103514"/>
                  <a:pt x="1096087" y="1103514"/>
                  <a:pt x="1099635" y="1103514"/>
                </a:cubicBezTo>
                <a:cubicBezTo>
                  <a:pt x="1103182" y="1106612"/>
                  <a:pt x="1110276" y="1109708"/>
                  <a:pt x="1113823" y="1112806"/>
                </a:cubicBezTo>
                <a:cubicBezTo>
                  <a:pt x="1128012" y="1122099"/>
                  <a:pt x="1142201" y="1134488"/>
                  <a:pt x="1159937" y="1146877"/>
                </a:cubicBezTo>
                <a:cubicBezTo>
                  <a:pt x="1248617" y="1215022"/>
                  <a:pt x="1340844" y="1233606"/>
                  <a:pt x="1429525" y="1307946"/>
                </a:cubicBezTo>
                <a:cubicBezTo>
                  <a:pt x="1429525" y="1307946"/>
                  <a:pt x="1422430" y="1307946"/>
                  <a:pt x="1422430" y="1307946"/>
                </a:cubicBezTo>
                <a:cubicBezTo>
                  <a:pt x="1425977" y="1317237"/>
                  <a:pt x="1422430" y="1323433"/>
                  <a:pt x="1422430" y="1326530"/>
                </a:cubicBezTo>
                <a:cubicBezTo>
                  <a:pt x="1418882" y="1326530"/>
                  <a:pt x="1422430" y="1326530"/>
                  <a:pt x="1418882" y="1326530"/>
                </a:cubicBezTo>
                <a:cubicBezTo>
                  <a:pt x="1422430" y="1329628"/>
                  <a:pt x="1429525" y="1329628"/>
                  <a:pt x="1433071" y="1332724"/>
                </a:cubicBezTo>
                <a:cubicBezTo>
                  <a:pt x="1461449" y="1342017"/>
                  <a:pt x="1489826" y="1351310"/>
                  <a:pt x="1514657" y="1363699"/>
                </a:cubicBezTo>
                <a:cubicBezTo>
                  <a:pt x="1504016" y="1351310"/>
                  <a:pt x="1489826" y="1335822"/>
                  <a:pt x="1479185" y="1323433"/>
                </a:cubicBezTo>
                <a:cubicBezTo>
                  <a:pt x="1475637" y="1317237"/>
                  <a:pt x="1468543" y="1314140"/>
                  <a:pt x="1464997" y="1307946"/>
                </a:cubicBezTo>
                <a:cubicBezTo>
                  <a:pt x="1464997" y="1301751"/>
                  <a:pt x="1461449" y="1298653"/>
                  <a:pt x="1461449" y="1295555"/>
                </a:cubicBezTo>
                <a:cubicBezTo>
                  <a:pt x="1461449" y="1295555"/>
                  <a:pt x="1461449" y="1292459"/>
                  <a:pt x="1464997" y="1292459"/>
                </a:cubicBezTo>
                <a:cubicBezTo>
                  <a:pt x="1464997" y="1292459"/>
                  <a:pt x="1464997" y="1292459"/>
                  <a:pt x="1468543" y="1292459"/>
                </a:cubicBezTo>
                <a:cubicBezTo>
                  <a:pt x="1472090" y="1292459"/>
                  <a:pt x="1472090" y="1292459"/>
                  <a:pt x="1475637" y="1292459"/>
                </a:cubicBezTo>
                <a:cubicBezTo>
                  <a:pt x="1479185" y="1295555"/>
                  <a:pt x="1482731" y="1295555"/>
                  <a:pt x="1486280" y="1295555"/>
                </a:cubicBezTo>
                <a:cubicBezTo>
                  <a:pt x="1496921" y="1301751"/>
                  <a:pt x="1507562" y="1304848"/>
                  <a:pt x="1518205" y="1311043"/>
                </a:cubicBezTo>
                <a:cubicBezTo>
                  <a:pt x="1507562" y="1301751"/>
                  <a:pt x="1496921" y="1289361"/>
                  <a:pt x="1489826" y="1280068"/>
                </a:cubicBezTo>
                <a:cubicBezTo>
                  <a:pt x="1479185" y="1273873"/>
                  <a:pt x="1472090" y="1264581"/>
                  <a:pt x="1464997" y="1258386"/>
                </a:cubicBezTo>
                <a:cubicBezTo>
                  <a:pt x="1464997" y="1258386"/>
                  <a:pt x="1464997" y="1258386"/>
                  <a:pt x="1461449" y="1255288"/>
                </a:cubicBezTo>
                <a:cubicBezTo>
                  <a:pt x="1461449" y="1255288"/>
                  <a:pt x="1461449" y="1255288"/>
                  <a:pt x="1457902" y="1255288"/>
                </a:cubicBezTo>
                <a:cubicBezTo>
                  <a:pt x="1454354" y="1255288"/>
                  <a:pt x="1450807" y="1252191"/>
                  <a:pt x="1447259" y="1249093"/>
                </a:cubicBezTo>
                <a:cubicBezTo>
                  <a:pt x="1433071" y="1236704"/>
                  <a:pt x="1415335" y="1221217"/>
                  <a:pt x="1401146" y="1202632"/>
                </a:cubicBezTo>
                <a:cubicBezTo>
                  <a:pt x="1401146" y="1202632"/>
                  <a:pt x="1397599" y="1199535"/>
                  <a:pt x="1397599" y="1199535"/>
                </a:cubicBezTo>
                <a:cubicBezTo>
                  <a:pt x="1397599" y="1196437"/>
                  <a:pt x="1394051" y="1196437"/>
                  <a:pt x="1390504" y="1193339"/>
                </a:cubicBezTo>
                <a:cubicBezTo>
                  <a:pt x="1369221" y="1180950"/>
                  <a:pt x="1347939" y="1168561"/>
                  <a:pt x="1323108" y="1159268"/>
                </a:cubicBezTo>
                <a:cubicBezTo>
                  <a:pt x="1294731" y="1146877"/>
                  <a:pt x="1266353" y="1137586"/>
                  <a:pt x="1234428" y="1128293"/>
                </a:cubicBezTo>
                <a:cubicBezTo>
                  <a:pt x="1230881" y="1128293"/>
                  <a:pt x="1227333" y="1128293"/>
                  <a:pt x="1223786" y="1125195"/>
                </a:cubicBezTo>
                <a:cubicBezTo>
                  <a:pt x="1220240" y="1125195"/>
                  <a:pt x="1216692" y="1122099"/>
                  <a:pt x="1213145" y="1119001"/>
                </a:cubicBezTo>
                <a:cubicBezTo>
                  <a:pt x="1206050" y="1115904"/>
                  <a:pt x="1198955" y="1109708"/>
                  <a:pt x="1188314" y="1103514"/>
                </a:cubicBezTo>
                <a:cubicBezTo>
                  <a:pt x="1174126" y="1091124"/>
                  <a:pt x="1159937" y="1075637"/>
                  <a:pt x="1149295" y="1060150"/>
                </a:cubicBezTo>
                <a:cubicBezTo>
                  <a:pt x="1138654" y="1050857"/>
                  <a:pt x="1128012" y="1035370"/>
                  <a:pt x="1124464" y="1022981"/>
                </a:cubicBezTo>
                <a:cubicBezTo>
                  <a:pt x="1120918" y="1016785"/>
                  <a:pt x="1120918" y="1013688"/>
                  <a:pt x="1120918" y="1010590"/>
                </a:cubicBezTo>
                <a:cubicBezTo>
                  <a:pt x="1120918" y="1007493"/>
                  <a:pt x="1124464" y="1007493"/>
                  <a:pt x="1124464" y="1007493"/>
                </a:cubicBezTo>
                <a:cubicBezTo>
                  <a:pt x="1085446" y="979616"/>
                  <a:pt x="1049973" y="948641"/>
                  <a:pt x="1010955" y="920765"/>
                </a:cubicBezTo>
                <a:cubicBezTo>
                  <a:pt x="993217" y="905278"/>
                  <a:pt x="975481" y="889790"/>
                  <a:pt x="957745" y="871205"/>
                </a:cubicBezTo>
                <a:cubicBezTo>
                  <a:pt x="943556" y="855718"/>
                  <a:pt x="929367" y="837134"/>
                  <a:pt x="918726" y="815452"/>
                </a:cubicBezTo>
                <a:cubicBezTo>
                  <a:pt x="915178" y="812355"/>
                  <a:pt x="908085" y="803062"/>
                  <a:pt x="908085" y="796867"/>
                </a:cubicBezTo>
                <a:cubicBezTo>
                  <a:pt x="908085" y="796867"/>
                  <a:pt x="908085" y="796867"/>
                  <a:pt x="908085" y="793769"/>
                </a:cubicBezTo>
                <a:cubicBezTo>
                  <a:pt x="911631" y="793769"/>
                  <a:pt x="911631" y="793769"/>
                  <a:pt x="911631" y="793769"/>
                </a:cubicBezTo>
                <a:cubicBezTo>
                  <a:pt x="915178" y="793769"/>
                  <a:pt x="915178" y="796867"/>
                  <a:pt x="915178" y="796867"/>
                </a:cubicBezTo>
                <a:cubicBezTo>
                  <a:pt x="918726" y="796867"/>
                  <a:pt x="918726" y="799965"/>
                  <a:pt x="918726" y="799965"/>
                </a:cubicBezTo>
                <a:cubicBezTo>
                  <a:pt x="925819" y="803062"/>
                  <a:pt x="929367" y="806160"/>
                  <a:pt x="932914" y="812355"/>
                </a:cubicBezTo>
                <a:cubicBezTo>
                  <a:pt x="943556" y="824743"/>
                  <a:pt x="961291" y="837134"/>
                  <a:pt x="971934" y="849523"/>
                </a:cubicBezTo>
                <a:cubicBezTo>
                  <a:pt x="1053520" y="926960"/>
                  <a:pt x="1142201" y="954836"/>
                  <a:pt x="1220240" y="1035370"/>
                </a:cubicBezTo>
                <a:cubicBezTo>
                  <a:pt x="1216692" y="1035370"/>
                  <a:pt x="1216692" y="1035370"/>
                  <a:pt x="1213145" y="1035370"/>
                </a:cubicBezTo>
                <a:cubicBezTo>
                  <a:pt x="1213145" y="1038468"/>
                  <a:pt x="1213145" y="1038468"/>
                  <a:pt x="1213145" y="1041565"/>
                </a:cubicBezTo>
                <a:cubicBezTo>
                  <a:pt x="1237976" y="1053955"/>
                  <a:pt x="1262805" y="1066344"/>
                  <a:pt x="1287636" y="1075637"/>
                </a:cubicBezTo>
                <a:cubicBezTo>
                  <a:pt x="1308919" y="1088026"/>
                  <a:pt x="1330201" y="1097319"/>
                  <a:pt x="1355032" y="1106612"/>
                </a:cubicBezTo>
                <a:cubicBezTo>
                  <a:pt x="1326655" y="1078734"/>
                  <a:pt x="1301825" y="1044662"/>
                  <a:pt x="1276994" y="1013688"/>
                </a:cubicBezTo>
                <a:cubicBezTo>
                  <a:pt x="1248617" y="976519"/>
                  <a:pt x="1220240" y="948641"/>
                  <a:pt x="1188314" y="920765"/>
                </a:cubicBezTo>
                <a:cubicBezTo>
                  <a:pt x="1170578" y="902180"/>
                  <a:pt x="1149295" y="889790"/>
                  <a:pt x="1128012" y="877401"/>
                </a:cubicBezTo>
                <a:cubicBezTo>
                  <a:pt x="1099635" y="861914"/>
                  <a:pt x="1074804" y="849523"/>
                  <a:pt x="1046427" y="840231"/>
                </a:cubicBezTo>
                <a:cubicBezTo>
                  <a:pt x="1042879" y="840231"/>
                  <a:pt x="1039332" y="837134"/>
                  <a:pt x="1039332" y="834036"/>
                </a:cubicBezTo>
                <a:cubicBezTo>
                  <a:pt x="1032237" y="834036"/>
                  <a:pt x="1032237" y="830939"/>
                  <a:pt x="1025143" y="827841"/>
                </a:cubicBezTo>
                <a:cubicBezTo>
                  <a:pt x="1018049" y="824743"/>
                  <a:pt x="1010955" y="815452"/>
                  <a:pt x="1007407" y="812355"/>
                </a:cubicBezTo>
                <a:cubicBezTo>
                  <a:pt x="993217" y="796867"/>
                  <a:pt x="979028" y="781380"/>
                  <a:pt x="968386" y="765893"/>
                </a:cubicBezTo>
                <a:cubicBezTo>
                  <a:pt x="961291" y="753503"/>
                  <a:pt x="950650" y="738016"/>
                  <a:pt x="950650" y="725626"/>
                </a:cubicBezTo>
                <a:cubicBezTo>
                  <a:pt x="947104" y="722529"/>
                  <a:pt x="947104" y="716334"/>
                  <a:pt x="950650" y="716334"/>
                </a:cubicBezTo>
                <a:cubicBezTo>
                  <a:pt x="950650" y="713236"/>
                  <a:pt x="950650" y="713236"/>
                  <a:pt x="954198" y="713236"/>
                </a:cubicBezTo>
                <a:cubicBezTo>
                  <a:pt x="957745" y="713236"/>
                  <a:pt x="957745" y="713236"/>
                  <a:pt x="957745" y="713236"/>
                </a:cubicBezTo>
                <a:cubicBezTo>
                  <a:pt x="964840" y="716334"/>
                  <a:pt x="971934" y="719431"/>
                  <a:pt x="975481" y="722529"/>
                </a:cubicBezTo>
                <a:cubicBezTo>
                  <a:pt x="986122" y="728724"/>
                  <a:pt x="996764" y="731822"/>
                  <a:pt x="1007407" y="738016"/>
                </a:cubicBezTo>
                <a:cubicBezTo>
                  <a:pt x="1039332" y="756600"/>
                  <a:pt x="1067709" y="775185"/>
                  <a:pt x="1099635" y="793769"/>
                </a:cubicBezTo>
                <a:cubicBezTo>
                  <a:pt x="1184767" y="846426"/>
                  <a:pt x="1266353" y="899083"/>
                  <a:pt x="1351486" y="945544"/>
                </a:cubicBezTo>
                <a:cubicBezTo>
                  <a:pt x="1355032" y="948641"/>
                  <a:pt x="1362127" y="951739"/>
                  <a:pt x="1362127" y="951739"/>
                </a:cubicBezTo>
                <a:cubicBezTo>
                  <a:pt x="1358580" y="942447"/>
                  <a:pt x="1358580" y="933154"/>
                  <a:pt x="1362127" y="926960"/>
                </a:cubicBezTo>
                <a:cubicBezTo>
                  <a:pt x="1365674" y="920765"/>
                  <a:pt x="1372768" y="917667"/>
                  <a:pt x="1379863" y="914570"/>
                </a:cubicBezTo>
                <a:cubicBezTo>
                  <a:pt x="1386956" y="914570"/>
                  <a:pt x="1394051" y="914570"/>
                  <a:pt x="1404694" y="917667"/>
                </a:cubicBezTo>
                <a:cubicBezTo>
                  <a:pt x="1383410" y="899083"/>
                  <a:pt x="1358580" y="883596"/>
                  <a:pt x="1340844" y="865011"/>
                </a:cubicBezTo>
                <a:cubicBezTo>
                  <a:pt x="1298277" y="834036"/>
                  <a:pt x="1252164" y="793769"/>
                  <a:pt x="1213145" y="747309"/>
                </a:cubicBezTo>
                <a:cubicBezTo>
                  <a:pt x="1198955" y="731822"/>
                  <a:pt x="1188314" y="713236"/>
                  <a:pt x="1181221" y="694651"/>
                </a:cubicBezTo>
                <a:cubicBezTo>
                  <a:pt x="1170578" y="679164"/>
                  <a:pt x="1170578" y="666775"/>
                  <a:pt x="1177673" y="657482"/>
                </a:cubicBezTo>
                <a:cubicBezTo>
                  <a:pt x="1181221" y="651288"/>
                  <a:pt x="1184767" y="648190"/>
                  <a:pt x="1191861" y="648190"/>
                </a:cubicBezTo>
                <a:cubicBezTo>
                  <a:pt x="1198955" y="648190"/>
                  <a:pt x="1206050" y="648190"/>
                  <a:pt x="1216692" y="651288"/>
                </a:cubicBezTo>
                <a:cubicBezTo>
                  <a:pt x="1241522" y="657482"/>
                  <a:pt x="1269900" y="669873"/>
                  <a:pt x="1301825" y="682262"/>
                </a:cubicBezTo>
                <a:cubicBezTo>
                  <a:pt x="1566757" y="910699"/>
                  <a:pt x="2065859" y="1065026"/>
                  <a:pt x="2680813" y="1139574"/>
                </a:cubicBezTo>
                <a:lnTo>
                  <a:pt x="2791519" y="1149751"/>
                </a:lnTo>
                <a:lnTo>
                  <a:pt x="2737786" y="1087636"/>
                </a:lnTo>
                <a:cubicBezTo>
                  <a:pt x="2727209" y="1078320"/>
                  <a:pt x="2720157" y="1065899"/>
                  <a:pt x="2713106" y="1050371"/>
                </a:cubicBezTo>
                <a:cubicBezTo>
                  <a:pt x="2702529" y="1034845"/>
                  <a:pt x="2695476" y="1019319"/>
                  <a:pt x="2688425" y="1000687"/>
                </a:cubicBezTo>
                <a:cubicBezTo>
                  <a:pt x="2684899" y="997582"/>
                  <a:pt x="2681374" y="988265"/>
                  <a:pt x="2681374" y="982054"/>
                </a:cubicBezTo>
                <a:cubicBezTo>
                  <a:pt x="2681374" y="982054"/>
                  <a:pt x="2681374" y="982054"/>
                  <a:pt x="2677848" y="978949"/>
                </a:cubicBezTo>
                <a:cubicBezTo>
                  <a:pt x="2677848" y="978949"/>
                  <a:pt x="2677848" y="978949"/>
                  <a:pt x="2681374" y="978949"/>
                </a:cubicBezTo>
                <a:cubicBezTo>
                  <a:pt x="2681374" y="978949"/>
                  <a:pt x="2681374" y="978949"/>
                  <a:pt x="2684899" y="978949"/>
                </a:cubicBezTo>
                <a:cubicBezTo>
                  <a:pt x="2684899" y="982054"/>
                  <a:pt x="2688425" y="985160"/>
                  <a:pt x="2688425" y="988265"/>
                </a:cubicBezTo>
                <a:cubicBezTo>
                  <a:pt x="2699002" y="997582"/>
                  <a:pt x="2702529" y="1006897"/>
                  <a:pt x="2709579" y="1016213"/>
                </a:cubicBezTo>
                <a:cubicBezTo>
                  <a:pt x="2744837" y="1069004"/>
                  <a:pt x="2783621" y="1081425"/>
                  <a:pt x="2818878" y="1137321"/>
                </a:cubicBezTo>
                <a:cubicBezTo>
                  <a:pt x="2818878" y="1137321"/>
                  <a:pt x="2815352" y="1140427"/>
                  <a:pt x="2815352" y="1140427"/>
                </a:cubicBezTo>
                <a:lnTo>
                  <a:pt x="2817570" y="1152146"/>
                </a:lnTo>
                <a:lnTo>
                  <a:pt x="2867012" y="1156691"/>
                </a:lnTo>
                <a:lnTo>
                  <a:pt x="2830172" y="1084930"/>
                </a:lnTo>
                <a:cubicBezTo>
                  <a:pt x="2815982" y="1060150"/>
                  <a:pt x="2801794" y="1032272"/>
                  <a:pt x="2784058" y="1007493"/>
                </a:cubicBezTo>
                <a:cubicBezTo>
                  <a:pt x="2776964" y="998201"/>
                  <a:pt x="2766322" y="992006"/>
                  <a:pt x="2759227" y="982713"/>
                </a:cubicBezTo>
                <a:cubicBezTo>
                  <a:pt x="2745039" y="976519"/>
                  <a:pt x="2737945" y="973421"/>
                  <a:pt x="2727303" y="973421"/>
                </a:cubicBezTo>
                <a:cubicBezTo>
                  <a:pt x="2723755" y="970323"/>
                  <a:pt x="2723755" y="970323"/>
                  <a:pt x="2723755" y="970323"/>
                </a:cubicBezTo>
                <a:cubicBezTo>
                  <a:pt x="2720209" y="970323"/>
                  <a:pt x="2720209" y="970323"/>
                  <a:pt x="2720209" y="967226"/>
                </a:cubicBezTo>
                <a:cubicBezTo>
                  <a:pt x="2716660" y="964128"/>
                  <a:pt x="2713114" y="957934"/>
                  <a:pt x="2706019" y="954836"/>
                </a:cubicBezTo>
                <a:cubicBezTo>
                  <a:pt x="2702472" y="942447"/>
                  <a:pt x="2695378" y="926960"/>
                  <a:pt x="2688283" y="914570"/>
                </a:cubicBezTo>
                <a:cubicBezTo>
                  <a:pt x="2681190" y="902180"/>
                  <a:pt x="2674095" y="886692"/>
                  <a:pt x="2670547" y="874304"/>
                </a:cubicBezTo>
                <a:cubicBezTo>
                  <a:pt x="2670547" y="871205"/>
                  <a:pt x="2667000" y="865011"/>
                  <a:pt x="2667000" y="861914"/>
                </a:cubicBezTo>
                <a:cubicBezTo>
                  <a:pt x="2667000" y="858816"/>
                  <a:pt x="2667000" y="858816"/>
                  <a:pt x="2670547" y="855718"/>
                </a:cubicBezTo>
                <a:cubicBezTo>
                  <a:pt x="2674095" y="855718"/>
                  <a:pt x="2677642" y="855718"/>
                  <a:pt x="2677642" y="858816"/>
                </a:cubicBezTo>
                <a:cubicBezTo>
                  <a:pt x="2681190" y="858816"/>
                  <a:pt x="2688283" y="861914"/>
                  <a:pt x="2691831" y="865011"/>
                </a:cubicBezTo>
                <a:cubicBezTo>
                  <a:pt x="2706019" y="874304"/>
                  <a:pt x="2716660" y="883596"/>
                  <a:pt x="2730850" y="892887"/>
                </a:cubicBezTo>
                <a:cubicBezTo>
                  <a:pt x="2762775" y="917667"/>
                  <a:pt x="2798246" y="945544"/>
                  <a:pt x="2833718" y="973421"/>
                </a:cubicBezTo>
                <a:cubicBezTo>
                  <a:pt x="2869190" y="995103"/>
                  <a:pt x="2901116" y="1019883"/>
                  <a:pt x="2933040" y="1044662"/>
                </a:cubicBezTo>
                <a:cubicBezTo>
                  <a:pt x="2943681" y="1053955"/>
                  <a:pt x="2954324" y="1060150"/>
                  <a:pt x="2964966" y="1066344"/>
                </a:cubicBezTo>
                <a:cubicBezTo>
                  <a:pt x="2968512" y="1066344"/>
                  <a:pt x="2972060" y="1069442"/>
                  <a:pt x="2972060" y="1069442"/>
                </a:cubicBezTo>
                <a:cubicBezTo>
                  <a:pt x="2975607" y="1069442"/>
                  <a:pt x="2975607" y="1069442"/>
                  <a:pt x="2975607" y="1069442"/>
                </a:cubicBezTo>
                <a:cubicBezTo>
                  <a:pt x="2975607" y="1066344"/>
                  <a:pt x="2975607" y="1066344"/>
                  <a:pt x="2975607" y="1066344"/>
                </a:cubicBezTo>
                <a:cubicBezTo>
                  <a:pt x="2975607" y="1047761"/>
                  <a:pt x="2975607" y="1035370"/>
                  <a:pt x="2972060" y="1016785"/>
                </a:cubicBezTo>
                <a:cubicBezTo>
                  <a:pt x="2972060" y="1013688"/>
                  <a:pt x="2968512" y="1016785"/>
                  <a:pt x="2968512" y="1013688"/>
                </a:cubicBezTo>
                <a:cubicBezTo>
                  <a:pt x="2961418" y="1013688"/>
                  <a:pt x="2954324" y="1010590"/>
                  <a:pt x="2947230" y="1007493"/>
                </a:cubicBezTo>
                <a:cubicBezTo>
                  <a:pt x="2901116" y="982713"/>
                  <a:pt x="2851455" y="930058"/>
                  <a:pt x="2812436" y="880498"/>
                </a:cubicBezTo>
                <a:cubicBezTo>
                  <a:pt x="2787605" y="849523"/>
                  <a:pt x="2766322" y="815452"/>
                  <a:pt x="2748586" y="781380"/>
                </a:cubicBezTo>
                <a:cubicBezTo>
                  <a:pt x="2737945" y="765893"/>
                  <a:pt x="2730850" y="747309"/>
                  <a:pt x="2727303" y="731822"/>
                </a:cubicBezTo>
                <a:cubicBezTo>
                  <a:pt x="2720209" y="713236"/>
                  <a:pt x="2716660" y="700847"/>
                  <a:pt x="2716660" y="685360"/>
                </a:cubicBezTo>
                <a:cubicBezTo>
                  <a:pt x="2713114" y="679164"/>
                  <a:pt x="2716660" y="672969"/>
                  <a:pt x="2720209" y="669873"/>
                </a:cubicBezTo>
                <a:cubicBezTo>
                  <a:pt x="2720209" y="666775"/>
                  <a:pt x="2723755" y="663677"/>
                  <a:pt x="2727303" y="660580"/>
                </a:cubicBezTo>
                <a:cubicBezTo>
                  <a:pt x="2734397" y="657482"/>
                  <a:pt x="2745039" y="663677"/>
                  <a:pt x="2759227" y="666775"/>
                </a:cubicBezTo>
                <a:cubicBezTo>
                  <a:pt x="2791153" y="679164"/>
                  <a:pt x="2823077" y="707042"/>
                  <a:pt x="2858549" y="731822"/>
                </a:cubicBezTo>
                <a:cubicBezTo>
                  <a:pt x="2897568" y="756600"/>
                  <a:pt x="2936588" y="784478"/>
                  <a:pt x="2972060" y="812355"/>
                </a:cubicBezTo>
                <a:cubicBezTo>
                  <a:pt x="2996890" y="827841"/>
                  <a:pt x="3025267" y="849523"/>
                  <a:pt x="3046552" y="852621"/>
                </a:cubicBezTo>
                <a:cubicBezTo>
                  <a:pt x="3142325" y="865011"/>
                  <a:pt x="3245194" y="964128"/>
                  <a:pt x="3337422" y="967226"/>
                </a:cubicBezTo>
                <a:cubicBezTo>
                  <a:pt x="3372893" y="967226"/>
                  <a:pt x="3397724" y="979616"/>
                  <a:pt x="3433196" y="1001298"/>
                </a:cubicBezTo>
                <a:cubicBezTo>
                  <a:pt x="3465122" y="1022981"/>
                  <a:pt x="3500592" y="1044662"/>
                  <a:pt x="3532518" y="1060150"/>
                </a:cubicBezTo>
                <a:cubicBezTo>
                  <a:pt x="3560895" y="1072539"/>
                  <a:pt x="3592819" y="1078734"/>
                  <a:pt x="3621198" y="1088026"/>
                </a:cubicBezTo>
                <a:cubicBezTo>
                  <a:pt x="3638934" y="1094221"/>
                  <a:pt x="3656670" y="1097319"/>
                  <a:pt x="3674407" y="1106612"/>
                </a:cubicBezTo>
                <a:cubicBezTo>
                  <a:pt x="3681501" y="1109708"/>
                  <a:pt x="3685049" y="1109708"/>
                  <a:pt x="3692143" y="1115904"/>
                </a:cubicBezTo>
                <a:cubicBezTo>
                  <a:pt x="3692143" y="1115904"/>
                  <a:pt x="3695691" y="1119001"/>
                  <a:pt x="3699237" y="1119001"/>
                </a:cubicBezTo>
                <a:cubicBezTo>
                  <a:pt x="3699237" y="1119001"/>
                  <a:pt x="3699237" y="1119001"/>
                  <a:pt x="3699237" y="1122099"/>
                </a:cubicBezTo>
                <a:cubicBezTo>
                  <a:pt x="3699237" y="1125195"/>
                  <a:pt x="3702785" y="1128293"/>
                  <a:pt x="3699237" y="1131392"/>
                </a:cubicBezTo>
                <a:cubicBezTo>
                  <a:pt x="3699237" y="1131392"/>
                  <a:pt x="3699237" y="1134488"/>
                  <a:pt x="3699237" y="1134488"/>
                </a:cubicBezTo>
                <a:cubicBezTo>
                  <a:pt x="3695691" y="1137586"/>
                  <a:pt x="3692143" y="1140683"/>
                  <a:pt x="3688596" y="1140683"/>
                </a:cubicBezTo>
                <a:cubicBezTo>
                  <a:pt x="3677955" y="1140683"/>
                  <a:pt x="3663764" y="1137586"/>
                  <a:pt x="3649576" y="1134488"/>
                </a:cubicBezTo>
                <a:cubicBezTo>
                  <a:pt x="3610556" y="1119001"/>
                  <a:pt x="3567990" y="1100417"/>
                  <a:pt x="3525423" y="1081832"/>
                </a:cubicBezTo>
                <a:cubicBezTo>
                  <a:pt x="3479310" y="1063246"/>
                  <a:pt x="3433196" y="1044662"/>
                  <a:pt x="3387082" y="1032272"/>
                </a:cubicBezTo>
                <a:cubicBezTo>
                  <a:pt x="3372893" y="1026078"/>
                  <a:pt x="3358705" y="1022981"/>
                  <a:pt x="3340969" y="1022981"/>
                </a:cubicBezTo>
                <a:cubicBezTo>
                  <a:pt x="3337422" y="1022981"/>
                  <a:pt x="3330328" y="1022981"/>
                  <a:pt x="3326779" y="1026078"/>
                </a:cubicBezTo>
                <a:cubicBezTo>
                  <a:pt x="3323233" y="1029175"/>
                  <a:pt x="3319686" y="1032272"/>
                  <a:pt x="3316138" y="1035370"/>
                </a:cubicBezTo>
                <a:cubicBezTo>
                  <a:pt x="3319686" y="1038468"/>
                  <a:pt x="3319686" y="1038468"/>
                  <a:pt x="3319686" y="1038468"/>
                </a:cubicBezTo>
                <a:cubicBezTo>
                  <a:pt x="3319686" y="1038468"/>
                  <a:pt x="3316138" y="1038468"/>
                  <a:pt x="3316138" y="1038468"/>
                </a:cubicBezTo>
                <a:cubicBezTo>
                  <a:pt x="3316138" y="1038468"/>
                  <a:pt x="3319686" y="1038468"/>
                  <a:pt x="3319686" y="1041565"/>
                </a:cubicBezTo>
                <a:cubicBezTo>
                  <a:pt x="3323233" y="1047761"/>
                  <a:pt x="3326779" y="1050857"/>
                  <a:pt x="3330328" y="1050857"/>
                </a:cubicBezTo>
                <a:cubicBezTo>
                  <a:pt x="3348064" y="1063246"/>
                  <a:pt x="3362252" y="1072539"/>
                  <a:pt x="3376441" y="1078734"/>
                </a:cubicBezTo>
                <a:cubicBezTo>
                  <a:pt x="3422554" y="1103514"/>
                  <a:pt x="3468668" y="1125195"/>
                  <a:pt x="3514782" y="1146877"/>
                </a:cubicBezTo>
                <a:lnTo>
                  <a:pt x="3606959" y="1189039"/>
                </a:lnTo>
                <a:lnTo>
                  <a:pt x="3829954" y="1186917"/>
                </a:lnTo>
                <a:lnTo>
                  <a:pt x="3812749" y="1171658"/>
                </a:lnTo>
                <a:cubicBezTo>
                  <a:pt x="3795012" y="1156170"/>
                  <a:pt x="3777276" y="1140683"/>
                  <a:pt x="3763087" y="1119001"/>
                </a:cubicBezTo>
                <a:cubicBezTo>
                  <a:pt x="3759540" y="1115904"/>
                  <a:pt x="3755992" y="1109708"/>
                  <a:pt x="3752446" y="1103514"/>
                </a:cubicBezTo>
                <a:cubicBezTo>
                  <a:pt x="3752446" y="1100417"/>
                  <a:pt x="3752446" y="1100417"/>
                  <a:pt x="3752446" y="1100417"/>
                </a:cubicBezTo>
                <a:cubicBezTo>
                  <a:pt x="3755992" y="1100417"/>
                  <a:pt x="3755992" y="1100417"/>
                  <a:pt x="3755992" y="1100417"/>
                </a:cubicBezTo>
                <a:cubicBezTo>
                  <a:pt x="3755992" y="1097319"/>
                  <a:pt x="3755992" y="1097319"/>
                  <a:pt x="3755992" y="1097319"/>
                </a:cubicBezTo>
                <a:cubicBezTo>
                  <a:pt x="3759540" y="1100417"/>
                  <a:pt x="3759540" y="1100417"/>
                  <a:pt x="3759540" y="1100417"/>
                </a:cubicBezTo>
                <a:cubicBezTo>
                  <a:pt x="3763087" y="1103514"/>
                  <a:pt x="3763087" y="1103514"/>
                  <a:pt x="3766635" y="1103514"/>
                </a:cubicBezTo>
                <a:cubicBezTo>
                  <a:pt x="3770182" y="1106612"/>
                  <a:pt x="3777276" y="1109708"/>
                  <a:pt x="3780823" y="1112806"/>
                </a:cubicBezTo>
                <a:cubicBezTo>
                  <a:pt x="3795012" y="1122099"/>
                  <a:pt x="3809201" y="1134488"/>
                  <a:pt x="3826937" y="1146877"/>
                </a:cubicBezTo>
                <a:lnTo>
                  <a:pt x="3887833" y="1186341"/>
                </a:lnTo>
                <a:lnTo>
                  <a:pt x="4028229" y="1178539"/>
                </a:lnTo>
                <a:lnTo>
                  <a:pt x="3990108" y="1159268"/>
                </a:lnTo>
                <a:cubicBezTo>
                  <a:pt x="3961731" y="1146877"/>
                  <a:pt x="3933353" y="1137586"/>
                  <a:pt x="3901428" y="1128293"/>
                </a:cubicBezTo>
                <a:cubicBezTo>
                  <a:pt x="3897881" y="1128293"/>
                  <a:pt x="3894333" y="1128293"/>
                  <a:pt x="3890786" y="1125195"/>
                </a:cubicBezTo>
                <a:cubicBezTo>
                  <a:pt x="3887240" y="1125195"/>
                  <a:pt x="3883692" y="1122099"/>
                  <a:pt x="3880145" y="1119001"/>
                </a:cubicBezTo>
                <a:cubicBezTo>
                  <a:pt x="3873050" y="1115904"/>
                  <a:pt x="3865955" y="1109708"/>
                  <a:pt x="3855314" y="1103514"/>
                </a:cubicBezTo>
                <a:cubicBezTo>
                  <a:pt x="3841126" y="1091124"/>
                  <a:pt x="3826937" y="1075637"/>
                  <a:pt x="3816295" y="1060150"/>
                </a:cubicBezTo>
                <a:cubicBezTo>
                  <a:pt x="3805654" y="1050857"/>
                  <a:pt x="3795012" y="1035370"/>
                  <a:pt x="3791464" y="1022981"/>
                </a:cubicBezTo>
                <a:cubicBezTo>
                  <a:pt x="3787918" y="1016785"/>
                  <a:pt x="3787918" y="1013688"/>
                  <a:pt x="3787918" y="1010590"/>
                </a:cubicBezTo>
                <a:cubicBezTo>
                  <a:pt x="3787918" y="1007493"/>
                  <a:pt x="3791464" y="1007493"/>
                  <a:pt x="3791464" y="1007493"/>
                </a:cubicBezTo>
                <a:cubicBezTo>
                  <a:pt x="3752446" y="979616"/>
                  <a:pt x="3716973" y="948641"/>
                  <a:pt x="3677955" y="920765"/>
                </a:cubicBezTo>
                <a:cubicBezTo>
                  <a:pt x="3660217" y="905278"/>
                  <a:pt x="3642481" y="889790"/>
                  <a:pt x="3624745" y="871205"/>
                </a:cubicBezTo>
                <a:cubicBezTo>
                  <a:pt x="3610556" y="855718"/>
                  <a:pt x="3596367" y="837134"/>
                  <a:pt x="3585726" y="815452"/>
                </a:cubicBezTo>
                <a:cubicBezTo>
                  <a:pt x="3582178" y="812355"/>
                  <a:pt x="3575085" y="803062"/>
                  <a:pt x="3575085" y="796867"/>
                </a:cubicBezTo>
                <a:cubicBezTo>
                  <a:pt x="3575085" y="796867"/>
                  <a:pt x="3575085" y="796867"/>
                  <a:pt x="3575085" y="793769"/>
                </a:cubicBezTo>
                <a:cubicBezTo>
                  <a:pt x="3578631" y="793769"/>
                  <a:pt x="3578631" y="793769"/>
                  <a:pt x="3578631" y="793769"/>
                </a:cubicBezTo>
                <a:cubicBezTo>
                  <a:pt x="3582178" y="793769"/>
                  <a:pt x="3582178" y="796867"/>
                  <a:pt x="3582178" y="796867"/>
                </a:cubicBezTo>
                <a:cubicBezTo>
                  <a:pt x="3585726" y="796867"/>
                  <a:pt x="3585726" y="799965"/>
                  <a:pt x="3585726" y="799965"/>
                </a:cubicBezTo>
                <a:cubicBezTo>
                  <a:pt x="3592819" y="803062"/>
                  <a:pt x="3596367" y="806160"/>
                  <a:pt x="3599914" y="812355"/>
                </a:cubicBezTo>
                <a:cubicBezTo>
                  <a:pt x="3610556" y="824743"/>
                  <a:pt x="3628291" y="837134"/>
                  <a:pt x="3638934" y="849523"/>
                </a:cubicBezTo>
                <a:cubicBezTo>
                  <a:pt x="3720520" y="926960"/>
                  <a:pt x="3809201" y="954836"/>
                  <a:pt x="3887240" y="1035370"/>
                </a:cubicBezTo>
                <a:cubicBezTo>
                  <a:pt x="3883692" y="1035370"/>
                  <a:pt x="3883692" y="1035370"/>
                  <a:pt x="3880145" y="1035370"/>
                </a:cubicBezTo>
                <a:cubicBezTo>
                  <a:pt x="3880145" y="1038468"/>
                  <a:pt x="3880145" y="1038468"/>
                  <a:pt x="3880145" y="1041565"/>
                </a:cubicBezTo>
                <a:cubicBezTo>
                  <a:pt x="3904976" y="1053955"/>
                  <a:pt x="3929805" y="1066344"/>
                  <a:pt x="3954636" y="1075637"/>
                </a:cubicBezTo>
                <a:cubicBezTo>
                  <a:pt x="3975919" y="1088026"/>
                  <a:pt x="3997201" y="1097319"/>
                  <a:pt x="4022032" y="1106612"/>
                </a:cubicBezTo>
                <a:cubicBezTo>
                  <a:pt x="3993655" y="1078734"/>
                  <a:pt x="3968825" y="1044662"/>
                  <a:pt x="3943994" y="1013688"/>
                </a:cubicBezTo>
                <a:cubicBezTo>
                  <a:pt x="3915617" y="976519"/>
                  <a:pt x="3887240" y="948641"/>
                  <a:pt x="3855314" y="920765"/>
                </a:cubicBezTo>
                <a:cubicBezTo>
                  <a:pt x="3837578" y="902180"/>
                  <a:pt x="3816295" y="889790"/>
                  <a:pt x="3795012" y="877401"/>
                </a:cubicBezTo>
                <a:cubicBezTo>
                  <a:pt x="3766635" y="861914"/>
                  <a:pt x="3741804" y="849523"/>
                  <a:pt x="3713427" y="840231"/>
                </a:cubicBezTo>
                <a:cubicBezTo>
                  <a:pt x="3709879" y="840231"/>
                  <a:pt x="3706332" y="837134"/>
                  <a:pt x="3706332" y="834036"/>
                </a:cubicBezTo>
                <a:cubicBezTo>
                  <a:pt x="3699237" y="834036"/>
                  <a:pt x="3699237" y="830939"/>
                  <a:pt x="3692143" y="827841"/>
                </a:cubicBezTo>
                <a:cubicBezTo>
                  <a:pt x="3685049" y="824743"/>
                  <a:pt x="3677955" y="815452"/>
                  <a:pt x="3674407" y="812355"/>
                </a:cubicBezTo>
                <a:cubicBezTo>
                  <a:pt x="3660217" y="796867"/>
                  <a:pt x="3646028" y="781380"/>
                  <a:pt x="3635386" y="765893"/>
                </a:cubicBezTo>
                <a:cubicBezTo>
                  <a:pt x="3628291" y="753503"/>
                  <a:pt x="3617650" y="738016"/>
                  <a:pt x="3617650" y="725626"/>
                </a:cubicBezTo>
                <a:cubicBezTo>
                  <a:pt x="3614104" y="722529"/>
                  <a:pt x="3614104" y="716334"/>
                  <a:pt x="3617650" y="716334"/>
                </a:cubicBezTo>
                <a:cubicBezTo>
                  <a:pt x="3617650" y="713236"/>
                  <a:pt x="3617650" y="713236"/>
                  <a:pt x="3621198" y="713236"/>
                </a:cubicBezTo>
                <a:cubicBezTo>
                  <a:pt x="3624745" y="713236"/>
                  <a:pt x="3624745" y="713236"/>
                  <a:pt x="3624745" y="713236"/>
                </a:cubicBezTo>
                <a:cubicBezTo>
                  <a:pt x="3631840" y="716334"/>
                  <a:pt x="3638934" y="719431"/>
                  <a:pt x="3642481" y="722529"/>
                </a:cubicBezTo>
                <a:cubicBezTo>
                  <a:pt x="3653122" y="728724"/>
                  <a:pt x="3663764" y="731822"/>
                  <a:pt x="3674407" y="738016"/>
                </a:cubicBezTo>
                <a:cubicBezTo>
                  <a:pt x="3706332" y="756600"/>
                  <a:pt x="3734709" y="775185"/>
                  <a:pt x="3766635" y="793769"/>
                </a:cubicBezTo>
                <a:cubicBezTo>
                  <a:pt x="3851767" y="846426"/>
                  <a:pt x="3933353" y="899083"/>
                  <a:pt x="4018486" y="945544"/>
                </a:cubicBezTo>
                <a:cubicBezTo>
                  <a:pt x="4022032" y="948641"/>
                  <a:pt x="4029127" y="951739"/>
                  <a:pt x="4029127" y="951739"/>
                </a:cubicBezTo>
                <a:cubicBezTo>
                  <a:pt x="4025580" y="942447"/>
                  <a:pt x="4025580" y="933154"/>
                  <a:pt x="4029127" y="926960"/>
                </a:cubicBezTo>
                <a:cubicBezTo>
                  <a:pt x="4032674" y="920765"/>
                  <a:pt x="4039768" y="917667"/>
                  <a:pt x="4046863" y="914570"/>
                </a:cubicBezTo>
                <a:cubicBezTo>
                  <a:pt x="4053956" y="914570"/>
                  <a:pt x="4061051" y="914570"/>
                  <a:pt x="4071694" y="917667"/>
                </a:cubicBezTo>
                <a:cubicBezTo>
                  <a:pt x="4050410" y="899083"/>
                  <a:pt x="4025580" y="883596"/>
                  <a:pt x="4007844" y="865011"/>
                </a:cubicBezTo>
                <a:cubicBezTo>
                  <a:pt x="3965277" y="834036"/>
                  <a:pt x="3919164" y="793769"/>
                  <a:pt x="3880145" y="747309"/>
                </a:cubicBezTo>
                <a:cubicBezTo>
                  <a:pt x="3865955" y="731822"/>
                  <a:pt x="3855314" y="713236"/>
                  <a:pt x="3848221" y="694651"/>
                </a:cubicBezTo>
                <a:cubicBezTo>
                  <a:pt x="3837578" y="679164"/>
                  <a:pt x="3837578" y="666775"/>
                  <a:pt x="3844673" y="657482"/>
                </a:cubicBezTo>
                <a:cubicBezTo>
                  <a:pt x="3848221" y="651288"/>
                  <a:pt x="3851767" y="648190"/>
                  <a:pt x="3858861" y="648190"/>
                </a:cubicBezTo>
                <a:cubicBezTo>
                  <a:pt x="3865955" y="648190"/>
                  <a:pt x="3873050" y="648190"/>
                  <a:pt x="3883692" y="651288"/>
                </a:cubicBezTo>
                <a:cubicBezTo>
                  <a:pt x="3908522" y="657482"/>
                  <a:pt x="3936900" y="669873"/>
                  <a:pt x="3968825" y="682262"/>
                </a:cubicBezTo>
                <a:cubicBezTo>
                  <a:pt x="4127784" y="819324"/>
                  <a:pt x="4371045" y="929707"/>
                  <a:pt x="4673050" y="1012185"/>
                </a:cubicBezTo>
                <a:lnTo>
                  <a:pt x="4986857" y="1083759"/>
                </a:lnTo>
                <a:lnTo>
                  <a:pt x="5190667" y="1053493"/>
                </a:lnTo>
                <a:cubicBezTo>
                  <a:pt x="5913283" y="928400"/>
                  <a:pt x="6609768" y="716721"/>
                  <a:pt x="7161801" y="412784"/>
                </a:cubicBezTo>
                <a:cubicBezTo>
                  <a:pt x="7186632" y="394200"/>
                  <a:pt x="7207915" y="378712"/>
                  <a:pt x="7232745" y="363226"/>
                </a:cubicBezTo>
                <a:cubicBezTo>
                  <a:pt x="7250481" y="350835"/>
                  <a:pt x="7268217" y="338446"/>
                  <a:pt x="7289501" y="332250"/>
                </a:cubicBezTo>
                <a:cubicBezTo>
                  <a:pt x="7300142" y="326055"/>
                  <a:pt x="7314331" y="319861"/>
                  <a:pt x="7321425" y="322959"/>
                </a:cubicBezTo>
                <a:cubicBezTo>
                  <a:pt x="7328519" y="329153"/>
                  <a:pt x="7328519" y="338446"/>
                  <a:pt x="7324973" y="350835"/>
                </a:cubicBezTo>
                <a:cubicBezTo>
                  <a:pt x="7324973" y="350835"/>
                  <a:pt x="7324973" y="350835"/>
                  <a:pt x="7321425" y="353933"/>
                </a:cubicBezTo>
                <a:cubicBezTo>
                  <a:pt x="7321425" y="357030"/>
                  <a:pt x="7317878" y="360128"/>
                  <a:pt x="7317878" y="363226"/>
                </a:cubicBezTo>
                <a:cubicBezTo>
                  <a:pt x="7307237" y="369420"/>
                  <a:pt x="7300142" y="375615"/>
                  <a:pt x="7296595" y="381810"/>
                </a:cubicBezTo>
                <a:cubicBezTo>
                  <a:pt x="7268217" y="406590"/>
                  <a:pt x="7243387" y="428272"/>
                  <a:pt x="7218556" y="449953"/>
                </a:cubicBezTo>
                <a:cubicBezTo>
                  <a:pt x="7197273" y="468539"/>
                  <a:pt x="7175989" y="490220"/>
                  <a:pt x="7154707" y="508806"/>
                </a:cubicBezTo>
                <a:cubicBezTo>
                  <a:pt x="7236292" y="443759"/>
                  <a:pt x="7317878" y="381810"/>
                  <a:pt x="7403011" y="316764"/>
                </a:cubicBezTo>
                <a:cubicBezTo>
                  <a:pt x="7498785" y="245523"/>
                  <a:pt x="7591013" y="164988"/>
                  <a:pt x="7686787" y="93748"/>
                </a:cubicBezTo>
                <a:cubicBezTo>
                  <a:pt x="7715165" y="75163"/>
                  <a:pt x="7739996" y="56578"/>
                  <a:pt x="7764825" y="41090"/>
                </a:cubicBezTo>
                <a:cubicBezTo>
                  <a:pt x="7786109" y="28701"/>
                  <a:pt x="7807393" y="16312"/>
                  <a:pt x="7825129" y="10116"/>
                </a:cubicBezTo>
                <a:cubicBezTo>
                  <a:pt x="7839317" y="3921"/>
                  <a:pt x="7853506" y="-2273"/>
                  <a:pt x="7864147" y="82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30835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-1352754" y="-800690"/>
            <a:ext cx="8286956" cy="8459380"/>
          </a:xfrm>
          <a:custGeom>
            <a:avLst/>
            <a:gdLst>
              <a:gd name="connsiteX0" fmla="*/ 6681779 w 6863196"/>
              <a:gd name="connsiteY0" fmla="*/ 3641421 h 7005996"/>
              <a:gd name="connsiteX1" fmla="*/ 6712111 w 6863196"/>
              <a:gd name="connsiteY1" fmla="*/ 3641421 h 7005996"/>
              <a:gd name="connsiteX2" fmla="*/ 6681779 w 6863196"/>
              <a:gd name="connsiteY2" fmla="*/ 3641421 h 7005996"/>
              <a:gd name="connsiteX3" fmla="*/ 3092813 w 6863196"/>
              <a:gd name="connsiteY3" fmla="*/ 4434166 h 7005996"/>
              <a:gd name="connsiteX4" fmla="*/ 3021054 w 6863196"/>
              <a:gd name="connsiteY4" fmla="*/ 4535860 h 7005996"/>
              <a:gd name="connsiteX5" fmla="*/ 2935469 w 6863196"/>
              <a:gd name="connsiteY5" fmla="*/ 4727881 h 7005996"/>
              <a:gd name="connsiteX6" fmla="*/ 2935147 w 6863196"/>
              <a:gd name="connsiteY6" fmla="*/ 4813349 h 7005996"/>
              <a:gd name="connsiteX7" fmla="*/ 2916513 w 6863196"/>
              <a:gd name="connsiteY7" fmla="*/ 4866849 h 7005996"/>
              <a:gd name="connsiteX8" fmla="*/ 2915458 w 6863196"/>
              <a:gd name="connsiteY8" fmla="*/ 4872223 h 7005996"/>
              <a:gd name="connsiteX9" fmla="*/ 2952135 w 6863196"/>
              <a:gd name="connsiteY9" fmla="*/ 4849218 h 7005996"/>
              <a:gd name="connsiteX10" fmla="*/ 3073461 w 6863196"/>
              <a:gd name="connsiteY10" fmla="*/ 4758906 h 7005996"/>
              <a:gd name="connsiteX11" fmla="*/ 3193643 w 6863196"/>
              <a:gd name="connsiteY11" fmla="*/ 4637971 h 7005996"/>
              <a:gd name="connsiteX12" fmla="*/ 3209095 w 6863196"/>
              <a:gd name="connsiteY12" fmla="*/ 4562710 h 7005996"/>
              <a:gd name="connsiteX13" fmla="*/ 3284638 w 6863196"/>
              <a:gd name="connsiteY13" fmla="*/ 4517035 h 7005996"/>
              <a:gd name="connsiteX14" fmla="*/ 3299517 w 6863196"/>
              <a:gd name="connsiteY14" fmla="*/ 4502502 h 7005996"/>
              <a:gd name="connsiteX15" fmla="*/ 3314969 w 6863196"/>
              <a:gd name="connsiteY15" fmla="*/ 4471879 h 7005996"/>
              <a:gd name="connsiteX16" fmla="*/ 3327989 w 6863196"/>
              <a:gd name="connsiteY16" fmla="*/ 4466234 h 7005996"/>
              <a:gd name="connsiteX17" fmla="*/ 3328915 w 6863196"/>
              <a:gd name="connsiteY17" fmla="*/ 4465833 h 7005996"/>
              <a:gd name="connsiteX18" fmla="*/ 3329849 w 6863196"/>
              <a:gd name="connsiteY18" fmla="*/ 4471879 h 7005996"/>
              <a:gd name="connsiteX19" fmla="*/ 3329616 w 6863196"/>
              <a:gd name="connsiteY19" fmla="*/ 4465529 h 7005996"/>
              <a:gd name="connsiteX20" fmla="*/ 3328915 w 6863196"/>
              <a:gd name="connsiteY20" fmla="*/ 4465833 h 7005996"/>
              <a:gd name="connsiteX21" fmla="*/ 3321605 w 6863196"/>
              <a:gd name="connsiteY21" fmla="*/ 4418516 h 7005996"/>
              <a:gd name="connsiteX22" fmla="*/ 3312480 w 6863196"/>
              <a:gd name="connsiteY22" fmla="*/ 4417402 h 7005996"/>
              <a:gd name="connsiteX23" fmla="*/ 3277135 w 6863196"/>
              <a:gd name="connsiteY23" fmla="*/ 4407501 h 7005996"/>
              <a:gd name="connsiteX24" fmla="*/ 3202592 w 6863196"/>
              <a:gd name="connsiteY24" fmla="*/ 4396896 h 7005996"/>
              <a:gd name="connsiteX25" fmla="*/ 3127361 w 6863196"/>
              <a:gd name="connsiteY25" fmla="*/ 4408266 h 7005996"/>
              <a:gd name="connsiteX26" fmla="*/ 3092813 w 6863196"/>
              <a:gd name="connsiteY26" fmla="*/ 4434166 h 7005996"/>
              <a:gd name="connsiteX27" fmla="*/ 2637760 w 6863196"/>
              <a:gd name="connsiteY27" fmla="*/ 4320187 h 7005996"/>
              <a:gd name="connsiteX28" fmla="*/ 2644258 w 6863196"/>
              <a:gd name="connsiteY28" fmla="*/ 4318171 h 7005996"/>
              <a:gd name="connsiteX29" fmla="*/ 2648675 w 6863196"/>
              <a:gd name="connsiteY29" fmla="*/ 4311172 h 7005996"/>
              <a:gd name="connsiteX30" fmla="*/ 2648861 w 6863196"/>
              <a:gd name="connsiteY30" fmla="*/ 4309086 h 7005996"/>
              <a:gd name="connsiteX31" fmla="*/ 2732337 w 6863196"/>
              <a:gd name="connsiteY31" fmla="*/ 4205057 h 7005996"/>
              <a:gd name="connsiteX32" fmla="*/ 2670717 w 6863196"/>
              <a:gd name="connsiteY32" fmla="*/ 4275348 h 7005996"/>
              <a:gd name="connsiteX33" fmla="*/ 2664312 w 6863196"/>
              <a:gd name="connsiteY33" fmla="*/ 4287394 h 7005996"/>
              <a:gd name="connsiteX34" fmla="*/ 2788316 w 6863196"/>
              <a:gd name="connsiteY34" fmla="*/ 4261994 h 7005996"/>
              <a:gd name="connsiteX35" fmla="*/ 2821957 w 6863196"/>
              <a:gd name="connsiteY35" fmla="*/ 4256423 h 7005996"/>
              <a:gd name="connsiteX36" fmla="*/ 2789779 w 6863196"/>
              <a:gd name="connsiteY36" fmla="*/ 4232856 h 7005996"/>
              <a:gd name="connsiteX37" fmla="*/ 2732337 w 6863196"/>
              <a:gd name="connsiteY37" fmla="*/ 4205057 h 7005996"/>
              <a:gd name="connsiteX38" fmla="*/ 4622249 w 6863196"/>
              <a:gd name="connsiteY38" fmla="*/ 1311729 h 7005996"/>
              <a:gd name="connsiteX39" fmla="*/ 4643696 w 6863196"/>
              <a:gd name="connsiteY39" fmla="*/ 1290282 h 7005996"/>
              <a:gd name="connsiteX40" fmla="*/ 4622249 w 6863196"/>
              <a:gd name="connsiteY40" fmla="*/ 1311729 h 7005996"/>
              <a:gd name="connsiteX41" fmla="*/ 1788581 w 6863196"/>
              <a:gd name="connsiteY41" fmla="*/ 1564579 h 7005996"/>
              <a:gd name="connsiteX42" fmla="*/ 1996813 w 6863196"/>
              <a:gd name="connsiteY42" fmla="*/ 1632316 h 7005996"/>
              <a:gd name="connsiteX43" fmla="*/ 2135061 w 6863196"/>
              <a:gd name="connsiteY43" fmla="*/ 1899251 h 7005996"/>
              <a:gd name="connsiteX44" fmla="*/ 2294958 w 6863196"/>
              <a:gd name="connsiteY44" fmla="*/ 2038104 h 7005996"/>
              <a:gd name="connsiteX45" fmla="*/ 2413007 w 6863196"/>
              <a:gd name="connsiteY45" fmla="*/ 2048510 h 7005996"/>
              <a:gd name="connsiteX46" fmla="*/ 2572808 w 6863196"/>
              <a:gd name="connsiteY46" fmla="*/ 1802827 h 7005996"/>
              <a:gd name="connsiteX47" fmla="*/ 2476722 w 6863196"/>
              <a:gd name="connsiteY47" fmla="*/ 1429136 h 7005996"/>
              <a:gd name="connsiteX48" fmla="*/ 2732964 w 6863196"/>
              <a:gd name="connsiteY48" fmla="*/ 1194914 h 7005996"/>
              <a:gd name="connsiteX49" fmla="*/ 2711465 w 6863196"/>
              <a:gd name="connsiteY49" fmla="*/ 980790 h 7005996"/>
              <a:gd name="connsiteX50" fmla="*/ 2690699 w 6863196"/>
              <a:gd name="connsiteY50" fmla="*/ 767400 h 7005996"/>
              <a:gd name="connsiteX51" fmla="*/ 2818022 w 6863196"/>
              <a:gd name="connsiteY51" fmla="*/ 1045261 h 7005996"/>
              <a:gd name="connsiteX52" fmla="*/ 2861207 w 6863196"/>
              <a:gd name="connsiteY52" fmla="*/ 1130531 h 7005996"/>
              <a:gd name="connsiteX53" fmla="*/ 2861167 w 6863196"/>
              <a:gd name="connsiteY53" fmla="*/ 1194431 h 7005996"/>
              <a:gd name="connsiteX54" fmla="*/ 3074442 w 6863196"/>
              <a:gd name="connsiteY54" fmla="*/ 1343767 h 7005996"/>
              <a:gd name="connsiteX55" fmla="*/ 3117137 w 6863196"/>
              <a:gd name="connsiteY55" fmla="*/ 1407505 h 7005996"/>
              <a:gd name="connsiteX56" fmla="*/ 3202408 w 6863196"/>
              <a:gd name="connsiteY56" fmla="*/ 1450690 h 7005996"/>
              <a:gd name="connsiteX57" fmla="*/ 3426808 w 6863196"/>
              <a:gd name="connsiteY57" fmla="*/ 1482466 h 7005996"/>
              <a:gd name="connsiteX58" fmla="*/ 3501269 w 6863196"/>
              <a:gd name="connsiteY58" fmla="*/ 1408006 h 7005996"/>
              <a:gd name="connsiteX59" fmla="*/ 3533559 w 6863196"/>
              <a:gd name="connsiteY59" fmla="*/ 1290567 h 7005996"/>
              <a:gd name="connsiteX60" fmla="*/ 3522587 w 6863196"/>
              <a:gd name="connsiteY60" fmla="*/ 1215658 h 7005996"/>
              <a:gd name="connsiteX61" fmla="*/ 3491268 w 6863196"/>
              <a:gd name="connsiteY61" fmla="*/ 1226424 h 7005996"/>
              <a:gd name="connsiteX62" fmla="*/ 3458882 w 6863196"/>
              <a:gd name="connsiteY62" fmla="*/ 959327 h 7005996"/>
              <a:gd name="connsiteX63" fmla="*/ 3448438 w 6863196"/>
              <a:gd name="connsiteY63" fmla="*/ 842050 h 7005996"/>
              <a:gd name="connsiteX64" fmla="*/ 3427029 w 6863196"/>
              <a:gd name="connsiteY64" fmla="*/ 799598 h 7005996"/>
              <a:gd name="connsiteX65" fmla="*/ 3437872 w 6863196"/>
              <a:gd name="connsiteY65" fmla="*/ 703607 h 7005996"/>
              <a:gd name="connsiteX66" fmla="*/ 3437949 w 6863196"/>
              <a:gd name="connsiteY66" fmla="*/ 638936 h 7005996"/>
              <a:gd name="connsiteX67" fmla="*/ 3448349 w 6863196"/>
              <a:gd name="connsiteY67" fmla="*/ 607250 h 7005996"/>
              <a:gd name="connsiteX68" fmla="*/ 3437988 w 6863196"/>
              <a:gd name="connsiteY68" fmla="*/ 575037 h 7005996"/>
              <a:gd name="connsiteX69" fmla="*/ 3448510 w 6863196"/>
              <a:gd name="connsiteY69" fmla="*/ 564515 h 7005996"/>
              <a:gd name="connsiteX70" fmla="*/ 3437905 w 6863196"/>
              <a:gd name="connsiteY70" fmla="*/ 489973 h 7005996"/>
              <a:gd name="connsiteX71" fmla="*/ 3447938 w 6863196"/>
              <a:gd name="connsiteY71" fmla="*/ 457919 h 7005996"/>
              <a:gd name="connsiteX72" fmla="*/ 3437771 w 6863196"/>
              <a:gd name="connsiteY72" fmla="*/ 169336 h 7005996"/>
              <a:gd name="connsiteX73" fmla="*/ 3416484 w 6863196"/>
              <a:gd name="connsiteY73" fmla="*/ 148050 h 7005996"/>
              <a:gd name="connsiteX74" fmla="*/ 3416400 w 6863196"/>
              <a:gd name="connsiteY74" fmla="*/ 62986 h 7005996"/>
              <a:gd name="connsiteX75" fmla="*/ 3469817 w 6863196"/>
              <a:gd name="connsiteY75" fmla="*/ 9569 h 7005996"/>
              <a:gd name="connsiteX76" fmla="*/ 3533718 w 6863196"/>
              <a:gd name="connsiteY76" fmla="*/ 9530 h 7005996"/>
              <a:gd name="connsiteX77" fmla="*/ 3587262 w 6863196"/>
              <a:gd name="connsiteY77" fmla="*/ 127013 h 7005996"/>
              <a:gd name="connsiteX78" fmla="*/ 3598028 w 6863196"/>
              <a:gd name="connsiteY78" fmla="*/ 158821 h 7005996"/>
              <a:gd name="connsiteX79" fmla="*/ 3576418 w 6863196"/>
              <a:gd name="connsiteY79" fmla="*/ 223004 h 7005996"/>
              <a:gd name="connsiteX80" fmla="*/ 3534218 w 6863196"/>
              <a:gd name="connsiteY80" fmla="*/ 393660 h 7005996"/>
              <a:gd name="connsiteX81" fmla="*/ 3544295 w 6863196"/>
              <a:gd name="connsiteY81" fmla="*/ 447443 h 7005996"/>
              <a:gd name="connsiteX82" fmla="*/ 3522847 w 6863196"/>
              <a:gd name="connsiteY82" fmla="*/ 468891 h 7005996"/>
              <a:gd name="connsiteX83" fmla="*/ 3554778 w 6863196"/>
              <a:gd name="connsiteY83" fmla="*/ 500821 h 7005996"/>
              <a:gd name="connsiteX84" fmla="*/ 3554911 w 6863196"/>
              <a:gd name="connsiteY84" fmla="*/ 884584 h 7005996"/>
              <a:gd name="connsiteX85" fmla="*/ 3586558 w 6863196"/>
              <a:gd name="connsiteY85" fmla="*/ 938084 h 7005996"/>
              <a:gd name="connsiteX86" fmla="*/ 3618817 w 6863196"/>
              <a:gd name="connsiteY86" fmla="*/ 1034281 h 7005996"/>
              <a:gd name="connsiteX87" fmla="*/ 3629665 w 6863196"/>
              <a:gd name="connsiteY87" fmla="*/ 1151154 h 7005996"/>
              <a:gd name="connsiteX88" fmla="*/ 3618785 w 6863196"/>
              <a:gd name="connsiteY88" fmla="*/ 1247916 h 7005996"/>
              <a:gd name="connsiteX89" fmla="*/ 3629389 w 6863196"/>
              <a:gd name="connsiteY89" fmla="*/ 1322459 h 7005996"/>
              <a:gd name="connsiteX90" fmla="*/ 3640038 w 6863196"/>
              <a:gd name="connsiteY90" fmla="*/ 1482838 h 7005996"/>
              <a:gd name="connsiteX91" fmla="*/ 3650804 w 6863196"/>
              <a:gd name="connsiteY91" fmla="*/ 1514647 h 7005996"/>
              <a:gd name="connsiteX92" fmla="*/ 3714871 w 6863196"/>
              <a:gd name="connsiteY92" fmla="*/ 1621608 h 7005996"/>
              <a:gd name="connsiteX93" fmla="*/ 3715114 w 6863196"/>
              <a:gd name="connsiteY93" fmla="*/ 1663938 h 7005996"/>
              <a:gd name="connsiteX94" fmla="*/ 3896452 w 6863196"/>
              <a:gd name="connsiteY94" fmla="*/ 1631609 h 7005996"/>
              <a:gd name="connsiteX95" fmla="*/ 4013647 w 6863196"/>
              <a:gd name="connsiteY95" fmla="*/ 1556988 h 7005996"/>
              <a:gd name="connsiteX96" fmla="*/ 4067552 w 6863196"/>
              <a:gd name="connsiteY96" fmla="*/ 1525103 h 7005996"/>
              <a:gd name="connsiteX97" fmla="*/ 4088350 w 6863196"/>
              <a:gd name="connsiteY97" fmla="*/ 1524857 h 7005996"/>
              <a:gd name="connsiteX98" fmla="*/ 4109798 w 6863196"/>
              <a:gd name="connsiteY98" fmla="*/ 1503410 h 7005996"/>
              <a:gd name="connsiteX99" fmla="*/ 4163054 w 6863196"/>
              <a:gd name="connsiteY99" fmla="*/ 1492727 h 7005996"/>
              <a:gd name="connsiteX100" fmla="*/ 4323432 w 6863196"/>
              <a:gd name="connsiteY100" fmla="*/ 1503377 h 7005996"/>
              <a:gd name="connsiteX101" fmla="*/ 4621921 w 6863196"/>
              <a:gd name="connsiteY101" fmla="*/ 1247463 h 7005996"/>
              <a:gd name="connsiteX102" fmla="*/ 4675987 w 6863196"/>
              <a:gd name="connsiteY102" fmla="*/ 1172843 h 7005996"/>
              <a:gd name="connsiteX103" fmla="*/ 4718723 w 6863196"/>
              <a:gd name="connsiteY103" fmla="*/ 1172682 h 7005996"/>
              <a:gd name="connsiteX104" fmla="*/ 4728998 w 6863196"/>
              <a:gd name="connsiteY104" fmla="*/ 1182958 h 7005996"/>
              <a:gd name="connsiteX105" fmla="*/ 4739519 w 6863196"/>
              <a:gd name="connsiteY105" fmla="*/ 1172437 h 7005996"/>
              <a:gd name="connsiteX106" fmla="*/ 4686102 w 6863196"/>
              <a:gd name="connsiteY106" fmla="*/ 1225854 h 7005996"/>
              <a:gd name="connsiteX107" fmla="*/ 4654340 w 6863196"/>
              <a:gd name="connsiteY107" fmla="*/ 1300925 h 7005996"/>
              <a:gd name="connsiteX108" fmla="*/ 4643696 w 6863196"/>
              <a:gd name="connsiteY108" fmla="*/ 1290282 h 7005996"/>
              <a:gd name="connsiteX109" fmla="*/ 4622249 w 6863196"/>
              <a:gd name="connsiteY109" fmla="*/ 1311729 h 7005996"/>
              <a:gd name="connsiteX110" fmla="*/ 4632893 w 6863196"/>
              <a:gd name="connsiteY110" fmla="*/ 1322372 h 7005996"/>
              <a:gd name="connsiteX111" fmla="*/ 4622371 w 6863196"/>
              <a:gd name="connsiteY111" fmla="*/ 1332894 h 7005996"/>
              <a:gd name="connsiteX112" fmla="*/ 4537152 w 6863196"/>
              <a:gd name="connsiteY112" fmla="*/ 1525281 h 7005996"/>
              <a:gd name="connsiteX113" fmla="*/ 4472724 w 6863196"/>
              <a:gd name="connsiteY113" fmla="*/ 1567687 h 7005996"/>
              <a:gd name="connsiteX114" fmla="*/ 4494255 w 6863196"/>
              <a:gd name="connsiteY114" fmla="*/ 1631304 h 7005996"/>
              <a:gd name="connsiteX115" fmla="*/ 4472807 w 6863196"/>
              <a:gd name="connsiteY115" fmla="*/ 1652752 h 7005996"/>
              <a:gd name="connsiteX116" fmla="*/ 4451566 w 6863196"/>
              <a:gd name="connsiteY116" fmla="*/ 1717301 h 7005996"/>
              <a:gd name="connsiteX117" fmla="*/ 4451404 w 6863196"/>
              <a:gd name="connsiteY117" fmla="*/ 1760035 h 7005996"/>
              <a:gd name="connsiteX118" fmla="*/ 4430041 w 6863196"/>
              <a:gd name="connsiteY118" fmla="*/ 1866548 h 7005996"/>
              <a:gd name="connsiteX119" fmla="*/ 4434568 w 6863196"/>
              <a:gd name="connsiteY119" fmla="*/ 1871279 h 7005996"/>
              <a:gd name="connsiteX120" fmla="*/ 4443835 w 6863196"/>
              <a:gd name="connsiteY120" fmla="*/ 1848369 h 7005996"/>
              <a:gd name="connsiteX121" fmla="*/ 4462420 w 6863196"/>
              <a:gd name="connsiteY121" fmla="*/ 1830502 h 7005996"/>
              <a:gd name="connsiteX122" fmla="*/ 4499281 w 6863196"/>
              <a:gd name="connsiteY122" fmla="*/ 1816507 h 7005996"/>
              <a:gd name="connsiteX123" fmla="*/ 4583603 w 6863196"/>
              <a:gd name="connsiteY123" fmla="*/ 1874381 h 7005996"/>
              <a:gd name="connsiteX124" fmla="*/ 4597630 w 6863196"/>
              <a:gd name="connsiteY124" fmla="*/ 1931536 h 7005996"/>
              <a:gd name="connsiteX125" fmla="*/ 4623591 w 6863196"/>
              <a:gd name="connsiteY125" fmla="*/ 1932499 h 7005996"/>
              <a:gd name="connsiteX126" fmla="*/ 4718501 w 6863196"/>
              <a:gd name="connsiteY126" fmla="*/ 1855550 h 7005996"/>
              <a:gd name="connsiteX127" fmla="*/ 4707253 w 6863196"/>
              <a:gd name="connsiteY127" fmla="*/ 1951945 h 7005996"/>
              <a:gd name="connsiteX128" fmla="*/ 4973983 w 6863196"/>
              <a:gd name="connsiteY128" fmla="*/ 1983964 h 7005996"/>
              <a:gd name="connsiteX129" fmla="*/ 5049382 w 6863196"/>
              <a:gd name="connsiteY129" fmla="*/ 2016468 h 7005996"/>
              <a:gd name="connsiteX130" fmla="*/ 5209516 w 6863196"/>
              <a:gd name="connsiteY130" fmla="*/ 2047915 h 7005996"/>
              <a:gd name="connsiteX131" fmla="*/ 5288202 w 6863196"/>
              <a:gd name="connsiteY131" fmla="*/ 2151085 h 7005996"/>
              <a:gd name="connsiteX132" fmla="*/ 5295874 w 6863196"/>
              <a:gd name="connsiteY132" fmla="*/ 2165551 h 7005996"/>
              <a:gd name="connsiteX133" fmla="*/ 5313289 w 6863196"/>
              <a:gd name="connsiteY133" fmla="*/ 2166281 h 7005996"/>
              <a:gd name="connsiteX134" fmla="*/ 5428453 w 6863196"/>
              <a:gd name="connsiteY134" fmla="*/ 2222894 h 7005996"/>
              <a:gd name="connsiteX135" fmla="*/ 5564660 w 6863196"/>
              <a:gd name="connsiteY135" fmla="*/ 2056283 h 7005996"/>
              <a:gd name="connsiteX136" fmla="*/ 5700866 w 6863196"/>
              <a:gd name="connsiteY136" fmla="*/ 1890710 h 7005996"/>
              <a:gd name="connsiteX137" fmla="*/ 5594419 w 6863196"/>
              <a:gd name="connsiteY137" fmla="*/ 2177219 h 7005996"/>
              <a:gd name="connsiteX138" fmla="*/ 5564660 w 6863196"/>
              <a:gd name="connsiteY138" fmla="*/ 2268050 h 7005996"/>
              <a:gd name="connsiteX139" fmla="*/ 5519448 w 6863196"/>
              <a:gd name="connsiteY139" fmla="*/ 2313206 h 7005996"/>
              <a:gd name="connsiteX140" fmla="*/ 5564660 w 6863196"/>
              <a:gd name="connsiteY140" fmla="*/ 2569610 h 7005996"/>
              <a:gd name="connsiteX141" fmla="*/ 5549780 w 6863196"/>
              <a:gd name="connsiteY141" fmla="*/ 2644870 h 7005996"/>
              <a:gd name="connsiteX142" fmla="*/ 5579539 w 6863196"/>
              <a:gd name="connsiteY142" fmla="*/ 2735702 h 7005996"/>
              <a:gd name="connsiteX143" fmla="*/ 5715745 w 6863196"/>
              <a:gd name="connsiteY143" fmla="*/ 2916846 h 7005996"/>
              <a:gd name="connsiteX144" fmla="*/ 5821048 w 6863196"/>
              <a:gd name="connsiteY144" fmla="*/ 2916846 h 7005996"/>
              <a:gd name="connsiteX145" fmla="*/ 5926922 w 6863196"/>
              <a:gd name="connsiteY145" fmla="*/ 2856637 h 7005996"/>
              <a:gd name="connsiteX146" fmla="*/ 5972133 w 6863196"/>
              <a:gd name="connsiteY146" fmla="*/ 2795910 h 7005996"/>
              <a:gd name="connsiteX147" fmla="*/ 5942374 w 6863196"/>
              <a:gd name="connsiteY147" fmla="*/ 2781377 h 7005996"/>
              <a:gd name="connsiteX148" fmla="*/ 6108340 w 6863196"/>
              <a:gd name="connsiteY148" fmla="*/ 2569610 h 7005996"/>
              <a:gd name="connsiteX149" fmla="*/ 6183882 w 6863196"/>
              <a:gd name="connsiteY149" fmla="*/ 2479298 h 7005996"/>
              <a:gd name="connsiteX150" fmla="*/ 6198762 w 6863196"/>
              <a:gd name="connsiteY150" fmla="*/ 2434142 h 7005996"/>
              <a:gd name="connsiteX151" fmla="*/ 6274305 w 6863196"/>
              <a:gd name="connsiteY151" fmla="*/ 2373933 h 7005996"/>
              <a:gd name="connsiteX152" fmla="*/ 6320089 w 6863196"/>
              <a:gd name="connsiteY152" fmla="*/ 2328258 h 7005996"/>
              <a:gd name="connsiteX153" fmla="*/ 6349848 w 6863196"/>
              <a:gd name="connsiteY153" fmla="*/ 2313206 h 7005996"/>
              <a:gd name="connsiteX154" fmla="*/ 6365300 w 6863196"/>
              <a:gd name="connsiteY154" fmla="*/ 2283102 h 7005996"/>
              <a:gd name="connsiteX155" fmla="*/ 6380180 w 6863196"/>
              <a:gd name="connsiteY155" fmla="*/ 2283102 h 7005996"/>
              <a:gd name="connsiteX156" fmla="*/ 6425391 w 6863196"/>
              <a:gd name="connsiteY156" fmla="*/ 2222894 h 7005996"/>
              <a:gd name="connsiteX157" fmla="*/ 6455150 w 6863196"/>
              <a:gd name="connsiteY157" fmla="*/ 2207323 h 7005996"/>
              <a:gd name="connsiteX158" fmla="*/ 6652020 w 6863196"/>
              <a:gd name="connsiteY158" fmla="*/ 1996075 h 7005996"/>
              <a:gd name="connsiteX159" fmla="*/ 6652020 w 6863196"/>
              <a:gd name="connsiteY159" fmla="*/ 1965971 h 7005996"/>
              <a:gd name="connsiteX160" fmla="*/ 6712110 w 6863196"/>
              <a:gd name="connsiteY160" fmla="*/ 1905762 h 7005996"/>
              <a:gd name="connsiteX161" fmla="*/ 6787653 w 6863196"/>
              <a:gd name="connsiteY161" fmla="*/ 1905762 h 7005996"/>
              <a:gd name="connsiteX162" fmla="*/ 6832865 w 6863196"/>
              <a:gd name="connsiteY162" fmla="*/ 1950919 h 7005996"/>
              <a:gd name="connsiteX163" fmla="*/ 6787653 w 6863196"/>
              <a:gd name="connsiteY163" fmla="*/ 2071854 h 7005996"/>
              <a:gd name="connsiteX164" fmla="*/ 6772774 w 6863196"/>
              <a:gd name="connsiteY164" fmla="*/ 2101958 h 7005996"/>
              <a:gd name="connsiteX165" fmla="*/ 6712111 w 6863196"/>
              <a:gd name="connsiteY165" fmla="*/ 2132062 h 7005996"/>
              <a:gd name="connsiteX166" fmla="*/ 6561597 w 6863196"/>
              <a:gd name="connsiteY166" fmla="*/ 2222894 h 7005996"/>
              <a:gd name="connsiteX167" fmla="*/ 6530693 w 6863196"/>
              <a:gd name="connsiteY167" fmla="*/ 2268050 h 7005996"/>
              <a:gd name="connsiteX168" fmla="*/ 6500361 w 6863196"/>
              <a:gd name="connsiteY168" fmla="*/ 2268050 h 7005996"/>
              <a:gd name="connsiteX169" fmla="*/ 6500361 w 6863196"/>
              <a:gd name="connsiteY169" fmla="*/ 2313206 h 7005996"/>
              <a:gd name="connsiteX170" fmla="*/ 6229094 w 6863196"/>
              <a:gd name="connsiteY170" fmla="*/ 2584662 h 7005996"/>
              <a:gd name="connsiteX171" fmla="*/ 6213642 w 6863196"/>
              <a:gd name="connsiteY171" fmla="*/ 2644870 h 7005996"/>
              <a:gd name="connsiteX172" fmla="*/ 6168431 w 6863196"/>
              <a:gd name="connsiteY172" fmla="*/ 2735702 h 7005996"/>
              <a:gd name="connsiteX173" fmla="*/ 6093460 w 6863196"/>
              <a:gd name="connsiteY173" fmla="*/ 2826014 h 7005996"/>
              <a:gd name="connsiteX174" fmla="*/ 6017345 w 6863196"/>
              <a:gd name="connsiteY174" fmla="*/ 2886742 h 7005996"/>
              <a:gd name="connsiteX175" fmla="*/ 5972133 w 6863196"/>
              <a:gd name="connsiteY175" fmla="*/ 2946950 h 7005996"/>
              <a:gd name="connsiteX176" fmla="*/ 5866259 w 6863196"/>
              <a:gd name="connsiteY176" fmla="*/ 3067885 h 7005996"/>
              <a:gd name="connsiteX177" fmla="*/ 5851379 w 6863196"/>
              <a:gd name="connsiteY177" fmla="*/ 3097990 h 7005996"/>
              <a:gd name="connsiteX178" fmla="*/ 5821048 w 6863196"/>
              <a:gd name="connsiteY178" fmla="*/ 3218925 h 7005996"/>
              <a:gd name="connsiteX179" fmla="*/ 5791288 w 6863196"/>
              <a:gd name="connsiteY179" fmla="*/ 3249029 h 7005996"/>
              <a:gd name="connsiteX180" fmla="*/ 5942374 w 6863196"/>
              <a:gd name="connsiteY180" fmla="*/ 3354394 h 7005996"/>
              <a:gd name="connsiteX181" fmla="*/ 6078008 w 6863196"/>
              <a:gd name="connsiteY181" fmla="*/ 3384498 h 7005996"/>
              <a:gd name="connsiteX182" fmla="*/ 6138671 w 6863196"/>
              <a:gd name="connsiteY182" fmla="*/ 3400069 h 7005996"/>
              <a:gd name="connsiteX183" fmla="*/ 6153551 w 6863196"/>
              <a:gd name="connsiteY183" fmla="*/ 3414602 h 7005996"/>
              <a:gd name="connsiteX184" fmla="*/ 6183882 w 6863196"/>
              <a:gd name="connsiteY184" fmla="*/ 3414602 h 7005996"/>
              <a:gd name="connsiteX185" fmla="*/ 6229094 w 6863196"/>
              <a:gd name="connsiteY185" fmla="*/ 3444706 h 7005996"/>
              <a:gd name="connsiteX186" fmla="*/ 6334968 w 6863196"/>
              <a:gd name="connsiteY186" fmla="*/ 3565641 h 7005996"/>
              <a:gd name="connsiteX187" fmla="*/ 6726990 w 6863196"/>
              <a:gd name="connsiteY187" fmla="*/ 3595746 h 7005996"/>
              <a:gd name="connsiteX188" fmla="*/ 6817985 w 6863196"/>
              <a:gd name="connsiteY188" fmla="*/ 3581212 h 7005996"/>
              <a:gd name="connsiteX189" fmla="*/ 6848317 w 6863196"/>
              <a:gd name="connsiteY189" fmla="*/ 3611317 h 7005996"/>
              <a:gd name="connsiteX190" fmla="*/ 6848317 w 6863196"/>
              <a:gd name="connsiteY190" fmla="*/ 3625849 h 7005996"/>
              <a:gd name="connsiteX191" fmla="*/ 6863196 w 6863196"/>
              <a:gd name="connsiteY191" fmla="*/ 3625849 h 7005996"/>
              <a:gd name="connsiteX192" fmla="*/ 6787653 w 6863196"/>
              <a:gd name="connsiteY192" fmla="*/ 3625849 h 7005996"/>
              <a:gd name="connsiteX193" fmla="*/ 6712110 w 6863196"/>
              <a:gd name="connsiteY193" fmla="*/ 3656473 h 7005996"/>
              <a:gd name="connsiteX194" fmla="*/ 6712111 w 6863196"/>
              <a:gd name="connsiteY194" fmla="*/ 3641421 h 7005996"/>
              <a:gd name="connsiteX195" fmla="*/ 6681779 w 6863196"/>
              <a:gd name="connsiteY195" fmla="*/ 3641421 h 7005996"/>
              <a:gd name="connsiteX196" fmla="*/ 6681779 w 6863196"/>
              <a:gd name="connsiteY196" fmla="*/ 3656473 h 7005996"/>
              <a:gd name="connsiteX197" fmla="*/ 6666899 w 6863196"/>
              <a:gd name="connsiteY197" fmla="*/ 3656473 h 7005996"/>
              <a:gd name="connsiteX198" fmla="*/ 6470602 w 6863196"/>
              <a:gd name="connsiteY198" fmla="*/ 3732252 h 7005996"/>
              <a:gd name="connsiteX199" fmla="*/ 6395059 w 6863196"/>
              <a:gd name="connsiteY199" fmla="*/ 3716681 h 7005996"/>
              <a:gd name="connsiteX200" fmla="*/ 6365300 w 6863196"/>
              <a:gd name="connsiteY200" fmla="*/ 3776889 h 7005996"/>
              <a:gd name="connsiteX201" fmla="*/ 6334968 w 6863196"/>
              <a:gd name="connsiteY201" fmla="*/ 3776889 h 7005996"/>
              <a:gd name="connsiteX202" fmla="*/ 6274305 w 6863196"/>
              <a:gd name="connsiteY202" fmla="*/ 3807512 h 7005996"/>
              <a:gd name="connsiteX203" fmla="*/ 6243973 w 6863196"/>
              <a:gd name="connsiteY203" fmla="*/ 3837616 h 7005996"/>
              <a:gd name="connsiteX204" fmla="*/ 6153551 w 6863196"/>
              <a:gd name="connsiteY204" fmla="*/ 3897825 h 7005996"/>
              <a:gd name="connsiteX205" fmla="*/ 6229094 w 6863196"/>
              <a:gd name="connsiteY205" fmla="*/ 4003708 h 7005996"/>
              <a:gd name="connsiteX206" fmla="*/ 6243973 w 6863196"/>
              <a:gd name="connsiteY206" fmla="*/ 3988656 h 7005996"/>
              <a:gd name="connsiteX207" fmla="*/ 6213642 w 6863196"/>
              <a:gd name="connsiteY207" fmla="*/ 4048864 h 7005996"/>
              <a:gd name="connsiteX208" fmla="*/ 6365300 w 6863196"/>
              <a:gd name="connsiteY208" fmla="*/ 4094021 h 7005996"/>
              <a:gd name="connsiteX209" fmla="*/ 6289185 w 6863196"/>
              <a:gd name="connsiteY209" fmla="*/ 4154229 h 7005996"/>
              <a:gd name="connsiteX210" fmla="*/ 6455150 w 6863196"/>
              <a:gd name="connsiteY210" fmla="*/ 4365476 h 7005996"/>
              <a:gd name="connsiteX211" fmla="*/ 6485482 w 6863196"/>
              <a:gd name="connsiteY211" fmla="*/ 4441775 h 7005996"/>
              <a:gd name="connsiteX212" fmla="*/ 6576477 w 6863196"/>
              <a:gd name="connsiteY212" fmla="*/ 4577243 h 7005996"/>
              <a:gd name="connsiteX213" fmla="*/ 6530693 w 6863196"/>
              <a:gd name="connsiteY213" fmla="*/ 4833647 h 7005996"/>
              <a:gd name="connsiteX214" fmla="*/ 6561598 w 6863196"/>
              <a:gd name="connsiteY214" fmla="*/ 4954583 h 7005996"/>
              <a:gd name="connsiteX215" fmla="*/ 6500361 w 6863196"/>
              <a:gd name="connsiteY215" fmla="*/ 5075518 h 7005996"/>
              <a:gd name="connsiteX216" fmla="*/ 6440270 w 6863196"/>
              <a:gd name="connsiteY216" fmla="*/ 5090570 h 7005996"/>
              <a:gd name="connsiteX217" fmla="*/ 6274305 w 6863196"/>
              <a:gd name="connsiteY217" fmla="*/ 5105622 h 7005996"/>
              <a:gd name="connsiteX218" fmla="*/ 6138671 w 6863196"/>
              <a:gd name="connsiteY218" fmla="*/ 5135727 h 7005996"/>
              <a:gd name="connsiteX219" fmla="*/ 6062556 w 6863196"/>
              <a:gd name="connsiteY219" fmla="*/ 5135727 h 7005996"/>
              <a:gd name="connsiteX220" fmla="*/ 5957254 w 6863196"/>
              <a:gd name="connsiteY220" fmla="*/ 5151298 h 7005996"/>
              <a:gd name="connsiteX221" fmla="*/ 5881712 w 6863196"/>
              <a:gd name="connsiteY221" fmla="*/ 5151298 h 7005996"/>
              <a:gd name="connsiteX222" fmla="*/ 5821048 w 6863196"/>
              <a:gd name="connsiteY222" fmla="*/ 5286766 h 7005996"/>
              <a:gd name="connsiteX223" fmla="*/ 5821048 w 6863196"/>
              <a:gd name="connsiteY223" fmla="*/ 5151298 h 7005996"/>
              <a:gd name="connsiteX224" fmla="*/ 5791288 w 6863196"/>
              <a:gd name="connsiteY224" fmla="*/ 5135727 h 7005996"/>
              <a:gd name="connsiteX225" fmla="*/ 5655654 w 6863196"/>
              <a:gd name="connsiteY225" fmla="*/ 5196454 h 7005996"/>
              <a:gd name="connsiteX226" fmla="*/ 5624750 w 6863196"/>
              <a:gd name="connsiteY226" fmla="*/ 5211506 h 7005996"/>
              <a:gd name="connsiteX227" fmla="*/ 5594419 w 6863196"/>
              <a:gd name="connsiteY227" fmla="*/ 5181402 h 7005996"/>
              <a:gd name="connsiteX228" fmla="*/ 5519448 w 6863196"/>
              <a:gd name="connsiteY228" fmla="*/ 5272233 h 7005996"/>
              <a:gd name="connsiteX229" fmla="*/ 5489117 w 6863196"/>
              <a:gd name="connsiteY229" fmla="*/ 5316870 h 7005996"/>
              <a:gd name="connsiteX230" fmla="*/ 5459357 w 6863196"/>
              <a:gd name="connsiteY230" fmla="*/ 5362546 h 7005996"/>
              <a:gd name="connsiteX231" fmla="*/ 5398122 w 6863196"/>
              <a:gd name="connsiteY231" fmla="*/ 5573274 h 7005996"/>
              <a:gd name="connsiteX232" fmla="*/ 5352911 w 6863196"/>
              <a:gd name="connsiteY232" fmla="*/ 5694210 h 7005996"/>
              <a:gd name="connsiteX233" fmla="*/ 5307699 w 6863196"/>
              <a:gd name="connsiteY233" fmla="*/ 5467910 h 7005996"/>
              <a:gd name="connsiteX234" fmla="*/ 5186945 w 6863196"/>
              <a:gd name="connsiteY234" fmla="*/ 5513585 h 7005996"/>
              <a:gd name="connsiteX235" fmla="*/ 5232729 w 6863196"/>
              <a:gd name="connsiteY235" fmla="*/ 5769989 h 7005996"/>
              <a:gd name="connsiteX236" fmla="*/ 5263060 w 6863196"/>
              <a:gd name="connsiteY236" fmla="*/ 5875354 h 7005996"/>
              <a:gd name="connsiteX237" fmla="*/ 5307699 w 6863196"/>
              <a:gd name="connsiteY237" fmla="*/ 5981237 h 7005996"/>
              <a:gd name="connsiteX238" fmla="*/ 5263060 w 6863196"/>
              <a:gd name="connsiteY238" fmla="*/ 6056497 h 7005996"/>
              <a:gd name="connsiteX239" fmla="*/ 5217849 w 6863196"/>
              <a:gd name="connsiteY239" fmla="*/ 6041445 h 7005996"/>
              <a:gd name="connsiteX240" fmla="*/ 5111402 w 6863196"/>
              <a:gd name="connsiteY240" fmla="*/ 5679158 h 7005996"/>
              <a:gd name="connsiteX241" fmla="*/ 4915105 w 6863196"/>
              <a:gd name="connsiteY241" fmla="*/ 5664106 h 7005996"/>
              <a:gd name="connsiteX242" fmla="*/ 5020980 w 6863196"/>
              <a:gd name="connsiteY242" fmla="*/ 6116706 h 7005996"/>
              <a:gd name="connsiteX243" fmla="*/ 5066191 w 6863196"/>
              <a:gd name="connsiteY243" fmla="*/ 6267745 h 7005996"/>
              <a:gd name="connsiteX244" fmla="*/ 5036432 w 6863196"/>
              <a:gd name="connsiteY244" fmla="*/ 6358577 h 7005996"/>
              <a:gd name="connsiteX245" fmla="*/ 5096523 w 6863196"/>
              <a:gd name="connsiteY245" fmla="*/ 6569825 h 7005996"/>
              <a:gd name="connsiteX246" fmla="*/ 5096523 w 6863196"/>
              <a:gd name="connsiteY246" fmla="*/ 6735397 h 7005996"/>
              <a:gd name="connsiteX247" fmla="*/ 5141734 w 6863196"/>
              <a:gd name="connsiteY247" fmla="*/ 6796125 h 7005996"/>
              <a:gd name="connsiteX248" fmla="*/ 5111403 w 6863196"/>
              <a:gd name="connsiteY248" fmla="*/ 6992320 h 7005996"/>
              <a:gd name="connsiteX249" fmla="*/ 5036432 w 6863196"/>
              <a:gd name="connsiteY249" fmla="*/ 6735397 h 7005996"/>
              <a:gd name="connsiteX250" fmla="*/ 5006100 w 6863196"/>
              <a:gd name="connsiteY250" fmla="*/ 6569825 h 7005996"/>
              <a:gd name="connsiteX251" fmla="*/ 4975768 w 6863196"/>
              <a:gd name="connsiteY251" fmla="*/ 6479512 h 7005996"/>
              <a:gd name="connsiteX252" fmla="*/ 4975768 w 6863196"/>
              <a:gd name="connsiteY252" fmla="*/ 6358577 h 7005996"/>
              <a:gd name="connsiteX253" fmla="*/ 4930557 w 6863196"/>
              <a:gd name="connsiteY253" fmla="*/ 6177433 h 7005996"/>
              <a:gd name="connsiteX254" fmla="*/ 4900225 w 6863196"/>
              <a:gd name="connsiteY254" fmla="*/ 6177433 h 7005996"/>
              <a:gd name="connsiteX255" fmla="*/ 4930557 w 6863196"/>
              <a:gd name="connsiteY255" fmla="*/ 6162381 h 7005996"/>
              <a:gd name="connsiteX256" fmla="*/ 4824683 w 6863196"/>
              <a:gd name="connsiteY256" fmla="*/ 5921029 h 7005996"/>
              <a:gd name="connsiteX257" fmla="*/ 4779471 w 6863196"/>
              <a:gd name="connsiteY257" fmla="*/ 5921029 h 7005996"/>
              <a:gd name="connsiteX258" fmla="*/ 4764019 w 6863196"/>
              <a:gd name="connsiteY258" fmla="*/ 5800093 h 7005996"/>
              <a:gd name="connsiteX259" fmla="*/ 4689049 w 6863196"/>
              <a:gd name="connsiteY259" fmla="*/ 5724314 h 7005996"/>
              <a:gd name="connsiteX260" fmla="*/ 4643837 w 6863196"/>
              <a:gd name="connsiteY260" fmla="*/ 5603379 h 7005996"/>
              <a:gd name="connsiteX261" fmla="*/ 4628385 w 6863196"/>
              <a:gd name="connsiteY261" fmla="*/ 5543689 h 7005996"/>
              <a:gd name="connsiteX262" fmla="*/ 4492179 w 6863196"/>
              <a:gd name="connsiteY262" fmla="*/ 5618950 h 7005996"/>
              <a:gd name="connsiteX263" fmla="*/ 4432088 w 6863196"/>
              <a:gd name="connsiteY263" fmla="*/ 5724314 h 7005996"/>
              <a:gd name="connsiteX264" fmla="*/ 4266123 w 6863196"/>
              <a:gd name="connsiteY264" fmla="*/ 6102174 h 7005996"/>
              <a:gd name="connsiteX265" fmla="*/ 4205460 w 6863196"/>
              <a:gd name="connsiteY265" fmla="*/ 5890925 h 7005996"/>
              <a:gd name="connsiteX266" fmla="*/ 4266123 w 6863196"/>
              <a:gd name="connsiteY266" fmla="*/ 5679158 h 7005996"/>
              <a:gd name="connsiteX267" fmla="*/ 4235791 w 6863196"/>
              <a:gd name="connsiteY267" fmla="*/ 5603379 h 7005996"/>
              <a:gd name="connsiteX268" fmla="*/ 4205460 w 6863196"/>
              <a:gd name="connsiteY268" fmla="*/ 5543689 h 7005996"/>
              <a:gd name="connsiteX269" fmla="*/ 4160249 w 6863196"/>
              <a:gd name="connsiteY269" fmla="*/ 5332441 h 7005996"/>
              <a:gd name="connsiteX270" fmla="*/ 4084706 w 6863196"/>
              <a:gd name="connsiteY270" fmla="*/ 5256662 h 7005996"/>
              <a:gd name="connsiteX271" fmla="*/ 3994283 w 6863196"/>
              <a:gd name="connsiteY271" fmla="*/ 5241610 h 7005996"/>
              <a:gd name="connsiteX272" fmla="*/ 3903860 w 6863196"/>
              <a:gd name="connsiteY272" fmla="*/ 5226558 h 7005996"/>
              <a:gd name="connsiteX273" fmla="*/ 3843197 w 6863196"/>
              <a:gd name="connsiteY273" fmla="*/ 5211506 h 7005996"/>
              <a:gd name="connsiteX274" fmla="*/ 3752775 w 6863196"/>
              <a:gd name="connsiteY274" fmla="*/ 5181402 h 7005996"/>
              <a:gd name="connsiteX275" fmla="*/ 3707563 w 6863196"/>
              <a:gd name="connsiteY275" fmla="*/ 5151298 h 7005996"/>
              <a:gd name="connsiteX276" fmla="*/ 3661780 w 6863196"/>
              <a:gd name="connsiteY276" fmla="*/ 5105622 h 7005996"/>
              <a:gd name="connsiteX277" fmla="*/ 3616569 w 6863196"/>
              <a:gd name="connsiteY277" fmla="*/ 5030362 h 7005996"/>
              <a:gd name="connsiteX278" fmla="*/ 3541598 w 6863196"/>
              <a:gd name="connsiteY278" fmla="*/ 4879323 h 7005996"/>
              <a:gd name="connsiteX279" fmla="*/ 3496387 w 6863196"/>
              <a:gd name="connsiteY279" fmla="*/ 4819114 h 7005996"/>
              <a:gd name="connsiteX280" fmla="*/ 3435151 w 6863196"/>
              <a:gd name="connsiteY280" fmla="*/ 4773958 h 7005996"/>
              <a:gd name="connsiteX281" fmla="*/ 3269758 w 6863196"/>
              <a:gd name="connsiteY281" fmla="*/ 4789010 h 7005996"/>
              <a:gd name="connsiteX282" fmla="*/ 3073461 w 6863196"/>
              <a:gd name="connsiteY282" fmla="*/ 4864271 h 7005996"/>
              <a:gd name="connsiteX283" fmla="*/ 3012798 w 6863196"/>
              <a:gd name="connsiteY283" fmla="*/ 4924479 h 7005996"/>
              <a:gd name="connsiteX284" fmla="*/ 2922375 w 6863196"/>
              <a:gd name="connsiteY284" fmla="*/ 4984687 h 7005996"/>
              <a:gd name="connsiteX285" fmla="*/ 2906923 w 6863196"/>
              <a:gd name="connsiteY285" fmla="*/ 4970154 h 7005996"/>
              <a:gd name="connsiteX286" fmla="*/ 2879766 w 6863196"/>
              <a:gd name="connsiteY286" fmla="*/ 4976991 h 7005996"/>
              <a:gd name="connsiteX287" fmla="*/ 2852748 w 6863196"/>
              <a:gd name="connsiteY287" fmla="*/ 4980476 h 7005996"/>
              <a:gd name="connsiteX288" fmla="*/ 2841540 w 6863196"/>
              <a:gd name="connsiteY288" fmla="*/ 5001382 h 7005996"/>
              <a:gd name="connsiteX289" fmla="*/ 2839123 w 6863196"/>
              <a:gd name="connsiteY289" fmla="*/ 5037828 h 7005996"/>
              <a:gd name="connsiteX290" fmla="*/ 2774984 w 6863196"/>
              <a:gd name="connsiteY290" fmla="*/ 5208400 h 7005996"/>
              <a:gd name="connsiteX291" fmla="*/ 2785796 w 6863196"/>
              <a:gd name="connsiteY291" fmla="*/ 5326044 h 7005996"/>
              <a:gd name="connsiteX292" fmla="*/ 2646909 w 6863196"/>
              <a:gd name="connsiteY292" fmla="*/ 5442911 h 7005996"/>
              <a:gd name="connsiteX293" fmla="*/ 2647025 w 6863196"/>
              <a:gd name="connsiteY293" fmla="*/ 5251213 h 7005996"/>
              <a:gd name="connsiteX294" fmla="*/ 2721723 w 6863196"/>
              <a:gd name="connsiteY294" fmla="*/ 5069347 h 7005996"/>
              <a:gd name="connsiteX295" fmla="*/ 2748295 w 6863196"/>
              <a:gd name="connsiteY295" fmla="*/ 5035458 h 7005996"/>
              <a:gd name="connsiteX296" fmla="*/ 2758940 w 6863196"/>
              <a:gd name="connsiteY296" fmla="*/ 5013800 h 7005996"/>
              <a:gd name="connsiteX297" fmla="*/ 2736898 w 6863196"/>
              <a:gd name="connsiteY297" fmla="*/ 5018603 h 7005996"/>
              <a:gd name="connsiteX298" fmla="*/ 2620203 w 6863196"/>
              <a:gd name="connsiteY298" fmla="*/ 5090570 h 7005996"/>
              <a:gd name="connsiteX299" fmla="*/ 2544661 w 6863196"/>
              <a:gd name="connsiteY299" fmla="*/ 5181402 h 7005996"/>
              <a:gd name="connsiteX300" fmla="*/ 2363816 w 6863196"/>
              <a:gd name="connsiteY300" fmla="*/ 5165831 h 7005996"/>
              <a:gd name="connsiteX301" fmla="*/ 2499449 w 6863196"/>
              <a:gd name="connsiteY301" fmla="*/ 5030362 h 7005996"/>
              <a:gd name="connsiteX302" fmla="*/ 2680867 w 6863196"/>
              <a:gd name="connsiteY302" fmla="*/ 4954583 h 7005996"/>
              <a:gd name="connsiteX303" fmla="*/ 2763635 w 6863196"/>
              <a:gd name="connsiteY303" fmla="*/ 4935768 h 7005996"/>
              <a:gd name="connsiteX304" fmla="*/ 2792478 w 6863196"/>
              <a:gd name="connsiteY304" fmla="*/ 4921418 h 7005996"/>
              <a:gd name="connsiteX305" fmla="*/ 2796505 w 6863196"/>
              <a:gd name="connsiteY305" fmla="*/ 4909419 h 7005996"/>
              <a:gd name="connsiteX306" fmla="*/ 2807026 w 6863196"/>
              <a:gd name="connsiteY306" fmla="*/ 4898897 h 7005996"/>
              <a:gd name="connsiteX307" fmla="*/ 2839034 w 6863196"/>
              <a:gd name="connsiteY307" fmla="*/ 4803027 h 7005996"/>
              <a:gd name="connsiteX308" fmla="*/ 2860964 w 6863196"/>
              <a:gd name="connsiteY308" fmla="*/ 4653376 h 7005996"/>
              <a:gd name="connsiteX309" fmla="*/ 2860432 w 6863196"/>
              <a:gd name="connsiteY309" fmla="*/ 4482881 h 7005996"/>
              <a:gd name="connsiteX310" fmla="*/ 2818141 w 6863196"/>
              <a:gd name="connsiteY310" fmla="*/ 4418737 h 7005996"/>
              <a:gd name="connsiteX311" fmla="*/ 2822429 w 6863196"/>
              <a:gd name="connsiteY311" fmla="*/ 4394964 h 7005996"/>
              <a:gd name="connsiteX312" fmla="*/ 2816501 w 6863196"/>
              <a:gd name="connsiteY312" fmla="*/ 4395581 h 7005996"/>
              <a:gd name="connsiteX313" fmla="*/ 2725506 w 6863196"/>
              <a:gd name="connsiteY313" fmla="*/ 4381048 h 7005996"/>
              <a:gd name="connsiteX314" fmla="*/ 2710626 w 6863196"/>
              <a:gd name="connsiteY314" fmla="*/ 4395581 h 7005996"/>
              <a:gd name="connsiteX315" fmla="*/ 2665415 w 6863196"/>
              <a:gd name="connsiteY315" fmla="*/ 4395581 h 7005996"/>
              <a:gd name="connsiteX316" fmla="*/ 2595666 w 6863196"/>
              <a:gd name="connsiteY316" fmla="*/ 4409271 h 7005996"/>
              <a:gd name="connsiteX317" fmla="*/ 2563332 w 6863196"/>
              <a:gd name="connsiteY317" fmla="*/ 4414509 h 7005996"/>
              <a:gd name="connsiteX318" fmla="*/ 2518913 w 6863196"/>
              <a:gd name="connsiteY318" fmla="*/ 4461055 h 7005996"/>
              <a:gd name="connsiteX319" fmla="*/ 2422357 w 6863196"/>
              <a:gd name="connsiteY319" fmla="*/ 4578165 h 7005996"/>
              <a:gd name="connsiteX320" fmla="*/ 2347737 w 6863196"/>
              <a:gd name="connsiteY320" fmla="*/ 4632232 h 7005996"/>
              <a:gd name="connsiteX321" fmla="*/ 2347492 w 6863196"/>
              <a:gd name="connsiteY321" fmla="*/ 4653030 h 7005996"/>
              <a:gd name="connsiteX322" fmla="*/ 2315523 w 6863196"/>
              <a:gd name="connsiteY322" fmla="*/ 4684999 h 7005996"/>
              <a:gd name="connsiteX323" fmla="*/ 2220066 w 6863196"/>
              <a:gd name="connsiteY323" fmla="*/ 4803210 h 7005996"/>
              <a:gd name="connsiteX324" fmla="*/ 2166649 w 6863196"/>
              <a:gd name="connsiteY324" fmla="*/ 4856627 h 7005996"/>
              <a:gd name="connsiteX325" fmla="*/ 2060059 w 6863196"/>
              <a:gd name="connsiteY325" fmla="*/ 5005791 h 7005996"/>
              <a:gd name="connsiteX326" fmla="*/ 2070420 w 6863196"/>
              <a:gd name="connsiteY326" fmla="*/ 5038004 h 7005996"/>
              <a:gd name="connsiteX327" fmla="*/ 2028050 w 6863196"/>
              <a:gd name="connsiteY327" fmla="*/ 5101660 h 7005996"/>
              <a:gd name="connsiteX328" fmla="*/ 1932228 w 6863196"/>
              <a:gd name="connsiteY328" fmla="*/ 5219503 h 7005996"/>
              <a:gd name="connsiteX329" fmla="*/ 1921545 w 6863196"/>
              <a:gd name="connsiteY329" fmla="*/ 5272759 h 7005996"/>
              <a:gd name="connsiteX330" fmla="*/ 1814262 w 6863196"/>
              <a:gd name="connsiteY330" fmla="*/ 5294161 h 7005996"/>
              <a:gd name="connsiteX331" fmla="*/ 1856868 w 6863196"/>
              <a:gd name="connsiteY331" fmla="*/ 5123101 h 7005996"/>
              <a:gd name="connsiteX332" fmla="*/ 1952852 w 6863196"/>
              <a:gd name="connsiteY332" fmla="*/ 4962521 h 7005996"/>
              <a:gd name="connsiteX333" fmla="*/ 2166360 w 6863196"/>
              <a:gd name="connsiteY333" fmla="*/ 4728460 h 7005996"/>
              <a:gd name="connsiteX334" fmla="*/ 2241629 w 6863196"/>
              <a:gd name="connsiteY334" fmla="*/ 4653191 h 7005996"/>
              <a:gd name="connsiteX335" fmla="*/ 2230497 w 6863196"/>
              <a:gd name="connsiteY335" fmla="*/ 4621016 h 7005996"/>
              <a:gd name="connsiteX336" fmla="*/ 2350701 w 6863196"/>
              <a:gd name="connsiteY336" fmla="*/ 4443937 h 7005996"/>
              <a:gd name="connsiteX337" fmla="*/ 2367226 w 6863196"/>
              <a:gd name="connsiteY337" fmla="*/ 4425131 h 7005996"/>
              <a:gd name="connsiteX338" fmla="*/ 2354158 w 6863196"/>
              <a:gd name="connsiteY338" fmla="*/ 4426723 h 7005996"/>
              <a:gd name="connsiteX339" fmla="*/ 2257941 w 6863196"/>
              <a:gd name="connsiteY339" fmla="*/ 4441775 h 7005996"/>
              <a:gd name="connsiteX340" fmla="*/ 2242489 w 6863196"/>
              <a:gd name="connsiteY340" fmla="*/ 4471879 h 7005996"/>
              <a:gd name="connsiteX341" fmla="*/ 2167518 w 6863196"/>
              <a:gd name="connsiteY341" fmla="*/ 4486931 h 7005996"/>
              <a:gd name="connsiteX342" fmla="*/ 2016433 w 6863196"/>
              <a:gd name="connsiteY342" fmla="*/ 4502502 h 7005996"/>
              <a:gd name="connsiteX343" fmla="*/ 1971221 w 6863196"/>
              <a:gd name="connsiteY343" fmla="*/ 4532606 h 7005996"/>
              <a:gd name="connsiteX344" fmla="*/ 1880227 w 6863196"/>
              <a:gd name="connsiteY344" fmla="*/ 4471879 h 7005996"/>
              <a:gd name="connsiteX345" fmla="*/ 2031312 w 6863196"/>
              <a:gd name="connsiteY345" fmla="*/ 4381048 h 7005996"/>
              <a:gd name="connsiteX346" fmla="*/ 2212730 w 6863196"/>
              <a:gd name="connsiteY346" fmla="*/ 4335372 h 7005996"/>
              <a:gd name="connsiteX347" fmla="*/ 2458513 w 6863196"/>
              <a:gd name="connsiteY347" fmla="*/ 4297564 h 7005996"/>
              <a:gd name="connsiteX348" fmla="*/ 2459714 w 6863196"/>
              <a:gd name="connsiteY348" fmla="*/ 4297698 h 7005996"/>
              <a:gd name="connsiteX349" fmla="*/ 2492762 w 6863196"/>
              <a:gd name="connsiteY349" fmla="*/ 4261551 h 7005996"/>
              <a:gd name="connsiteX350" fmla="*/ 2528979 w 6863196"/>
              <a:gd name="connsiteY350" fmla="*/ 4215366 h 7005996"/>
              <a:gd name="connsiteX351" fmla="*/ 2572196 w 6863196"/>
              <a:gd name="connsiteY351" fmla="*/ 4087002 h 7005996"/>
              <a:gd name="connsiteX352" fmla="*/ 2572074 w 6863196"/>
              <a:gd name="connsiteY352" fmla="*/ 4065837 h 7005996"/>
              <a:gd name="connsiteX353" fmla="*/ 2540266 w 6863196"/>
              <a:gd name="connsiteY353" fmla="*/ 4055072 h 7005996"/>
              <a:gd name="connsiteX354" fmla="*/ 2540021 w 6863196"/>
              <a:gd name="connsiteY354" fmla="*/ 4012742 h 7005996"/>
              <a:gd name="connsiteX355" fmla="*/ 2465640 w 6863196"/>
              <a:gd name="connsiteY355" fmla="*/ 3959403 h 7005996"/>
              <a:gd name="connsiteX356" fmla="*/ 2433465 w 6863196"/>
              <a:gd name="connsiteY356" fmla="*/ 3948271 h 7005996"/>
              <a:gd name="connsiteX357" fmla="*/ 2401740 w 6863196"/>
              <a:gd name="connsiteY357" fmla="*/ 3959442 h 7005996"/>
              <a:gd name="connsiteX358" fmla="*/ 2401901 w 6863196"/>
              <a:gd name="connsiteY358" fmla="*/ 3916707 h 7005996"/>
              <a:gd name="connsiteX359" fmla="*/ 2358800 w 6863196"/>
              <a:gd name="connsiteY359" fmla="*/ 3916502 h 7005996"/>
              <a:gd name="connsiteX360" fmla="*/ 2380369 w 6863196"/>
              <a:gd name="connsiteY360" fmla="*/ 3916219 h 7005996"/>
              <a:gd name="connsiteX361" fmla="*/ 2337674 w 6863196"/>
              <a:gd name="connsiteY361" fmla="*/ 3852480 h 7005996"/>
              <a:gd name="connsiteX362" fmla="*/ 2327030 w 6863196"/>
              <a:gd name="connsiteY362" fmla="*/ 3841836 h 7005996"/>
              <a:gd name="connsiteX363" fmla="*/ 2326908 w 6863196"/>
              <a:gd name="connsiteY363" fmla="*/ 3820671 h 7005996"/>
              <a:gd name="connsiteX364" fmla="*/ 2177212 w 6863196"/>
              <a:gd name="connsiteY364" fmla="*/ 3756766 h 7005996"/>
              <a:gd name="connsiteX365" fmla="*/ 2155841 w 6863196"/>
              <a:gd name="connsiteY365" fmla="*/ 3713543 h 7005996"/>
              <a:gd name="connsiteX366" fmla="*/ 2038441 w 6863196"/>
              <a:gd name="connsiteY366" fmla="*/ 3681934 h 7005996"/>
              <a:gd name="connsiteX367" fmla="*/ 1985186 w 6863196"/>
              <a:gd name="connsiteY367" fmla="*/ 3692616 h 7005996"/>
              <a:gd name="connsiteX368" fmla="*/ 1984697 w 6863196"/>
              <a:gd name="connsiteY368" fmla="*/ 3671084 h 7005996"/>
              <a:gd name="connsiteX369" fmla="*/ 1963654 w 6863196"/>
              <a:gd name="connsiteY369" fmla="*/ 3692128 h 7005996"/>
              <a:gd name="connsiteX370" fmla="*/ 1910643 w 6863196"/>
              <a:gd name="connsiteY370" fmla="*/ 3682012 h 7005996"/>
              <a:gd name="connsiteX371" fmla="*/ 1857387 w 6863196"/>
              <a:gd name="connsiteY371" fmla="*/ 3692695 h 7005996"/>
              <a:gd name="connsiteX372" fmla="*/ 1814003 w 6863196"/>
              <a:gd name="connsiteY372" fmla="*/ 3714058 h 7005996"/>
              <a:gd name="connsiteX373" fmla="*/ 1792959 w 6863196"/>
              <a:gd name="connsiteY373" fmla="*/ 3735101 h 7005996"/>
              <a:gd name="connsiteX374" fmla="*/ 1547439 w 6863196"/>
              <a:gd name="connsiteY374" fmla="*/ 3789040 h 7005996"/>
              <a:gd name="connsiteX375" fmla="*/ 1525992 w 6863196"/>
              <a:gd name="connsiteY375" fmla="*/ 3810487 h 7005996"/>
              <a:gd name="connsiteX376" fmla="*/ 1483540 w 6863196"/>
              <a:gd name="connsiteY376" fmla="*/ 3789078 h 7005996"/>
              <a:gd name="connsiteX377" fmla="*/ 1473018 w 6863196"/>
              <a:gd name="connsiteY377" fmla="*/ 3799600 h 7005996"/>
              <a:gd name="connsiteX378" fmla="*/ 1440561 w 6863196"/>
              <a:gd name="connsiteY378" fmla="*/ 3810037 h 7005996"/>
              <a:gd name="connsiteX379" fmla="*/ 1366300 w 6863196"/>
              <a:gd name="connsiteY379" fmla="*/ 3777862 h 7005996"/>
              <a:gd name="connsiteX380" fmla="*/ 1237936 w 6863196"/>
              <a:gd name="connsiteY380" fmla="*/ 3821080 h 7005996"/>
              <a:gd name="connsiteX381" fmla="*/ 1141945 w 6863196"/>
              <a:gd name="connsiteY381" fmla="*/ 3831923 h 7005996"/>
              <a:gd name="connsiteX382" fmla="*/ 1078084 w 6863196"/>
              <a:gd name="connsiteY382" fmla="*/ 3831191 h 7005996"/>
              <a:gd name="connsiteX383" fmla="*/ 1056636 w 6863196"/>
              <a:gd name="connsiteY383" fmla="*/ 3852638 h 7005996"/>
              <a:gd name="connsiteX384" fmla="*/ 1045993 w 6863196"/>
              <a:gd name="connsiteY384" fmla="*/ 3841995 h 7005996"/>
              <a:gd name="connsiteX385" fmla="*/ 992331 w 6863196"/>
              <a:gd name="connsiteY385" fmla="*/ 3853081 h 7005996"/>
              <a:gd name="connsiteX386" fmla="*/ 874809 w 6863196"/>
              <a:gd name="connsiteY386" fmla="*/ 3863436 h 7005996"/>
              <a:gd name="connsiteX387" fmla="*/ 842840 w 6863196"/>
              <a:gd name="connsiteY387" fmla="*/ 3895405 h 7005996"/>
              <a:gd name="connsiteX388" fmla="*/ 714919 w 6863196"/>
              <a:gd name="connsiteY388" fmla="*/ 3874319 h 7005996"/>
              <a:gd name="connsiteX389" fmla="*/ 565427 w 6863196"/>
              <a:gd name="connsiteY389" fmla="*/ 3916642 h 7005996"/>
              <a:gd name="connsiteX390" fmla="*/ 426420 w 6863196"/>
              <a:gd name="connsiteY390" fmla="*/ 3949215 h 7005996"/>
              <a:gd name="connsiteX391" fmla="*/ 148846 w 6863196"/>
              <a:gd name="connsiteY391" fmla="*/ 4013186 h 7005996"/>
              <a:gd name="connsiteX392" fmla="*/ 10648 w 6863196"/>
              <a:gd name="connsiteY392" fmla="*/ 4044951 h 7005996"/>
              <a:gd name="connsiteX393" fmla="*/ 5 w 6863196"/>
              <a:gd name="connsiteY393" fmla="*/ 4034307 h 7005996"/>
              <a:gd name="connsiteX394" fmla="*/ 21086 w 6863196"/>
              <a:gd name="connsiteY394" fmla="*/ 3949365 h 7005996"/>
              <a:gd name="connsiteX395" fmla="*/ 63821 w 6863196"/>
              <a:gd name="connsiteY395" fmla="*/ 3949204 h 7005996"/>
              <a:gd name="connsiteX396" fmla="*/ 159689 w 6863196"/>
              <a:gd name="connsiteY396" fmla="*/ 3917196 h 7005996"/>
              <a:gd name="connsiteX397" fmla="*/ 170699 w 6863196"/>
              <a:gd name="connsiteY397" fmla="*/ 3928207 h 7005996"/>
              <a:gd name="connsiteX398" fmla="*/ 203074 w 6863196"/>
              <a:gd name="connsiteY398" fmla="*/ 3895832 h 7005996"/>
              <a:gd name="connsiteX399" fmla="*/ 543897 w 6863196"/>
              <a:gd name="connsiteY399" fmla="*/ 3853025 h 7005996"/>
              <a:gd name="connsiteX400" fmla="*/ 661580 w 6863196"/>
              <a:gd name="connsiteY400" fmla="*/ 3799936 h 7005996"/>
              <a:gd name="connsiteX401" fmla="*/ 725517 w 6863196"/>
              <a:gd name="connsiteY401" fmla="*/ 3799126 h 7005996"/>
              <a:gd name="connsiteX402" fmla="*/ 800305 w 6863196"/>
              <a:gd name="connsiteY402" fmla="*/ 3788933 h 7005996"/>
              <a:gd name="connsiteX403" fmla="*/ 842918 w 6863196"/>
              <a:gd name="connsiteY403" fmla="*/ 3767606 h 7005996"/>
              <a:gd name="connsiteX404" fmla="*/ 1131257 w 6863196"/>
              <a:gd name="connsiteY404" fmla="*/ 3735444 h 7005996"/>
              <a:gd name="connsiteX405" fmla="*/ 1205960 w 6863196"/>
              <a:gd name="connsiteY405" fmla="*/ 3703314 h 7005996"/>
              <a:gd name="connsiteX406" fmla="*/ 1344930 w 6863196"/>
              <a:gd name="connsiteY406" fmla="*/ 3671512 h 7005996"/>
              <a:gd name="connsiteX407" fmla="*/ 1408830 w 6863196"/>
              <a:gd name="connsiteY407" fmla="*/ 3671472 h 7005996"/>
              <a:gd name="connsiteX408" fmla="*/ 1536790 w 6863196"/>
              <a:gd name="connsiteY408" fmla="*/ 3628661 h 7005996"/>
              <a:gd name="connsiteX409" fmla="*/ 1771422 w 6863196"/>
              <a:gd name="connsiteY409" fmla="*/ 3521749 h 7005996"/>
              <a:gd name="connsiteX410" fmla="*/ 1921319 w 6863196"/>
              <a:gd name="connsiteY410" fmla="*/ 3479020 h 7005996"/>
              <a:gd name="connsiteX411" fmla="*/ 1974614 w 6863196"/>
              <a:gd name="connsiteY411" fmla="*/ 3404439 h 7005996"/>
              <a:gd name="connsiteX412" fmla="*/ 1996062 w 6863196"/>
              <a:gd name="connsiteY412" fmla="*/ 3382990 h 7005996"/>
              <a:gd name="connsiteX413" fmla="*/ 2081486 w 6863196"/>
              <a:gd name="connsiteY413" fmla="*/ 3233705 h 7005996"/>
              <a:gd name="connsiteX414" fmla="*/ 2166867 w 6863196"/>
              <a:gd name="connsiteY414" fmla="*/ 2998584 h 7005996"/>
              <a:gd name="connsiteX415" fmla="*/ 2198996 w 6863196"/>
              <a:gd name="connsiteY415" fmla="*/ 2923880 h 7005996"/>
              <a:gd name="connsiteX416" fmla="*/ 2187621 w 6863196"/>
              <a:gd name="connsiteY416" fmla="*/ 2849374 h 7005996"/>
              <a:gd name="connsiteX417" fmla="*/ 2198546 w 6863196"/>
              <a:gd name="connsiteY417" fmla="*/ 2838449 h 7005996"/>
              <a:gd name="connsiteX418" fmla="*/ 2188185 w 6863196"/>
              <a:gd name="connsiteY418" fmla="*/ 2806236 h 7005996"/>
              <a:gd name="connsiteX419" fmla="*/ 2209718 w 6863196"/>
              <a:gd name="connsiteY419" fmla="*/ 2806725 h 7005996"/>
              <a:gd name="connsiteX420" fmla="*/ 2210479 w 6863196"/>
              <a:gd name="connsiteY420" fmla="*/ 2802243 h 7005996"/>
              <a:gd name="connsiteX421" fmla="*/ 2209842 w 6863196"/>
              <a:gd name="connsiteY421" fmla="*/ 2802479 h 7005996"/>
              <a:gd name="connsiteX422" fmla="*/ 2182398 w 6863196"/>
              <a:gd name="connsiteY422" fmla="*/ 2795910 h 7005996"/>
              <a:gd name="connsiteX423" fmla="*/ 2106855 w 6863196"/>
              <a:gd name="connsiteY423" fmla="*/ 2690546 h 7005996"/>
              <a:gd name="connsiteX424" fmla="*/ 1971221 w 6863196"/>
              <a:gd name="connsiteY424" fmla="*/ 2614766 h 7005996"/>
              <a:gd name="connsiteX425" fmla="*/ 1849895 w 6863196"/>
              <a:gd name="connsiteY425" fmla="*/ 2539506 h 7005996"/>
              <a:gd name="connsiteX426" fmla="*/ 1608387 w 6863196"/>
              <a:gd name="connsiteY426" fmla="*/ 2388466 h 7005996"/>
              <a:gd name="connsiteX427" fmla="*/ 1488205 w 6863196"/>
              <a:gd name="connsiteY427" fmla="*/ 2313206 h 7005996"/>
              <a:gd name="connsiteX428" fmla="*/ 1488205 w 6863196"/>
              <a:gd name="connsiteY428" fmla="*/ 2298154 h 7005996"/>
              <a:gd name="connsiteX429" fmla="*/ 1563175 w 6863196"/>
              <a:gd name="connsiteY429" fmla="*/ 2252998 h 7005996"/>
              <a:gd name="connsiteX430" fmla="*/ 1593507 w 6863196"/>
              <a:gd name="connsiteY430" fmla="*/ 2283102 h 7005996"/>
              <a:gd name="connsiteX431" fmla="*/ 1683929 w 6863196"/>
              <a:gd name="connsiteY431" fmla="*/ 2328258 h 7005996"/>
              <a:gd name="connsiteX432" fmla="*/ 1683929 w 6863196"/>
              <a:gd name="connsiteY432" fmla="*/ 2343829 h 7005996"/>
              <a:gd name="connsiteX433" fmla="*/ 1729713 w 6863196"/>
              <a:gd name="connsiteY433" fmla="*/ 2343829 h 7005996"/>
              <a:gd name="connsiteX434" fmla="*/ 2000981 w 6863196"/>
              <a:gd name="connsiteY434" fmla="*/ 2554558 h 7005996"/>
              <a:gd name="connsiteX435" fmla="*/ 2121735 w 6863196"/>
              <a:gd name="connsiteY435" fmla="*/ 2600233 h 7005996"/>
              <a:gd name="connsiteX436" fmla="*/ 2167518 w 6863196"/>
              <a:gd name="connsiteY436" fmla="*/ 2644870 h 7005996"/>
              <a:gd name="connsiteX437" fmla="*/ 2227609 w 6863196"/>
              <a:gd name="connsiteY437" fmla="*/ 2690546 h 7005996"/>
              <a:gd name="connsiteX438" fmla="*/ 2233519 w 6863196"/>
              <a:gd name="connsiteY438" fmla="*/ 2696212 h 7005996"/>
              <a:gd name="connsiteX439" fmla="*/ 2238904 w 6863196"/>
              <a:gd name="connsiteY439" fmla="*/ 2646422 h 7005996"/>
              <a:gd name="connsiteX440" fmla="*/ 2230793 w 6863196"/>
              <a:gd name="connsiteY440" fmla="*/ 2572046 h 7005996"/>
              <a:gd name="connsiteX441" fmla="*/ 2220348 w 6863196"/>
              <a:gd name="connsiteY441" fmla="*/ 2517897 h 7005996"/>
              <a:gd name="connsiteX442" fmla="*/ 2199061 w 6863196"/>
              <a:gd name="connsiteY442" fmla="*/ 2496610 h 7005996"/>
              <a:gd name="connsiteX443" fmla="*/ 2156038 w 6863196"/>
              <a:gd name="connsiteY443" fmla="*/ 2368605 h 7005996"/>
              <a:gd name="connsiteX444" fmla="*/ 2166920 w 6863196"/>
              <a:gd name="connsiteY444" fmla="*/ 2208715 h 7005996"/>
              <a:gd name="connsiteX445" fmla="*/ 2049919 w 6863196"/>
              <a:gd name="connsiteY445" fmla="*/ 2026966 h 7005996"/>
              <a:gd name="connsiteX446" fmla="*/ 1943035 w 6863196"/>
              <a:gd name="connsiteY446" fmla="*/ 1835101 h 7005996"/>
              <a:gd name="connsiteX447" fmla="*/ 1772412 w 6863196"/>
              <a:gd name="connsiteY447" fmla="*/ 1600540 h 7005996"/>
              <a:gd name="connsiteX448" fmla="*/ 1788581 w 6863196"/>
              <a:gd name="connsiteY448" fmla="*/ 1564579 h 700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</a:cxnLst>
            <a:rect l="l" t="t" r="r" b="b"/>
            <a:pathLst>
              <a:path w="6863196" h="7005996">
                <a:moveTo>
                  <a:pt x="6681779" y="3641421"/>
                </a:moveTo>
                <a:lnTo>
                  <a:pt x="6712111" y="3641421"/>
                </a:lnTo>
                <a:cubicBezTo>
                  <a:pt x="6712110" y="3656473"/>
                  <a:pt x="6681779" y="3656473"/>
                  <a:pt x="6681779" y="3641421"/>
                </a:cubicBezTo>
                <a:close/>
                <a:moveTo>
                  <a:pt x="3092813" y="4434166"/>
                </a:moveTo>
                <a:cubicBezTo>
                  <a:pt x="3062907" y="4462078"/>
                  <a:pt x="3044939" y="4496010"/>
                  <a:pt x="3021054" y="4535860"/>
                </a:cubicBezTo>
                <a:cubicBezTo>
                  <a:pt x="2977509" y="4599958"/>
                  <a:pt x="2946028" y="4653459"/>
                  <a:pt x="2935469" y="4727881"/>
                </a:cubicBezTo>
                <a:cubicBezTo>
                  <a:pt x="2924664" y="4759972"/>
                  <a:pt x="2935430" y="4791780"/>
                  <a:pt x="2935147" y="4813349"/>
                </a:cubicBezTo>
                <a:cubicBezTo>
                  <a:pt x="2929928" y="4829579"/>
                  <a:pt x="2921895" y="4848255"/>
                  <a:pt x="2916513" y="4866849"/>
                </a:cubicBezTo>
                <a:lnTo>
                  <a:pt x="2915458" y="4872223"/>
                </a:lnTo>
                <a:lnTo>
                  <a:pt x="2952135" y="4849218"/>
                </a:lnTo>
                <a:cubicBezTo>
                  <a:pt x="2982466" y="4819114"/>
                  <a:pt x="3028250" y="4789010"/>
                  <a:pt x="3073461" y="4758906"/>
                </a:cubicBezTo>
                <a:cubicBezTo>
                  <a:pt x="3118672" y="4728283"/>
                  <a:pt x="3148432" y="4698179"/>
                  <a:pt x="3193643" y="4637971"/>
                </a:cubicBezTo>
                <a:cubicBezTo>
                  <a:pt x="3209095" y="4607866"/>
                  <a:pt x="3209095" y="4592814"/>
                  <a:pt x="3209095" y="4562710"/>
                </a:cubicBezTo>
                <a:cubicBezTo>
                  <a:pt x="3239426" y="4532606"/>
                  <a:pt x="3284638" y="4517035"/>
                  <a:pt x="3284638" y="4517035"/>
                </a:cubicBezTo>
                <a:cubicBezTo>
                  <a:pt x="3284638" y="4517035"/>
                  <a:pt x="3299517" y="4517035"/>
                  <a:pt x="3299517" y="4502502"/>
                </a:cubicBezTo>
                <a:cubicBezTo>
                  <a:pt x="3299517" y="4502502"/>
                  <a:pt x="3299517" y="4486931"/>
                  <a:pt x="3314969" y="4471879"/>
                </a:cubicBezTo>
                <a:cubicBezTo>
                  <a:pt x="3322409" y="4471879"/>
                  <a:pt x="3326129" y="4468116"/>
                  <a:pt x="3327989" y="4466234"/>
                </a:cubicBezTo>
                <a:lnTo>
                  <a:pt x="3328915" y="4465833"/>
                </a:lnTo>
                <a:lnTo>
                  <a:pt x="3329849" y="4471879"/>
                </a:lnTo>
                <a:cubicBezTo>
                  <a:pt x="3329849" y="4468116"/>
                  <a:pt x="3329849" y="4466234"/>
                  <a:pt x="3329616" y="4465529"/>
                </a:cubicBezTo>
                <a:lnTo>
                  <a:pt x="3328915" y="4465833"/>
                </a:lnTo>
                <a:lnTo>
                  <a:pt x="3321605" y="4418516"/>
                </a:lnTo>
                <a:lnTo>
                  <a:pt x="3312480" y="4417402"/>
                </a:lnTo>
                <a:cubicBezTo>
                  <a:pt x="3299694" y="4415542"/>
                  <a:pt x="3287748" y="4412853"/>
                  <a:pt x="3277135" y="4407501"/>
                </a:cubicBezTo>
                <a:cubicBezTo>
                  <a:pt x="3245043" y="4418306"/>
                  <a:pt x="3223389" y="4396651"/>
                  <a:pt x="3202592" y="4396896"/>
                </a:cubicBezTo>
                <a:cubicBezTo>
                  <a:pt x="3191665" y="4407822"/>
                  <a:pt x="3148931" y="4407984"/>
                  <a:pt x="3127361" y="4408266"/>
                </a:cubicBezTo>
                <a:cubicBezTo>
                  <a:pt x="3114078" y="4416228"/>
                  <a:pt x="3102782" y="4424863"/>
                  <a:pt x="3092813" y="4434166"/>
                </a:cubicBezTo>
                <a:close/>
                <a:moveTo>
                  <a:pt x="2637760" y="4320187"/>
                </a:moveTo>
                <a:lnTo>
                  <a:pt x="2644258" y="4318171"/>
                </a:lnTo>
                <a:cubicBezTo>
                  <a:pt x="2646350" y="4316476"/>
                  <a:pt x="2647745" y="4314059"/>
                  <a:pt x="2648675" y="4311172"/>
                </a:cubicBezTo>
                <a:lnTo>
                  <a:pt x="2648861" y="4309086"/>
                </a:lnTo>
                <a:close/>
                <a:moveTo>
                  <a:pt x="2732337" y="4205057"/>
                </a:moveTo>
                <a:cubicBezTo>
                  <a:pt x="2716554" y="4220839"/>
                  <a:pt x="2688480" y="4248914"/>
                  <a:pt x="2670717" y="4275348"/>
                </a:cubicBezTo>
                <a:lnTo>
                  <a:pt x="2664312" y="4287394"/>
                </a:lnTo>
                <a:lnTo>
                  <a:pt x="2788316" y="4261994"/>
                </a:lnTo>
                <a:lnTo>
                  <a:pt x="2821957" y="4256423"/>
                </a:lnTo>
                <a:lnTo>
                  <a:pt x="2789779" y="4232856"/>
                </a:lnTo>
                <a:cubicBezTo>
                  <a:pt x="2772340" y="4223410"/>
                  <a:pt x="2753582" y="4215376"/>
                  <a:pt x="2732337" y="4205057"/>
                </a:cubicBezTo>
                <a:close/>
                <a:moveTo>
                  <a:pt x="4622249" y="1311729"/>
                </a:moveTo>
                <a:lnTo>
                  <a:pt x="4643696" y="1290282"/>
                </a:lnTo>
                <a:cubicBezTo>
                  <a:pt x="4654340" y="1300925"/>
                  <a:pt x="4632893" y="1322372"/>
                  <a:pt x="4622249" y="1311729"/>
                </a:cubicBezTo>
                <a:close/>
                <a:moveTo>
                  <a:pt x="1788581" y="1564579"/>
                </a:moveTo>
                <a:cubicBezTo>
                  <a:pt x="1835372" y="1499112"/>
                  <a:pt x="1940507" y="1557597"/>
                  <a:pt x="1996813" y="1632316"/>
                </a:cubicBezTo>
                <a:cubicBezTo>
                  <a:pt x="2049747" y="1707102"/>
                  <a:pt x="2071079" y="1814225"/>
                  <a:pt x="2135061" y="1899251"/>
                </a:cubicBezTo>
                <a:cubicBezTo>
                  <a:pt x="2166708" y="1952750"/>
                  <a:pt x="2241580" y="2027622"/>
                  <a:pt x="2294958" y="2038104"/>
                </a:cubicBezTo>
                <a:cubicBezTo>
                  <a:pt x="2337410" y="2059512"/>
                  <a:pt x="2359262" y="2037660"/>
                  <a:pt x="2413007" y="2048510"/>
                </a:cubicBezTo>
                <a:cubicBezTo>
                  <a:pt x="2519029" y="2005613"/>
                  <a:pt x="2551321" y="1888174"/>
                  <a:pt x="2572808" y="1802827"/>
                </a:cubicBezTo>
                <a:cubicBezTo>
                  <a:pt x="2540795" y="1685833"/>
                  <a:pt x="2508697" y="1546901"/>
                  <a:pt x="2476722" y="1429136"/>
                </a:cubicBezTo>
                <a:cubicBezTo>
                  <a:pt x="2519618" y="1323113"/>
                  <a:pt x="2615320" y="1184103"/>
                  <a:pt x="2732964" y="1194914"/>
                </a:cubicBezTo>
                <a:cubicBezTo>
                  <a:pt x="2786297" y="1119561"/>
                  <a:pt x="2722436" y="1055700"/>
                  <a:pt x="2711465" y="980790"/>
                </a:cubicBezTo>
                <a:cubicBezTo>
                  <a:pt x="2626440" y="916808"/>
                  <a:pt x="2594059" y="799446"/>
                  <a:pt x="2690699" y="767400"/>
                </a:cubicBezTo>
                <a:cubicBezTo>
                  <a:pt x="2818459" y="831222"/>
                  <a:pt x="2722231" y="949470"/>
                  <a:pt x="2818022" y="1045261"/>
                </a:cubicBezTo>
                <a:cubicBezTo>
                  <a:pt x="2828787" y="1077070"/>
                  <a:pt x="2818755" y="1109123"/>
                  <a:pt x="2861207" y="1130531"/>
                </a:cubicBezTo>
                <a:cubicBezTo>
                  <a:pt x="2839759" y="1151979"/>
                  <a:pt x="2861046" y="1173266"/>
                  <a:pt x="2861167" y="1194431"/>
                </a:cubicBezTo>
                <a:cubicBezTo>
                  <a:pt x="2914384" y="1247648"/>
                  <a:pt x="3010582" y="1279906"/>
                  <a:pt x="3074442" y="1343767"/>
                </a:cubicBezTo>
                <a:cubicBezTo>
                  <a:pt x="3096096" y="1365420"/>
                  <a:pt x="3095850" y="1386219"/>
                  <a:pt x="3117137" y="1407505"/>
                </a:cubicBezTo>
                <a:cubicBezTo>
                  <a:pt x="3138425" y="1428793"/>
                  <a:pt x="3181243" y="1450568"/>
                  <a:pt x="3202408" y="1450690"/>
                </a:cubicBezTo>
                <a:cubicBezTo>
                  <a:pt x="3277440" y="1482826"/>
                  <a:pt x="3352143" y="1450696"/>
                  <a:pt x="3426808" y="1482466"/>
                </a:cubicBezTo>
                <a:cubicBezTo>
                  <a:pt x="3448256" y="1461018"/>
                  <a:pt x="3479942" y="1450619"/>
                  <a:pt x="3501269" y="1408006"/>
                </a:cubicBezTo>
                <a:cubicBezTo>
                  <a:pt x="3512073" y="1375915"/>
                  <a:pt x="3533803" y="1332898"/>
                  <a:pt x="3533559" y="1290567"/>
                </a:cubicBezTo>
                <a:cubicBezTo>
                  <a:pt x="3533842" y="1268998"/>
                  <a:pt x="3512555" y="1247711"/>
                  <a:pt x="3522587" y="1215658"/>
                </a:cubicBezTo>
                <a:cubicBezTo>
                  <a:pt x="3512311" y="1205382"/>
                  <a:pt x="3501544" y="1236701"/>
                  <a:pt x="3491268" y="1226424"/>
                </a:cubicBezTo>
                <a:cubicBezTo>
                  <a:pt x="3448084" y="1141154"/>
                  <a:pt x="3458926" y="1045163"/>
                  <a:pt x="3458882" y="959327"/>
                </a:cubicBezTo>
                <a:cubicBezTo>
                  <a:pt x="3459042" y="916593"/>
                  <a:pt x="3458799" y="874263"/>
                  <a:pt x="3448438" y="842050"/>
                </a:cubicBezTo>
                <a:cubicBezTo>
                  <a:pt x="3437794" y="831407"/>
                  <a:pt x="3427151" y="820764"/>
                  <a:pt x="3427029" y="799598"/>
                </a:cubicBezTo>
                <a:cubicBezTo>
                  <a:pt x="3426908" y="778433"/>
                  <a:pt x="3437712" y="746343"/>
                  <a:pt x="3437872" y="703607"/>
                </a:cubicBezTo>
                <a:cubicBezTo>
                  <a:pt x="3437384" y="682075"/>
                  <a:pt x="3437628" y="661278"/>
                  <a:pt x="3437949" y="638936"/>
                </a:cubicBezTo>
                <a:cubicBezTo>
                  <a:pt x="3437949" y="638936"/>
                  <a:pt x="3437827" y="617772"/>
                  <a:pt x="3448349" y="607250"/>
                </a:cubicBezTo>
                <a:cubicBezTo>
                  <a:pt x="3437705" y="596606"/>
                  <a:pt x="3427062" y="585963"/>
                  <a:pt x="3437988" y="575037"/>
                </a:cubicBezTo>
                <a:lnTo>
                  <a:pt x="3448510" y="564515"/>
                </a:lnTo>
                <a:cubicBezTo>
                  <a:pt x="3459314" y="532424"/>
                  <a:pt x="3437660" y="510771"/>
                  <a:pt x="3437905" y="489973"/>
                </a:cubicBezTo>
                <a:cubicBezTo>
                  <a:pt x="3437905" y="489973"/>
                  <a:pt x="3437416" y="468441"/>
                  <a:pt x="3447938" y="457919"/>
                </a:cubicBezTo>
                <a:cubicBezTo>
                  <a:pt x="3437616" y="361807"/>
                  <a:pt x="3437938" y="276337"/>
                  <a:pt x="3437771" y="169336"/>
                </a:cubicBezTo>
                <a:cubicBezTo>
                  <a:pt x="3416202" y="169619"/>
                  <a:pt x="3427128" y="158693"/>
                  <a:pt x="3416484" y="148050"/>
                </a:cubicBezTo>
                <a:cubicBezTo>
                  <a:pt x="3426884" y="116364"/>
                  <a:pt x="3427167" y="94794"/>
                  <a:pt x="3416400" y="62986"/>
                </a:cubicBezTo>
                <a:lnTo>
                  <a:pt x="3469817" y="9569"/>
                </a:lnTo>
                <a:cubicBezTo>
                  <a:pt x="3491265" y="-11879"/>
                  <a:pt x="3512553" y="9408"/>
                  <a:pt x="3533718" y="9530"/>
                </a:cubicBezTo>
                <a:cubicBezTo>
                  <a:pt x="3544604" y="62503"/>
                  <a:pt x="3576901" y="94800"/>
                  <a:pt x="3587262" y="127013"/>
                </a:cubicBezTo>
                <a:cubicBezTo>
                  <a:pt x="3597905" y="137657"/>
                  <a:pt x="3566219" y="148056"/>
                  <a:pt x="3598028" y="158821"/>
                </a:cubicBezTo>
                <a:cubicBezTo>
                  <a:pt x="3576175" y="180673"/>
                  <a:pt x="3576297" y="201839"/>
                  <a:pt x="3576418" y="223004"/>
                </a:cubicBezTo>
                <a:cubicBezTo>
                  <a:pt x="3555583" y="287148"/>
                  <a:pt x="3533890" y="329394"/>
                  <a:pt x="3534218" y="393660"/>
                </a:cubicBezTo>
                <a:cubicBezTo>
                  <a:pt x="3533568" y="414863"/>
                  <a:pt x="3533652" y="436800"/>
                  <a:pt x="3544295" y="447443"/>
                </a:cubicBezTo>
                <a:cubicBezTo>
                  <a:pt x="3544417" y="468608"/>
                  <a:pt x="3533774" y="457965"/>
                  <a:pt x="3522847" y="468891"/>
                </a:cubicBezTo>
                <a:cubicBezTo>
                  <a:pt x="3544417" y="468608"/>
                  <a:pt x="3544134" y="490178"/>
                  <a:pt x="3554778" y="500821"/>
                </a:cubicBezTo>
                <a:cubicBezTo>
                  <a:pt x="3533535" y="628498"/>
                  <a:pt x="3555394" y="756381"/>
                  <a:pt x="3554911" y="884584"/>
                </a:cubicBezTo>
                <a:cubicBezTo>
                  <a:pt x="3576198" y="905871"/>
                  <a:pt x="3576282" y="927807"/>
                  <a:pt x="3586558" y="938084"/>
                </a:cubicBezTo>
                <a:cubicBezTo>
                  <a:pt x="3597324" y="969893"/>
                  <a:pt x="3586887" y="1002351"/>
                  <a:pt x="3618817" y="1034281"/>
                </a:cubicBezTo>
                <a:cubicBezTo>
                  <a:pt x="3587253" y="1065845"/>
                  <a:pt x="3619550" y="1098142"/>
                  <a:pt x="3629665" y="1151154"/>
                </a:cubicBezTo>
                <a:cubicBezTo>
                  <a:pt x="3629749" y="1173090"/>
                  <a:pt x="3618945" y="1205181"/>
                  <a:pt x="3618785" y="1247916"/>
                </a:cubicBezTo>
                <a:cubicBezTo>
                  <a:pt x="3618907" y="1269081"/>
                  <a:pt x="3640193" y="1290368"/>
                  <a:pt x="3629389" y="1322459"/>
                </a:cubicBezTo>
                <a:cubicBezTo>
                  <a:pt x="3629633" y="1364789"/>
                  <a:pt x="3629472" y="1407523"/>
                  <a:pt x="3640038" y="1482838"/>
                </a:cubicBezTo>
                <a:cubicBezTo>
                  <a:pt x="3650682" y="1493481"/>
                  <a:pt x="3640160" y="1504003"/>
                  <a:pt x="3650804" y="1514647"/>
                </a:cubicBezTo>
                <a:cubicBezTo>
                  <a:pt x="3661654" y="1568391"/>
                  <a:pt x="3672419" y="1600200"/>
                  <a:pt x="3714871" y="1621608"/>
                </a:cubicBezTo>
                <a:cubicBezTo>
                  <a:pt x="3725514" y="1632251"/>
                  <a:pt x="3704471" y="1653295"/>
                  <a:pt x="3715114" y="1663938"/>
                </a:cubicBezTo>
                <a:cubicBezTo>
                  <a:pt x="3778974" y="1727798"/>
                  <a:pt x="3821465" y="1685308"/>
                  <a:pt x="3896452" y="1631609"/>
                </a:cubicBezTo>
                <a:cubicBezTo>
                  <a:pt x="3939432" y="1610650"/>
                  <a:pt x="3992199" y="1578436"/>
                  <a:pt x="4013647" y="1556988"/>
                </a:cubicBezTo>
                <a:cubicBezTo>
                  <a:pt x="4046105" y="1546550"/>
                  <a:pt x="4057031" y="1535624"/>
                  <a:pt x="4067552" y="1525103"/>
                </a:cubicBezTo>
                <a:cubicBezTo>
                  <a:pt x="4074498" y="1524763"/>
                  <a:pt x="4081404" y="1525196"/>
                  <a:pt x="4088350" y="1524857"/>
                </a:cubicBezTo>
                <a:lnTo>
                  <a:pt x="4109798" y="1503410"/>
                </a:lnTo>
                <a:cubicBezTo>
                  <a:pt x="4131330" y="1503899"/>
                  <a:pt x="4152128" y="1503653"/>
                  <a:pt x="4163054" y="1492727"/>
                </a:cubicBezTo>
                <a:cubicBezTo>
                  <a:pt x="4216677" y="1482412"/>
                  <a:pt x="4259694" y="1460681"/>
                  <a:pt x="4323432" y="1503377"/>
                </a:cubicBezTo>
                <a:cubicBezTo>
                  <a:pt x="4450987" y="1460969"/>
                  <a:pt x="4526663" y="1322167"/>
                  <a:pt x="4621921" y="1247463"/>
                </a:cubicBezTo>
                <a:cubicBezTo>
                  <a:pt x="4643774" y="1225610"/>
                  <a:pt x="4654539" y="1194291"/>
                  <a:pt x="4675987" y="1172843"/>
                </a:cubicBezTo>
                <a:cubicBezTo>
                  <a:pt x="4697435" y="1151395"/>
                  <a:pt x="4696786" y="1172598"/>
                  <a:pt x="4718723" y="1172682"/>
                </a:cubicBezTo>
                <a:lnTo>
                  <a:pt x="4728998" y="1182958"/>
                </a:lnTo>
                <a:lnTo>
                  <a:pt x="4739519" y="1172437"/>
                </a:lnTo>
                <a:cubicBezTo>
                  <a:pt x="4740009" y="1193969"/>
                  <a:pt x="4708040" y="1225939"/>
                  <a:pt x="4686102" y="1225854"/>
                </a:cubicBezTo>
                <a:cubicBezTo>
                  <a:pt x="4665060" y="1246896"/>
                  <a:pt x="4675383" y="1279882"/>
                  <a:pt x="4654340" y="1300925"/>
                </a:cubicBezTo>
                <a:lnTo>
                  <a:pt x="4643696" y="1290282"/>
                </a:lnTo>
                <a:cubicBezTo>
                  <a:pt x="4633175" y="1300803"/>
                  <a:pt x="4611238" y="1300718"/>
                  <a:pt x="4622249" y="1311729"/>
                </a:cubicBezTo>
                <a:lnTo>
                  <a:pt x="4632893" y="1322372"/>
                </a:lnTo>
                <a:lnTo>
                  <a:pt x="4622371" y="1332894"/>
                </a:lnTo>
                <a:cubicBezTo>
                  <a:pt x="4601167" y="1396672"/>
                  <a:pt x="4515254" y="1461298"/>
                  <a:pt x="4537152" y="1525281"/>
                </a:cubicBezTo>
                <a:cubicBezTo>
                  <a:pt x="4504572" y="1514553"/>
                  <a:pt x="4494661" y="1567772"/>
                  <a:pt x="4472724" y="1567687"/>
                </a:cubicBezTo>
                <a:cubicBezTo>
                  <a:pt x="4462692" y="1599741"/>
                  <a:pt x="4494500" y="1610506"/>
                  <a:pt x="4494255" y="1631304"/>
                </a:cubicBezTo>
                <a:lnTo>
                  <a:pt x="4472807" y="1652752"/>
                </a:lnTo>
                <a:cubicBezTo>
                  <a:pt x="4473296" y="1674283"/>
                  <a:pt x="4451444" y="1696136"/>
                  <a:pt x="4451566" y="1717301"/>
                </a:cubicBezTo>
                <a:cubicBezTo>
                  <a:pt x="4440639" y="1728227"/>
                  <a:pt x="4451283" y="1738870"/>
                  <a:pt x="4451404" y="1760035"/>
                </a:cubicBezTo>
                <a:cubicBezTo>
                  <a:pt x="4440601" y="1792127"/>
                  <a:pt x="4419276" y="1834739"/>
                  <a:pt x="4430041" y="1866548"/>
                </a:cubicBezTo>
                <a:lnTo>
                  <a:pt x="4434568" y="1871279"/>
                </a:lnTo>
                <a:lnTo>
                  <a:pt x="4443835" y="1848369"/>
                </a:lnTo>
                <a:cubicBezTo>
                  <a:pt x="4448801" y="1840388"/>
                  <a:pt x="4454909" y="1834265"/>
                  <a:pt x="4462420" y="1830502"/>
                </a:cubicBezTo>
                <a:cubicBezTo>
                  <a:pt x="4475655" y="1822911"/>
                  <a:pt x="4487941" y="1818394"/>
                  <a:pt x="4499281" y="1816507"/>
                </a:cubicBezTo>
                <a:cubicBezTo>
                  <a:pt x="4538970" y="1809904"/>
                  <a:pt x="4567061" y="1835527"/>
                  <a:pt x="4583603" y="1874381"/>
                </a:cubicBezTo>
                <a:lnTo>
                  <a:pt x="4597630" y="1931536"/>
                </a:lnTo>
                <a:lnTo>
                  <a:pt x="4623591" y="1932499"/>
                </a:lnTo>
                <a:cubicBezTo>
                  <a:pt x="4664242" y="1921783"/>
                  <a:pt x="4694524" y="1879527"/>
                  <a:pt x="4718501" y="1855550"/>
                </a:cubicBezTo>
                <a:cubicBezTo>
                  <a:pt x="4782118" y="1877081"/>
                  <a:pt x="4718462" y="1919449"/>
                  <a:pt x="4707253" y="1951945"/>
                </a:cubicBezTo>
                <a:cubicBezTo>
                  <a:pt x="4782002" y="2005651"/>
                  <a:pt x="4889201" y="1962312"/>
                  <a:pt x="4973983" y="1983964"/>
                </a:cubicBezTo>
                <a:cubicBezTo>
                  <a:pt x="4995920" y="1984049"/>
                  <a:pt x="5017574" y="2005703"/>
                  <a:pt x="5049382" y="2016468"/>
                </a:cubicBezTo>
                <a:cubicBezTo>
                  <a:pt x="5091833" y="2037877"/>
                  <a:pt x="5166942" y="2005341"/>
                  <a:pt x="5209516" y="2047915"/>
                </a:cubicBezTo>
                <a:cubicBezTo>
                  <a:pt x="5246890" y="2074768"/>
                  <a:pt x="5268249" y="2112315"/>
                  <a:pt x="5288202" y="2151085"/>
                </a:cubicBezTo>
                <a:lnTo>
                  <a:pt x="5295874" y="2165551"/>
                </a:lnTo>
                <a:lnTo>
                  <a:pt x="5313289" y="2166281"/>
                </a:lnTo>
                <a:cubicBezTo>
                  <a:pt x="5359081" y="2171850"/>
                  <a:pt x="5400125" y="2188832"/>
                  <a:pt x="5428453" y="2222894"/>
                </a:cubicBezTo>
                <a:cubicBezTo>
                  <a:pt x="5519448" y="2207323"/>
                  <a:pt x="5519448" y="2117010"/>
                  <a:pt x="5564660" y="2056283"/>
                </a:cubicBezTo>
                <a:cubicBezTo>
                  <a:pt x="5549780" y="1950919"/>
                  <a:pt x="5609871" y="1845035"/>
                  <a:pt x="5700866" y="1890710"/>
                </a:cubicBezTo>
                <a:cubicBezTo>
                  <a:pt x="5746077" y="2026179"/>
                  <a:pt x="5594419" y="2041750"/>
                  <a:pt x="5594419" y="2177219"/>
                </a:cubicBezTo>
                <a:cubicBezTo>
                  <a:pt x="5579539" y="2207323"/>
                  <a:pt x="5549780" y="2222894"/>
                  <a:pt x="5564660" y="2268050"/>
                </a:cubicBezTo>
                <a:cubicBezTo>
                  <a:pt x="5534328" y="2268050"/>
                  <a:pt x="5534328" y="2298154"/>
                  <a:pt x="5519448" y="2313206"/>
                </a:cubicBezTo>
                <a:cubicBezTo>
                  <a:pt x="5519448" y="2388466"/>
                  <a:pt x="5564660" y="2479298"/>
                  <a:pt x="5564660" y="2569610"/>
                </a:cubicBezTo>
                <a:cubicBezTo>
                  <a:pt x="5564660" y="2600233"/>
                  <a:pt x="5549780" y="2614766"/>
                  <a:pt x="5549780" y="2644870"/>
                </a:cubicBezTo>
                <a:cubicBezTo>
                  <a:pt x="5549780" y="2674975"/>
                  <a:pt x="5564660" y="2720650"/>
                  <a:pt x="5579539" y="2735702"/>
                </a:cubicBezTo>
                <a:cubicBezTo>
                  <a:pt x="5609871" y="2811481"/>
                  <a:pt x="5685414" y="2841585"/>
                  <a:pt x="5715745" y="2916846"/>
                </a:cubicBezTo>
                <a:cubicBezTo>
                  <a:pt x="5746077" y="2916846"/>
                  <a:pt x="5775836" y="2931898"/>
                  <a:pt x="5821048" y="2916846"/>
                </a:cubicBezTo>
                <a:cubicBezTo>
                  <a:pt x="5851379" y="2901794"/>
                  <a:pt x="5897163" y="2886742"/>
                  <a:pt x="5926922" y="2856637"/>
                </a:cubicBezTo>
                <a:cubicBezTo>
                  <a:pt x="5942374" y="2841585"/>
                  <a:pt x="5942374" y="2811481"/>
                  <a:pt x="5972133" y="2795910"/>
                </a:cubicBezTo>
                <a:cubicBezTo>
                  <a:pt x="5972133" y="2781377"/>
                  <a:pt x="5942374" y="2795910"/>
                  <a:pt x="5942374" y="2781377"/>
                </a:cubicBezTo>
                <a:cubicBezTo>
                  <a:pt x="5972133" y="2690546"/>
                  <a:pt x="6047676" y="2630337"/>
                  <a:pt x="6108340" y="2569610"/>
                </a:cubicBezTo>
                <a:cubicBezTo>
                  <a:pt x="6138671" y="2539506"/>
                  <a:pt x="6168431" y="2509402"/>
                  <a:pt x="6183882" y="2479298"/>
                </a:cubicBezTo>
                <a:cubicBezTo>
                  <a:pt x="6183882" y="2464246"/>
                  <a:pt x="6183882" y="2449194"/>
                  <a:pt x="6198762" y="2434142"/>
                </a:cubicBezTo>
                <a:cubicBezTo>
                  <a:pt x="6213642" y="2419090"/>
                  <a:pt x="6243973" y="2404038"/>
                  <a:pt x="6274305" y="2373933"/>
                </a:cubicBezTo>
                <a:cubicBezTo>
                  <a:pt x="6289185" y="2358362"/>
                  <a:pt x="6304064" y="2343829"/>
                  <a:pt x="6320089" y="2328258"/>
                </a:cubicBezTo>
                <a:cubicBezTo>
                  <a:pt x="6320089" y="2328258"/>
                  <a:pt x="6334968" y="2313206"/>
                  <a:pt x="6349848" y="2313206"/>
                </a:cubicBezTo>
                <a:cubicBezTo>
                  <a:pt x="6349848" y="2298154"/>
                  <a:pt x="6349848" y="2283102"/>
                  <a:pt x="6365300" y="2283102"/>
                </a:cubicBezTo>
                <a:lnTo>
                  <a:pt x="6380180" y="2283102"/>
                </a:lnTo>
                <a:cubicBezTo>
                  <a:pt x="6410511" y="2268050"/>
                  <a:pt x="6410511" y="2237427"/>
                  <a:pt x="6425391" y="2222894"/>
                </a:cubicBezTo>
                <a:cubicBezTo>
                  <a:pt x="6425391" y="2222894"/>
                  <a:pt x="6440270" y="2207323"/>
                  <a:pt x="6455150" y="2207323"/>
                </a:cubicBezTo>
                <a:cubicBezTo>
                  <a:pt x="6515813" y="2132062"/>
                  <a:pt x="6576477" y="2071854"/>
                  <a:pt x="6652020" y="1996075"/>
                </a:cubicBezTo>
                <a:cubicBezTo>
                  <a:pt x="6636568" y="1981023"/>
                  <a:pt x="6652020" y="1981023"/>
                  <a:pt x="6652020" y="1965971"/>
                </a:cubicBezTo>
                <a:cubicBezTo>
                  <a:pt x="6681779" y="1950919"/>
                  <a:pt x="6697231" y="1935867"/>
                  <a:pt x="6712110" y="1905762"/>
                </a:cubicBezTo>
                <a:lnTo>
                  <a:pt x="6787653" y="1905762"/>
                </a:lnTo>
                <a:cubicBezTo>
                  <a:pt x="6817985" y="1905762"/>
                  <a:pt x="6817985" y="1935867"/>
                  <a:pt x="6832865" y="1950919"/>
                </a:cubicBezTo>
                <a:cubicBezTo>
                  <a:pt x="6803105" y="1996075"/>
                  <a:pt x="6803105" y="2041750"/>
                  <a:pt x="6787653" y="2071854"/>
                </a:cubicBezTo>
                <a:cubicBezTo>
                  <a:pt x="6787653" y="2086906"/>
                  <a:pt x="6757894" y="2071854"/>
                  <a:pt x="6772774" y="2101958"/>
                </a:cubicBezTo>
                <a:cubicBezTo>
                  <a:pt x="6741870" y="2101958"/>
                  <a:pt x="6726990" y="2117010"/>
                  <a:pt x="6712111" y="2132062"/>
                </a:cubicBezTo>
                <a:cubicBezTo>
                  <a:pt x="6652020" y="2162686"/>
                  <a:pt x="6606808" y="2177219"/>
                  <a:pt x="6561597" y="2222894"/>
                </a:cubicBezTo>
                <a:cubicBezTo>
                  <a:pt x="6546145" y="2237427"/>
                  <a:pt x="6530693" y="2252998"/>
                  <a:pt x="6530693" y="2268050"/>
                </a:cubicBezTo>
                <a:cubicBezTo>
                  <a:pt x="6515813" y="2283102"/>
                  <a:pt x="6515813" y="2268050"/>
                  <a:pt x="6500361" y="2268050"/>
                </a:cubicBezTo>
                <a:cubicBezTo>
                  <a:pt x="6515813" y="2283102"/>
                  <a:pt x="6500361" y="2298154"/>
                  <a:pt x="6500361" y="2313206"/>
                </a:cubicBezTo>
                <a:cubicBezTo>
                  <a:pt x="6395059" y="2388466"/>
                  <a:pt x="6320089" y="2494350"/>
                  <a:pt x="6229094" y="2584662"/>
                </a:cubicBezTo>
                <a:cubicBezTo>
                  <a:pt x="6229094" y="2614766"/>
                  <a:pt x="6213642" y="2630337"/>
                  <a:pt x="6213642" y="2644870"/>
                </a:cubicBezTo>
                <a:cubicBezTo>
                  <a:pt x="6198762" y="2674975"/>
                  <a:pt x="6168431" y="2690546"/>
                  <a:pt x="6168431" y="2735702"/>
                </a:cubicBezTo>
                <a:cubicBezTo>
                  <a:pt x="6123792" y="2735702"/>
                  <a:pt x="6123792" y="2781377"/>
                  <a:pt x="6093460" y="2826014"/>
                </a:cubicBezTo>
                <a:cubicBezTo>
                  <a:pt x="6078008" y="2841585"/>
                  <a:pt x="6047676" y="2856637"/>
                  <a:pt x="6017345" y="2886742"/>
                </a:cubicBezTo>
                <a:cubicBezTo>
                  <a:pt x="6002466" y="2901794"/>
                  <a:pt x="6002465" y="2931898"/>
                  <a:pt x="5972133" y="2946950"/>
                </a:cubicBezTo>
                <a:cubicBezTo>
                  <a:pt x="5942374" y="2977054"/>
                  <a:pt x="5912043" y="3007158"/>
                  <a:pt x="5866259" y="3067885"/>
                </a:cubicBezTo>
                <a:cubicBezTo>
                  <a:pt x="5866259" y="3082937"/>
                  <a:pt x="5851379" y="3082937"/>
                  <a:pt x="5851379" y="3097990"/>
                </a:cubicBezTo>
                <a:cubicBezTo>
                  <a:pt x="5821048" y="3143665"/>
                  <a:pt x="5806168" y="3173769"/>
                  <a:pt x="5821048" y="3218925"/>
                </a:cubicBezTo>
                <a:cubicBezTo>
                  <a:pt x="5821048" y="3233977"/>
                  <a:pt x="5791288" y="3233977"/>
                  <a:pt x="5791288" y="3249029"/>
                </a:cubicBezTo>
                <a:cubicBezTo>
                  <a:pt x="5791288" y="3339341"/>
                  <a:pt x="5851379" y="3339341"/>
                  <a:pt x="5942374" y="3354394"/>
                </a:cubicBezTo>
                <a:cubicBezTo>
                  <a:pt x="5987585" y="3369965"/>
                  <a:pt x="6047676" y="3384498"/>
                  <a:pt x="6078008" y="3384498"/>
                </a:cubicBezTo>
                <a:cubicBezTo>
                  <a:pt x="6108340" y="3400069"/>
                  <a:pt x="6123792" y="3400069"/>
                  <a:pt x="6138671" y="3400069"/>
                </a:cubicBezTo>
                <a:cubicBezTo>
                  <a:pt x="6143822" y="3404740"/>
                  <a:pt x="6148400" y="3409930"/>
                  <a:pt x="6153551" y="3414602"/>
                </a:cubicBezTo>
                <a:lnTo>
                  <a:pt x="6183882" y="3414602"/>
                </a:lnTo>
                <a:cubicBezTo>
                  <a:pt x="6198762" y="3430173"/>
                  <a:pt x="6213642" y="3444706"/>
                  <a:pt x="6229094" y="3444706"/>
                </a:cubicBezTo>
                <a:cubicBezTo>
                  <a:pt x="6274305" y="3475329"/>
                  <a:pt x="6320089" y="3490381"/>
                  <a:pt x="6334968" y="3565641"/>
                </a:cubicBezTo>
                <a:cubicBezTo>
                  <a:pt x="6455150" y="3625849"/>
                  <a:pt x="6606808" y="3581212"/>
                  <a:pt x="6726990" y="3595746"/>
                </a:cubicBezTo>
                <a:cubicBezTo>
                  <a:pt x="6757894" y="3595746"/>
                  <a:pt x="6787653" y="3581212"/>
                  <a:pt x="6817985" y="3581212"/>
                </a:cubicBezTo>
                <a:cubicBezTo>
                  <a:pt x="6848317" y="3581212"/>
                  <a:pt x="6832865" y="3595746"/>
                  <a:pt x="6848317" y="3611317"/>
                </a:cubicBezTo>
                <a:lnTo>
                  <a:pt x="6848317" y="3625849"/>
                </a:lnTo>
                <a:lnTo>
                  <a:pt x="6863196" y="3625849"/>
                </a:lnTo>
                <a:cubicBezTo>
                  <a:pt x="6848317" y="3641421"/>
                  <a:pt x="6803105" y="3641421"/>
                  <a:pt x="6787653" y="3625849"/>
                </a:cubicBezTo>
                <a:cubicBezTo>
                  <a:pt x="6757894" y="3625849"/>
                  <a:pt x="6741870" y="3656473"/>
                  <a:pt x="6712110" y="3656473"/>
                </a:cubicBezTo>
                <a:lnTo>
                  <a:pt x="6712111" y="3641421"/>
                </a:lnTo>
                <a:cubicBezTo>
                  <a:pt x="6697232" y="3641421"/>
                  <a:pt x="6681779" y="3625849"/>
                  <a:pt x="6681779" y="3641421"/>
                </a:cubicBezTo>
                <a:lnTo>
                  <a:pt x="6681779" y="3656473"/>
                </a:lnTo>
                <a:lnTo>
                  <a:pt x="6666899" y="3656473"/>
                </a:lnTo>
                <a:cubicBezTo>
                  <a:pt x="6606808" y="3686577"/>
                  <a:pt x="6500361" y="3671525"/>
                  <a:pt x="6470602" y="3732252"/>
                </a:cubicBezTo>
                <a:cubicBezTo>
                  <a:pt x="6455150" y="3701629"/>
                  <a:pt x="6410511" y="3732252"/>
                  <a:pt x="6395059" y="3716681"/>
                </a:cubicBezTo>
                <a:cubicBezTo>
                  <a:pt x="6365300" y="3732252"/>
                  <a:pt x="6380180" y="3762356"/>
                  <a:pt x="6365300" y="3776889"/>
                </a:cubicBezTo>
                <a:lnTo>
                  <a:pt x="6334968" y="3776889"/>
                </a:lnTo>
                <a:cubicBezTo>
                  <a:pt x="6320089" y="3792460"/>
                  <a:pt x="6289185" y="3792460"/>
                  <a:pt x="6274305" y="3807512"/>
                </a:cubicBezTo>
                <a:cubicBezTo>
                  <a:pt x="6258853" y="3807512"/>
                  <a:pt x="6258853" y="3822564"/>
                  <a:pt x="6243973" y="3837616"/>
                </a:cubicBezTo>
                <a:cubicBezTo>
                  <a:pt x="6213642" y="3852669"/>
                  <a:pt x="6168431" y="3867721"/>
                  <a:pt x="6153551" y="3897825"/>
                </a:cubicBezTo>
                <a:cubicBezTo>
                  <a:pt x="6138671" y="3958033"/>
                  <a:pt x="6183882" y="3973604"/>
                  <a:pt x="6229094" y="4003708"/>
                </a:cubicBezTo>
                <a:cubicBezTo>
                  <a:pt x="6243973" y="4003708"/>
                  <a:pt x="6229094" y="3988656"/>
                  <a:pt x="6243973" y="3988656"/>
                </a:cubicBezTo>
                <a:cubicBezTo>
                  <a:pt x="6258853" y="4033812"/>
                  <a:pt x="6229094" y="4033812"/>
                  <a:pt x="6213642" y="4048864"/>
                </a:cubicBezTo>
                <a:cubicBezTo>
                  <a:pt x="6243973" y="4109073"/>
                  <a:pt x="6320089" y="4094021"/>
                  <a:pt x="6365300" y="4094021"/>
                </a:cubicBezTo>
                <a:cubicBezTo>
                  <a:pt x="6395059" y="4154229"/>
                  <a:pt x="6320089" y="4139177"/>
                  <a:pt x="6289185" y="4154229"/>
                </a:cubicBezTo>
                <a:cubicBezTo>
                  <a:pt x="6304064" y="4245060"/>
                  <a:pt x="6410511" y="4290216"/>
                  <a:pt x="6455150" y="4365476"/>
                </a:cubicBezTo>
                <a:cubicBezTo>
                  <a:pt x="6470602" y="4381048"/>
                  <a:pt x="6470602" y="4411671"/>
                  <a:pt x="6485482" y="4441775"/>
                </a:cubicBezTo>
                <a:cubicBezTo>
                  <a:pt x="6500361" y="4486931"/>
                  <a:pt x="6576477" y="4517035"/>
                  <a:pt x="6576477" y="4577243"/>
                </a:cubicBezTo>
                <a:cubicBezTo>
                  <a:pt x="6591356" y="4668075"/>
                  <a:pt x="6530693" y="4743854"/>
                  <a:pt x="6530693" y="4833647"/>
                </a:cubicBezTo>
                <a:cubicBezTo>
                  <a:pt x="6546145" y="4864271"/>
                  <a:pt x="6576477" y="4894375"/>
                  <a:pt x="6561598" y="4954583"/>
                </a:cubicBezTo>
                <a:cubicBezTo>
                  <a:pt x="6546145" y="5000258"/>
                  <a:pt x="6515813" y="5030362"/>
                  <a:pt x="6500361" y="5075518"/>
                </a:cubicBezTo>
                <a:cubicBezTo>
                  <a:pt x="6470602" y="5060466"/>
                  <a:pt x="6455150" y="5090570"/>
                  <a:pt x="6440270" y="5090570"/>
                </a:cubicBezTo>
                <a:cubicBezTo>
                  <a:pt x="6380180" y="5105622"/>
                  <a:pt x="6320089" y="5105622"/>
                  <a:pt x="6274305" y="5105622"/>
                </a:cubicBezTo>
                <a:cubicBezTo>
                  <a:pt x="6229094" y="5121194"/>
                  <a:pt x="6198762" y="5135727"/>
                  <a:pt x="6138671" y="5135727"/>
                </a:cubicBezTo>
                <a:lnTo>
                  <a:pt x="6062556" y="5135727"/>
                </a:lnTo>
                <a:cubicBezTo>
                  <a:pt x="6032797" y="5135727"/>
                  <a:pt x="6002465" y="5165831"/>
                  <a:pt x="5957254" y="5151298"/>
                </a:cubicBezTo>
                <a:cubicBezTo>
                  <a:pt x="5942374" y="5165831"/>
                  <a:pt x="5912043" y="5165831"/>
                  <a:pt x="5881712" y="5151298"/>
                </a:cubicBezTo>
                <a:cubicBezTo>
                  <a:pt x="5851379" y="5181402"/>
                  <a:pt x="5881711" y="5302337"/>
                  <a:pt x="5821048" y="5286766"/>
                </a:cubicBezTo>
                <a:cubicBezTo>
                  <a:pt x="5791288" y="5286766"/>
                  <a:pt x="5836500" y="5196454"/>
                  <a:pt x="5821048" y="5151298"/>
                </a:cubicBezTo>
                <a:cubicBezTo>
                  <a:pt x="5821048" y="5135727"/>
                  <a:pt x="5791288" y="5151298"/>
                  <a:pt x="5791288" y="5135727"/>
                </a:cubicBezTo>
                <a:cubicBezTo>
                  <a:pt x="5746077" y="5151298"/>
                  <a:pt x="5700866" y="5211506"/>
                  <a:pt x="5655654" y="5196454"/>
                </a:cubicBezTo>
                <a:cubicBezTo>
                  <a:pt x="5655654" y="5211506"/>
                  <a:pt x="5639630" y="5211506"/>
                  <a:pt x="5624750" y="5211506"/>
                </a:cubicBezTo>
                <a:cubicBezTo>
                  <a:pt x="5609871" y="5211506"/>
                  <a:pt x="5609871" y="5181402"/>
                  <a:pt x="5594419" y="5181402"/>
                </a:cubicBezTo>
                <a:cubicBezTo>
                  <a:pt x="5549780" y="5181402"/>
                  <a:pt x="5534328" y="5241610"/>
                  <a:pt x="5519448" y="5272233"/>
                </a:cubicBezTo>
                <a:cubicBezTo>
                  <a:pt x="5519448" y="5286766"/>
                  <a:pt x="5489117" y="5302337"/>
                  <a:pt x="5489117" y="5316870"/>
                </a:cubicBezTo>
                <a:cubicBezTo>
                  <a:pt x="5474237" y="5332441"/>
                  <a:pt x="5474237" y="5346974"/>
                  <a:pt x="5459357" y="5362546"/>
                </a:cubicBezTo>
                <a:cubicBezTo>
                  <a:pt x="5443905" y="5407702"/>
                  <a:pt x="5398122" y="5483481"/>
                  <a:pt x="5398122" y="5573274"/>
                </a:cubicBezTo>
                <a:cubicBezTo>
                  <a:pt x="5398122" y="5618950"/>
                  <a:pt x="5398122" y="5664106"/>
                  <a:pt x="5352911" y="5694210"/>
                </a:cubicBezTo>
                <a:cubicBezTo>
                  <a:pt x="5263060" y="5679158"/>
                  <a:pt x="5323151" y="5528637"/>
                  <a:pt x="5307699" y="5467910"/>
                </a:cubicBezTo>
                <a:cubicBezTo>
                  <a:pt x="5277940" y="5437806"/>
                  <a:pt x="5201825" y="5453377"/>
                  <a:pt x="5186945" y="5513585"/>
                </a:cubicBezTo>
                <a:cubicBezTo>
                  <a:pt x="5172065" y="5573274"/>
                  <a:pt x="5232729" y="5679158"/>
                  <a:pt x="5232729" y="5769989"/>
                </a:cubicBezTo>
                <a:cubicBezTo>
                  <a:pt x="5247608" y="5815145"/>
                  <a:pt x="5263060" y="5845250"/>
                  <a:pt x="5263060" y="5875354"/>
                </a:cubicBezTo>
                <a:cubicBezTo>
                  <a:pt x="5277940" y="5921029"/>
                  <a:pt x="5263060" y="5966185"/>
                  <a:pt x="5307699" y="5981237"/>
                </a:cubicBezTo>
                <a:cubicBezTo>
                  <a:pt x="5292820" y="6011341"/>
                  <a:pt x="5292820" y="6041445"/>
                  <a:pt x="5263060" y="6056497"/>
                </a:cubicBezTo>
                <a:cubicBezTo>
                  <a:pt x="5247608" y="6041445"/>
                  <a:pt x="5232729" y="6041445"/>
                  <a:pt x="5217849" y="6041445"/>
                </a:cubicBezTo>
                <a:cubicBezTo>
                  <a:pt x="5186945" y="5921029"/>
                  <a:pt x="5201825" y="5739885"/>
                  <a:pt x="5111402" y="5679158"/>
                </a:cubicBezTo>
                <a:cubicBezTo>
                  <a:pt x="5036432" y="5724314"/>
                  <a:pt x="4975768" y="5618950"/>
                  <a:pt x="4915105" y="5664106"/>
                </a:cubicBezTo>
                <a:cubicBezTo>
                  <a:pt x="4930557" y="5845250"/>
                  <a:pt x="4990648" y="5981237"/>
                  <a:pt x="5020980" y="6116706"/>
                </a:cubicBezTo>
                <a:cubicBezTo>
                  <a:pt x="5066191" y="6147329"/>
                  <a:pt x="5081643" y="6207537"/>
                  <a:pt x="5066191" y="6267745"/>
                </a:cubicBezTo>
                <a:cubicBezTo>
                  <a:pt x="5066191" y="6297849"/>
                  <a:pt x="5051311" y="6328473"/>
                  <a:pt x="5036432" y="6358577"/>
                </a:cubicBezTo>
                <a:cubicBezTo>
                  <a:pt x="5036432" y="6433837"/>
                  <a:pt x="5066191" y="6479512"/>
                  <a:pt x="5096523" y="6569825"/>
                </a:cubicBezTo>
                <a:cubicBezTo>
                  <a:pt x="5111402" y="6614981"/>
                  <a:pt x="5081643" y="6675189"/>
                  <a:pt x="5096523" y="6735397"/>
                </a:cubicBezTo>
                <a:cubicBezTo>
                  <a:pt x="5111402" y="6750968"/>
                  <a:pt x="5126854" y="6766020"/>
                  <a:pt x="5141734" y="6796125"/>
                </a:cubicBezTo>
                <a:cubicBezTo>
                  <a:pt x="5172065" y="6871904"/>
                  <a:pt x="5111402" y="6917060"/>
                  <a:pt x="5111403" y="6992320"/>
                </a:cubicBezTo>
                <a:cubicBezTo>
                  <a:pt x="4990648" y="7067581"/>
                  <a:pt x="5006100" y="6811177"/>
                  <a:pt x="5036432" y="6735397"/>
                </a:cubicBezTo>
                <a:cubicBezTo>
                  <a:pt x="5006100" y="6690760"/>
                  <a:pt x="5020980" y="6630033"/>
                  <a:pt x="5006100" y="6569825"/>
                </a:cubicBezTo>
                <a:cubicBezTo>
                  <a:pt x="5006100" y="6539720"/>
                  <a:pt x="4975768" y="6509616"/>
                  <a:pt x="4975768" y="6479512"/>
                </a:cubicBezTo>
                <a:cubicBezTo>
                  <a:pt x="4960316" y="6433837"/>
                  <a:pt x="4975768" y="6403733"/>
                  <a:pt x="4975768" y="6358577"/>
                </a:cubicBezTo>
                <a:cubicBezTo>
                  <a:pt x="4960316" y="6297849"/>
                  <a:pt x="4930557" y="6253212"/>
                  <a:pt x="4930557" y="6177433"/>
                </a:cubicBezTo>
                <a:lnTo>
                  <a:pt x="4900225" y="6177433"/>
                </a:lnTo>
                <a:cubicBezTo>
                  <a:pt x="4900225" y="6162381"/>
                  <a:pt x="4915105" y="6162381"/>
                  <a:pt x="4930557" y="6162381"/>
                </a:cubicBezTo>
                <a:cubicBezTo>
                  <a:pt x="4945437" y="6086602"/>
                  <a:pt x="4869894" y="5996289"/>
                  <a:pt x="4824683" y="5921029"/>
                </a:cubicBezTo>
                <a:cubicBezTo>
                  <a:pt x="4809803" y="5935562"/>
                  <a:pt x="4794923" y="5921029"/>
                  <a:pt x="4779471" y="5921029"/>
                </a:cubicBezTo>
                <a:cubicBezTo>
                  <a:pt x="4764019" y="5890925"/>
                  <a:pt x="4749140" y="5845250"/>
                  <a:pt x="4764019" y="5800093"/>
                </a:cubicBezTo>
                <a:cubicBezTo>
                  <a:pt x="4733688" y="5784522"/>
                  <a:pt x="4718808" y="5739885"/>
                  <a:pt x="4689049" y="5724314"/>
                </a:cubicBezTo>
                <a:cubicBezTo>
                  <a:pt x="4673597" y="5679158"/>
                  <a:pt x="4658717" y="5649054"/>
                  <a:pt x="4643837" y="5603379"/>
                </a:cubicBezTo>
                <a:cubicBezTo>
                  <a:pt x="4643837" y="5573274"/>
                  <a:pt x="4643837" y="5543689"/>
                  <a:pt x="4628385" y="5543689"/>
                </a:cubicBezTo>
                <a:cubicBezTo>
                  <a:pt x="4553415" y="5543689"/>
                  <a:pt x="4553415" y="5603379"/>
                  <a:pt x="4492179" y="5618950"/>
                </a:cubicBezTo>
                <a:cubicBezTo>
                  <a:pt x="4477300" y="5649054"/>
                  <a:pt x="4446968" y="5694210"/>
                  <a:pt x="4432088" y="5724314"/>
                </a:cubicBezTo>
                <a:cubicBezTo>
                  <a:pt x="4446968" y="5875354"/>
                  <a:pt x="4477300" y="6116706"/>
                  <a:pt x="4266123" y="6102174"/>
                </a:cubicBezTo>
                <a:cubicBezTo>
                  <a:pt x="4205460" y="6056497"/>
                  <a:pt x="4190580" y="5981237"/>
                  <a:pt x="4205460" y="5890925"/>
                </a:cubicBezTo>
                <a:cubicBezTo>
                  <a:pt x="4250671" y="5845250"/>
                  <a:pt x="4250671" y="5754418"/>
                  <a:pt x="4266123" y="5679158"/>
                </a:cubicBezTo>
                <a:cubicBezTo>
                  <a:pt x="4250671" y="5649054"/>
                  <a:pt x="4250671" y="5634002"/>
                  <a:pt x="4235791" y="5603379"/>
                </a:cubicBezTo>
                <a:cubicBezTo>
                  <a:pt x="4220912" y="5588845"/>
                  <a:pt x="4205460" y="5558741"/>
                  <a:pt x="4205460" y="5543689"/>
                </a:cubicBezTo>
                <a:cubicBezTo>
                  <a:pt x="4175700" y="5467910"/>
                  <a:pt x="4190580" y="5377598"/>
                  <a:pt x="4160249" y="5332441"/>
                </a:cubicBezTo>
                <a:cubicBezTo>
                  <a:pt x="4130489" y="5302337"/>
                  <a:pt x="4099585" y="5286766"/>
                  <a:pt x="4084706" y="5256662"/>
                </a:cubicBezTo>
                <a:cubicBezTo>
                  <a:pt x="4054374" y="5256662"/>
                  <a:pt x="4024615" y="5241610"/>
                  <a:pt x="3994283" y="5241610"/>
                </a:cubicBezTo>
                <a:cubicBezTo>
                  <a:pt x="3963951" y="5226558"/>
                  <a:pt x="3934192" y="5241610"/>
                  <a:pt x="3903860" y="5226558"/>
                </a:cubicBezTo>
                <a:cubicBezTo>
                  <a:pt x="3888408" y="5226558"/>
                  <a:pt x="3872957" y="5211506"/>
                  <a:pt x="3843197" y="5211506"/>
                </a:cubicBezTo>
                <a:cubicBezTo>
                  <a:pt x="3812866" y="5196454"/>
                  <a:pt x="3767654" y="5196454"/>
                  <a:pt x="3752775" y="5181402"/>
                </a:cubicBezTo>
                <a:cubicBezTo>
                  <a:pt x="3737895" y="5181402"/>
                  <a:pt x="3722443" y="5151298"/>
                  <a:pt x="3707563" y="5151298"/>
                </a:cubicBezTo>
                <a:cubicBezTo>
                  <a:pt x="3692684" y="5135727"/>
                  <a:pt x="3677232" y="5121194"/>
                  <a:pt x="3661780" y="5105622"/>
                </a:cubicBezTo>
                <a:cubicBezTo>
                  <a:pt x="3661780" y="5075518"/>
                  <a:pt x="3631448" y="5045414"/>
                  <a:pt x="3616569" y="5030362"/>
                </a:cubicBezTo>
                <a:cubicBezTo>
                  <a:pt x="3616569" y="4954583"/>
                  <a:pt x="3556478" y="4924479"/>
                  <a:pt x="3541598" y="4879323"/>
                </a:cubicBezTo>
                <a:cubicBezTo>
                  <a:pt x="3511266" y="4864271"/>
                  <a:pt x="3511266" y="4833647"/>
                  <a:pt x="3496387" y="4819114"/>
                </a:cubicBezTo>
                <a:cubicBezTo>
                  <a:pt x="3480935" y="4819114"/>
                  <a:pt x="3450603" y="4789010"/>
                  <a:pt x="3435151" y="4773958"/>
                </a:cubicBezTo>
                <a:cubicBezTo>
                  <a:pt x="3375060" y="4758906"/>
                  <a:pt x="3329849" y="4773958"/>
                  <a:pt x="3269758" y="4789010"/>
                </a:cubicBezTo>
                <a:cubicBezTo>
                  <a:pt x="3193643" y="4803543"/>
                  <a:pt x="3133552" y="4819114"/>
                  <a:pt x="3073461" y="4864271"/>
                </a:cubicBezTo>
                <a:cubicBezTo>
                  <a:pt x="3043129" y="4879323"/>
                  <a:pt x="3028250" y="4909427"/>
                  <a:pt x="3012798" y="4924479"/>
                </a:cubicBezTo>
                <a:cubicBezTo>
                  <a:pt x="2982466" y="4940050"/>
                  <a:pt x="2937255" y="4954583"/>
                  <a:pt x="2922375" y="4984687"/>
                </a:cubicBezTo>
                <a:cubicBezTo>
                  <a:pt x="2906923" y="4984687"/>
                  <a:pt x="2906923" y="4970154"/>
                  <a:pt x="2906923" y="4970154"/>
                </a:cubicBezTo>
                <a:cubicBezTo>
                  <a:pt x="2899483" y="4973787"/>
                  <a:pt x="2890112" y="4975604"/>
                  <a:pt x="2879766" y="4976991"/>
                </a:cubicBezTo>
                <a:lnTo>
                  <a:pt x="2852748" y="4980476"/>
                </a:lnTo>
                <a:lnTo>
                  <a:pt x="2841540" y="5001382"/>
                </a:lnTo>
                <a:cubicBezTo>
                  <a:pt x="2837860" y="5012436"/>
                  <a:pt x="2836503" y="5024483"/>
                  <a:pt x="2839123" y="5037828"/>
                </a:cubicBezTo>
                <a:cubicBezTo>
                  <a:pt x="2775063" y="5080601"/>
                  <a:pt x="2807237" y="5154861"/>
                  <a:pt x="2774984" y="5208400"/>
                </a:cubicBezTo>
                <a:cubicBezTo>
                  <a:pt x="2775596" y="5251097"/>
                  <a:pt x="2785956" y="5283310"/>
                  <a:pt x="2785796" y="5326044"/>
                </a:cubicBezTo>
                <a:cubicBezTo>
                  <a:pt x="2753544" y="5379584"/>
                  <a:pt x="2700370" y="5475330"/>
                  <a:pt x="2646909" y="5442911"/>
                </a:cubicBezTo>
                <a:cubicBezTo>
                  <a:pt x="2582765" y="5400619"/>
                  <a:pt x="2657508" y="5304590"/>
                  <a:pt x="2647025" y="5251213"/>
                </a:cubicBezTo>
                <a:cubicBezTo>
                  <a:pt x="2711368" y="5186869"/>
                  <a:pt x="2732572" y="5123092"/>
                  <a:pt x="2721723" y="5069347"/>
                </a:cubicBezTo>
                <a:cubicBezTo>
                  <a:pt x="2732346" y="5058724"/>
                  <a:pt x="2740980" y="5047429"/>
                  <a:pt x="2748295" y="5035458"/>
                </a:cubicBezTo>
                <a:lnTo>
                  <a:pt x="2758940" y="5013800"/>
                </a:lnTo>
                <a:lnTo>
                  <a:pt x="2736898" y="5018603"/>
                </a:lnTo>
                <a:cubicBezTo>
                  <a:pt x="2693815" y="5034125"/>
                  <a:pt x="2665701" y="5079281"/>
                  <a:pt x="2620203" y="5090570"/>
                </a:cubicBezTo>
                <a:cubicBezTo>
                  <a:pt x="2590444" y="5121194"/>
                  <a:pt x="2574992" y="5151298"/>
                  <a:pt x="2544661" y="5181402"/>
                </a:cubicBezTo>
                <a:cubicBezTo>
                  <a:pt x="2483997" y="5196454"/>
                  <a:pt x="2378695" y="5226558"/>
                  <a:pt x="2363816" y="5165831"/>
                </a:cubicBezTo>
                <a:cubicBezTo>
                  <a:pt x="2348364" y="5090570"/>
                  <a:pt x="2469118" y="5075518"/>
                  <a:pt x="2499449" y="5030362"/>
                </a:cubicBezTo>
                <a:cubicBezTo>
                  <a:pt x="2590444" y="5030362"/>
                  <a:pt x="2650535" y="5000258"/>
                  <a:pt x="2680867" y="4954583"/>
                </a:cubicBezTo>
                <a:cubicBezTo>
                  <a:pt x="2710913" y="4954583"/>
                  <a:pt x="2737238" y="4947057"/>
                  <a:pt x="2763635" y="4935768"/>
                </a:cubicBezTo>
                <a:lnTo>
                  <a:pt x="2792478" y="4921418"/>
                </a:lnTo>
                <a:lnTo>
                  <a:pt x="2796505" y="4909419"/>
                </a:lnTo>
                <a:cubicBezTo>
                  <a:pt x="2796505" y="4909419"/>
                  <a:pt x="2817670" y="4909540"/>
                  <a:pt x="2807026" y="4898897"/>
                </a:cubicBezTo>
                <a:cubicBezTo>
                  <a:pt x="2828474" y="4877449"/>
                  <a:pt x="2828635" y="4834715"/>
                  <a:pt x="2839034" y="4803027"/>
                </a:cubicBezTo>
                <a:cubicBezTo>
                  <a:pt x="2839195" y="4760293"/>
                  <a:pt x="2850282" y="4706632"/>
                  <a:pt x="2860964" y="4653376"/>
                </a:cubicBezTo>
                <a:cubicBezTo>
                  <a:pt x="2871280" y="4599754"/>
                  <a:pt x="2871036" y="4557423"/>
                  <a:pt x="2860432" y="4482881"/>
                </a:cubicBezTo>
                <a:cubicBezTo>
                  <a:pt x="2850071" y="4450668"/>
                  <a:pt x="2839427" y="4440024"/>
                  <a:pt x="2818141" y="4418737"/>
                </a:cubicBezTo>
                <a:lnTo>
                  <a:pt x="2822429" y="4394964"/>
                </a:lnTo>
                <a:lnTo>
                  <a:pt x="2816501" y="4395581"/>
                </a:lnTo>
                <a:cubicBezTo>
                  <a:pt x="2786169" y="4395581"/>
                  <a:pt x="2755837" y="4381048"/>
                  <a:pt x="2725506" y="4381048"/>
                </a:cubicBezTo>
                <a:cubicBezTo>
                  <a:pt x="2720355" y="4385719"/>
                  <a:pt x="2715777" y="4390909"/>
                  <a:pt x="2710626" y="4395581"/>
                </a:cubicBezTo>
                <a:lnTo>
                  <a:pt x="2665415" y="4395581"/>
                </a:lnTo>
                <a:cubicBezTo>
                  <a:pt x="2642809" y="4395581"/>
                  <a:pt x="2620203" y="4403367"/>
                  <a:pt x="2595666" y="4409271"/>
                </a:cubicBezTo>
                <a:lnTo>
                  <a:pt x="2563332" y="4414509"/>
                </a:lnTo>
                <a:lnTo>
                  <a:pt x="2518913" y="4461055"/>
                </a:lnTo>
                <a:cubicBezTo>
                  <a:pt x="2476018" y="4503951"/>
                  <a:pt x="2454326" y="4546196"/>
                  <a:pt x="2422357" y="4578165"/>
                </a:cubicBezTo>
                <a:cubicBezTo>
                  <a:pt x="2400909" y="4599613"/>
                  <a:pt x="2369184" y="4610785"/>
                  <a:pt x="2347737" y="4632232"/>
                </a:cubicBezTo>
                <a:cubicBezTo>
                  <a:pt x="2347398" y="4639177"/>
                  <a:pt x="2347830" y="4646084"/>
                  <a:pt x="2347492" y="4653030"/>
                </a:cubicBezTo>
                <a:lnTo>
                  <a:pt x="2315523" y="4684999"/>
                </a:lnTo>
                <a:cubicBezTo>
                  <a:pt x="2283553" y="4716969"/>
                  <a:pt x="2273605" y="4770958"/>
                  <a:pt x="2220066" y="4803210"/>
                </a:cubicBezTo>
                <a:cubicBezTo>
                  <a:pt x="2209544" y="4813732"/>
                  <a:pt x="2187241" y="4813281"/>
                  <a:pt x="2166649" y="4856627"/>
                </a:cubicBezTo>
                <a:cubicBezTo>
                  <a:pt x="2156250" y="4888313"/>
                  <a:pt x="2081385" y="4963178"/>
                  <a:pt x="2060059" y="5005791"/>
                </a:cubicBezTo>
                <a:cubicBezTo>
                  <a:pt x="2059776" y="5027360"/>
                  <a:pt x="2059776" y="5027360"/>
                  <a:pt x="2070420" y="5038004"/>
                </a:cubicBezTo>
                <a:cubicBezTo>
                  <a:pt x="2049377" y="5059046"/>
                  <a:pt x="2017286" y="5069851"/>
                  <a:pt x="2028050" y="5101660"/>
                </a:cubicBezTo>
                <a:cubicBezTo>
                  <a:pt x="1974390" y="5112746"/>
                  <a:pt x="1953186" y="5176524"/>
                  <a:pt x="1932228" y="5219503"/>
                </a:cubicBezTo>
                <a:cubicBezTo>
                  <a:pt x="1931578" y="5240706"/>
                  <a:pt x="1921545" y="5272759"/>
                  <a:pt x="1921545" y="5272759"/>
                </a:cubicBezTo>
                <a:cubicBezTo>
                  <a:pt x="1899852" y="5315005"/>
                  <a:pt x="1846192" y="5326092"/>
                  <a:pt x="1814262" y="5294161"/>
                </a:cubicBezTo>
                <a:cubicBezTo>
                  <a:pt x="1771688" y="5251588"/>
                  <a:pt x="1824654" y="5175868"/>
                  <a:pt x="1856868" y="5123101"/>
                </a:cubicBezTo>
                <a:cubicBezTo>
                  <a:pt x="1899358" y="5080610"/>
                  <a:pt x="1931892" y="5005501"/>
                  <a:pt x="1952852" y="4962521"/>
                </a:cubicBezTo>
                <a:cubicBezTo>
                  <a:pt x="2070131" y="4909838"/>
                  <a:pt x="2048837" y="4738815"/>
                  <a:pt x="2166360" y="4728460"/>
                </a:cubicBezTo>
                <a:lnTo>
                  <a:pt x="2241629" y="4653191"/>
                </a:lnTo>
                <a:cubicBezTo>
                  <a:pt x="2252150" y="4642670"/>
                  <a:pt x="2241140" y="4631660"/>
                  <a:pt x="2230497" y="4621016"/>
                </a:cubicBezTo>
                <a:cubicBezTo>
                  <a:pt x="2270468" y="4565080"/>
                  <a:pt x="2304680" y="4502929"/>
                  <a:pt x="2350701" y="4443937"/>
                </a:cubicBezTo>
                <a:lnTo>
                  <a:pt x="2367226" y="4425131"/>
                </a:lnTo>
                <a:lnTo>
                  <a:pt x="2354158" y="4426723"/>
                </a:lnTo>
                <a:cubicBezTo>
                  <a:pt x="2318318" y="4430486"/>
                  <a:pt x="2280547" y="4434249"/>
                  <a:pt x="2257941" y="4441775"/>
                </a:cubicBezTo>
                <a:cubicBezTo>
                  <a:pt x="2242489" y="4456827"/>
                  <a:pt x="2242489" y="4456827"/>
                  <a:pt x="2242489" y="4471879"/>
                </a:cubicBezTo>
                <a:cubicBezTo>
                  <a:pt x="2212730" y="4471879"/>
                  <a:pt x="2182398" y="4456827"/>
                  <a:pt x="2167518" y="4486931"/>
                </a:cubicBezTo>
                <a:cubicBezTo>
                  <a:pt x="2121735" y="4456827"/>
                  <a:pt x="2061644" y="4486931"/>
                  <a:pt x="2016433" y="4502502"/>
                </a:cubicBezTo>
                <a:cubicBezTo>
                  <a:pt x="2000981" y="4517035"/>
                  <a:pt x="1971221" y="4532606"/>
                  <a:pt x="1971221" y="4532606"/>
                </a:cubicBezTo>
                <a:cubicBezTo>
                  <a:pt x="1926010" y="4547139"/>
                  <a:pt x="1880227" y="4517035"/>
                  <a:pt x="1880227" y="4471879"/>
                </a:cubicBezTo>
                <a:cubicBezTo>
                  <a:pt x="1880227" y="4411671"/>
                  <a:pt x="1971221" y="4395581"/>
                  <a:pt x="2031312" y="4381048"/>
                </a:cubicBezTo>
                <a:cubicBezTo>
                  <a:pt x="2091403" y="4381048"/>
                  <a:pt x="2167518" y="4350943"/>
                  <a:pt x="2212730" y="4335372"/>
                </a:cubicBezTo>
                <a:cubicBezTo>
                  <a:pt x="2302867" y="4369629"/>
                  <a:pt x="2384955" y="4301700"/>
                  <a:pt x="2458513" y="4297564"/>
                </a:cubicBezTo>
                <a:lnTo>
                  <a:pt x="2459714" y="4297698"/>
                </a:lnTo>
                <a:lnTo>
                  <a:pt x="2492762" y="4261551"/>
                </a:lnTo>
                <a:cubicBezTo>
                  <a:pt x="2505894" y="4246710"/>
                  <a:pt x="2518478" y="4231372"/>
                  <a:pt x="2528979" y="4215366"/>
                </a:cubicBezTo>
                <a:cubicBezTo>
                  <a:pt x="2550672" y="4173121"/>
                  <a:pt x="2582961" y="4118811"/>
                  <a:pt x="2572196" y="4087002"/>
                </a:cubicBezTo>
                <a:lnTo>
                  <a:pt x="2572074" y="4065837"/>
                </a:lnTo>
                <a:cubicBezTo>
                  <a:pt x="2561430" y="4055193"/>
                  <a:pt x="2561309" y="4034029"/>
                  <a:pt x="2540266" y="4055072"/>
                </a:cubicBezTo>
                <a:cubicBezTo>
                  <a:pt x="2561309" y="4034029"/>
                  <a:pt x="2508335" y="4023141"/>
                  <a:pt x="2540021" y="4012742"/>
                </a:cubicBezTo>
                <a:cubicBezTo>
                  <a:pt x="2508091" y="3980812"/>
                  <a:pt x="2476405" y="3991211"/>
                  <a:pt x="2465640" y="3959403"/>
                </a:cubicBezTo>
                <a:cubicBezTo>
                  <a:pt x="2454997" y="3948759"/>
                  <a:pt x="2444596" y="3980446"/>
                  <a:pt x="2433465" y="3948271"/>
                </a:cubicBezTo>
                <a:cubicBezTo>
                  <a:pt x="2412017" y="3969719"/>
                  <a:pt x="2422943" y="3958793"/>
                  <a:pt x="2401740" y="3959442"/>
                </a:cubicBezTo>
                <a:cubicBezTo>
                  <a:pt x="2401656" y="3937506"/>
                  <a:pt x="2391380" y="3927229"/>
                  <a:pt x="2401901" y="3916707"/>
                </a:cubicBezTo>
                <a:cubicBezTo>
                  <a:pt x="2380369" y="3916219"/>
                  <a:pt x="2369443" y="3927145"/>
                  <a:pt x="2358800" y="3916502"/>
                </a:cubicBezTo>
                <a:cubicBezTo>
                  <a:pt x="2369726" y="3905576"/>
                  <a:pt x="2380369" y="3916219"/>
                  <a:pt x="2380369" y="3916219"/>
                </a:cubicBezTo>
                <a:cubicBezTo>
                  <a:pt x="2390769" y="3884532"/>
                  <a:pt x="2348317" y="3863123"/>
                  <a:pt x="2337674" y="3852480"/>
                </a:cubicBezTo>
                <a:cubicBezTo>
                  <a:pt x="2327030" y="3841836"/>
                  <a:pt x="2337552" y="3831315"/>
                  <a:pt x="2327030" y="3841836"/>
                </a:cubicBezTo>
                <a:cubicBezTo>
                  <a:pt x="2294855" y="3830705"/>
                  <a:pt x="2327030" y="3841836"/>
                  <a:pt x="2326908" y="3820671"/>
                </a:cubicBezTo>
                <a:cubicBezTo>
                  <a:pt x="2273325" y="3767087"/>
                  <a:pt x="2241394" y="3735157"/>
                  <a:pt x="2177212" y="3756766"/>
                </a:cubicBezTo>
                <a:cubicBezTo>
                  <a:pt x="2177127" y="3734829"/>
                  <a:pt x="2145404" y="3746001"/>
                  <a:pt x="2155841" y="3713543"/>
                </a:cubicBezTo>
                <a:cubicBezTo>
                  <a:pt x="2113106" y="3713703"/>
                  <a:pt x="2070250" y="3692699"/>
                  <a:pt x="2038441" y="3681934"/>
                </a:cubicBezTo>
                <a:cubicBezTo>
                  <a:pt x="2027798" y="3671291"/>
                  <a:pt x="1995708" y="3682094"/>
                  <a:pt x="1985186" y="3692616"/>
                </a:cubicBezTo>
                <a:cubicBezTo>
                  <a:pt x="1985157" y="3685303"/>
                  <a:pt x="1984725" y="3678396"/>
                  <a:pt x="1984697" y="3671084"/>
                </a:cubicBezTo>
                <a:cubicBezTo>
                  <a:pt x="1963899" y="3671330"/>
                  <a:pt x="1974175" y="3681606"/>
                  <a:pt x="1963654" y="3692128"/>
                </a:cubicBezTo>
                <a:cubicBezTo>
                  <a:pt x="1942451" y="3692777"/>
                  <a:pt x="1931441" y="3681767"/>
                  <a:pt x="1910643" y="3682012"/>
                </a:cubicBezTo>
                <a:cubicBezTo>
                  <a:pt x="1910643" y="3682012"/>
                  <a:pt x="1878185" y="3692449"/>
                  <a:pt x="1857387" y="3692695"/>
                </a:cubicBezTo>
                <a:cubicBezTo>
                  <a:pt x="1846866" y="3703216"/>
                  <a:pt x="1824929" y="3703132"/>
                  <a:pt x="1814003" y="3714058"/>
                </a:cubicBezTo>
                <a:lnTo>
                  <a:pt x="1792959" y="3735101"/>
                </a:lnTo>
                <a:cubicBezTo>
                  <a:pt x="1707734" y="3777752"/>
                  <a:pt x="1611743" y="3788596"/>
                  <a:pt x="1547439" y="3789040"/>
                </a:cubicBezTo>
                <a:lnTo>
                  <a:pt x="1525992" y="3810487"/>
                </a:lnTo>
                <a:cubicBezTo>
                  <a:pt x="1515348" y="3799843"/>
                  <a:pt x="1493817" y="3799355"/>
                  <a:pt x="1483540" y="3789078"/>
                </a:cubicBezTo>
                <a:cubicBezTo>
                  <a:pt x="1472774" y="3820398"/>
                  <a:pt x="1483540" y="3789078"/>
                  <a:pt x="1473018" y="3799600"/>
                </a:cubicBezTo>
                <a:cubicBezTo>
                  <a:pt x="1451487" y="3799111"/>
                  <a:pt x="1440561" y="3810037"/>
                  <a:pt x="1440561" y="3810037"/>
                </a:cubicBezTo>
                <a:cubicBezTo>
                  <a:pt x="1419763" y="3810282"/>
                  <a:pt x="1376945" y="3788506"/>
                  <a:pt x="1366300" y="3777862"/>
                </a:cubicBezTo>
                <a:cubicBezTo>
                  <a:pt x="1323687" y="3799189"/>
                  <a:pt x="1280831" y="3778185"/>
                  <a:pt x="1237936" y="3821080"/>
                </a:cubicBezTo>
                <a:cubicBezTo>
                  <a:pt x="1205639" y="3788783"/>
                  <a:pt x="1141945" y="3831923"/>
                  <a:pt x="1141945" y="3831923"/>
                </a:cubicBezTo>
                <a:cubicBezTo>
                  <a:pt x="1131424" y="3842445"/>
                  <a:pt x="1109770" y="3820791"/>
                  <a:pt x="1078084" y="3831191"/>
                </a:cubicBezTo>
                <a:lnTo>
                  <a:pt x="1056636" y="3852638"/>
                </a:lnTo>
                <a:lnTo>
                  <a:pt x="1045993" y="3841995"/>
                </a:lnTo>
                <a:cubicBezTo>
                  <a:pt x="1024423" y="3842278"/>
                  <a:pt x="1002976" y="3863726"/>
                  <a:pt x="992331" y="3853081"/>
                </a:cubicBezTo>
                <a:cubicBezTo>
                  <a:pt x="949719" y="3874407"/>
                  <a:pt x="906617" y="3874201"/>
                  <a:pt x="874809" y="3863436"/>
                </a:cubicBezTo>
                <a:cubicBezTo>
                  <a:pt x="864372" y="3895894"/>
                  <a:pt x="853362" y="3884884"/>
                  <a:pt x="842840" y="3895405"/>
                </a:cubicBezTo>
                <a:cubicBezTo>
                  <a:pt x="800388" y="3873997"/>
                  <a:pt x="735923" y="3917175"/>
                  <a:pt x="714919" y="3874319"/>
                </a:cubicBezTo>
                <a:cubicBezTo>
                  <a:pt x="693594" y="3916931"/>
                  <a:pt x="618683" y="3905959"/>
                  <a:pt x="565427" y="3916642"/>
                </a:cubicBezTo>
                <a:cubicBezTo>
                  <a:pt x="523182" y="3938335"/>
                  <a:pt x="469154" y="3949054"/>
                  <a:pt x="426420" y="3949215"/>
                </a:cubicBezTo>
                <a:cubicBezTo>
                  <a:pt x="341194" y="3991867"/>
                  <a:pt x="245487" y="3981141"/>
                  <a:pt x="148846" y="4013186"/>
                </a:cubicBezTo>
                <a:cubicBezTo>
                  <a:pt x="106761" y="3992145"/>
                  <a:pt x="53260" y="4023625"/>
                  <a:pt x="10648" y="4044951"/>
                </a:cubicBezTo>
                <a:cubicBezTo>
                  <a:pt x="10648" y="4044951"/>
                  <a:pt x="-278" y="4055877"/>
                  <a:pt x="5" y="4034307"/>
                </a:cubicBezTo>
                <a:cubicBezTo>
                  <a:pt x="1934" y="4018431"/>
                  <a:pt x="10376" y="3963745"/>
                  <a:pt x="21086" y="3949365"/>
                </a:cubicBezTo>
                <a:cubicBezTo>
                  <a:pt x="35344" y="3949054"/>
                  <a:pt x="49564" y="3949515"/>
                  <a:pt x="63821" y="3949204"/>
                </a:cubicBezTo>
                <a:cubicBezTo>
                  <a:pt x="84986" y="3949326"/>
                  <a:pt x="117077" y="3938522"/>
                  <a:pt x="159689" y="3917196"/>
                </a:cubicBezTo>
                <a:lnTo>
                  <a:pt x="170699" y="3928207"/>
                </a:lnTo>
                <a:lnTo>
                  <a:pt x="203074" y="3895832"/>
                </a:lnTo>
                <a:cubicBezTo>
                  <a:pt x="309425" y="3917203"/>
                  <a:pt x="426337" y="3864151"/>
                  <a:pt x="543897" y="3853025"/>
                </a:cubicBezTo>
                <a:cubicBezTo>
                  <a:pt x="576149" y="3799486"/>
                  <a:pt x="640132" y="3821384"/>
                  <a:pt x="661580" y="3799936"/>
                </a:cubicBezTo>
                <a:cubicBezTo>
                  <a:pt x="682867" y="3821223"/>
                  <a:pt x="714590" y="3810052"/>
                  <a:pt x="725517" y="3799126"/>
                </a:cubicBezTo>
                <a:cubicBezTo>
                  <a:pt x="757326" y="3809891"/>
                  <a:pt x="768497" y="3778167"/>
                  <a:pt x="800305" y="3788933"/>
                </a:cubicBezTo>
                <a:cubicBezTo>
                  <a:pt x="821470" y="3789054"/>
                  <a:pt x="821470" y="3789054"/>
                  <a:pt x="842918" y="3767606"/>
                </a:cubicBezTo>
                <a:cubicBezTo>
                  <a:pt x="938993" y="3778699"/>
                  <a:pt x="1024622" y="3735644"/>
                  <a:pt x="1131257" y="3735444"/>
                </a:cubicBezTo>
                <a:cubicBezTo>
                  <a:pt x="1141656" y="3703757"/>
                  <a:pt x="1173587" y="3735687"/>
                  <a:pt x="1205960" y="3703314"/>
                </a:cubicBezTo>
                <a:cubicBezTo>
                  <a:pt x="1259706" y="3714163"/>
                  <a:pt x="1301951" y="3692471"/>
                  <a:pt x="1344930" y="3671512"/>
                </a:cubicBezTo>
                <a:cubicBezTo>
                  <a:pt x="1376739" y="3682277"/>
                  <a:pt x="1387260" y="3671755"/>
                  <a:pt x="1408830" y="3671472"/>
                </a:cubicBezTo>
                <a:cubicBezTo>
                  <a:pt x="1451442" y="3650147"/>
                  <a:pt x="1494460" y="3628416"/>
                  <a:pt x="1536790" y="3628661"/>
                </a:cubicBezTo>
                <a:cubicBezTo>
                  <a:pt x="1622015" y="3586008"/>
                  <a:pt x="1686282" y="3586337"/>
                  <a:pt x="1771422" y="3521749"/>
                </a:cubicBezTo>
                <a:cubicBezTo>
                  <a:pt x="1814524" y="3521955"/>
                  <a:pt x="1888945" y="3511394"/>
                  <a:pt x="1921319" y="3479020"/>
                </a:cubicBezTo>
                <a:cubicBezTo>
                  <a:pt x="1942767" y="3457572"/>
                  <a:pt x="1953166" y="3425886"/>
                  <a:pt x="1974614" y="3404439"/>
                </a:cubicBezTo>
                <a:cubicBezTo>
                  <a:pt x="1963970" y="3393795"/>
                  <a:pt x="1985135" y="3393917"/>
                  <a:pt x="1996062" y="3382990"/>
                </a:cubicBezTo>
                <a:cubicBezTo>
                  <a:pt x="2038552" y="3340500"/>
                  <a:pt x="2070804" y="3286961"/>
                  <a:pt x="2081486" y="3233705"/>
                </a:cubicBezTo>
                <a:cubicBezTo>
                  <a:pt x="2145547" y="3190932"/>
                  <a:pt x="2145747" y="3084298"/>
                  <a:pt x="2166867" y="2998584"/>
                </a:cubicBezTo>
                <a:cubicBezTo>
                  <a:pt x="2177670" y="2966493"/>
                  <a:pt x="2198713" y="2945449"/>
                  <a:pt x="2198996" y="2923880"/>
                </a:cubicBezTo>
                <a:cubicBezTo>
                  <a:pt x="2209396" y="2892193"/>
                  <a:pt x="2209274" y="2871028"/>
                  <a:pt x="2187621" y="2849374"/>
                </a:cubicBezTo>
                <a:cubicBezTo>
                  <a:pt x="2220200" y="2860103"/>
                  <a:pt x="2166334" y="2828088"/>
                  <a:pt x="2198546" y="2838449"/>
                </a:cubicBezTo>
                <a:cubicBezTo>
                  <a:pt x="2199196" y="2817246"/>
                  <a:pt x="2188270" y="2828173"/>
                  <a:pt x="2188185" y="2806236"/>
                </a:cubicBezTo>
                <a:cubicBezTo>
                  <a:pt x="2188185" y="2806236"/>
                  <a:pt x="2198707" y="2795714"/>
                  <a:pt x="2209718" y="2806725"/>
                </a:cubicBezTo>
                <a:lnTo>
                  <a:pt x="2210479" y="2802243"/>
                </a:lnTo>
                <a:lnTo>
                  <a:pt x="2209842" y="2802479"/>
                </a:lnTo>
                <a:cubicBezTo>
                  <a:pt x="2196348" y="2804669"/>
                  <a:pt x="2193558" y="2795910"/>
                  <a:pt x="2182398" y="2795910"/>
                </a:cubicBezTo>
                <a:cubicBezTo>
                  <a:pt x="2167518" y="2750754"/>
                  <a:pt x="2091403" y="2735702"/>
                  <a:pt x="2106855" y="2690546"/>
                </a:cubicBezTo>
                <a:cubicBezTo>
                  <a:pt x="2061644" y="2705598"/>
                  <a:pt x="2016433" y="2644870"/>
                  <a:pt x="1971221" y="2614766"/>
                </a:cubicBezTo>
                <a:cubicBezTo>
                  <a:pt x="1926010" y="2600233"/>
                  <a:pt x="1880227" y="2569610"/>
                  <a:pt x="1849895" y="2539506"/>
                </a:cubicBezTo>
                <a:cubicBezTo>
                  <a:pt x="1759472" y="2509402"/>
                  <a:pt x="1699381" y="2434142"/>
                  <a:pt x="1608387" y="2388466"/>
                </a:cubicBezTo>
                <a:cubicBezTo>
                  <a:pt x="1593507" y="2343829"/>
                  <a:pt x="1533416" y="2328258"/>
                  <a:pt x="1488205" y="2313206"/>
                </a:cubicBezTo>
                <a:cubicBezTo>
                  <a:pt x="1488205" y="2313206"/>
                  <a:pt x="1472753" y="2313206"/>
                  <a:pt x="1488205" y="2298154"/>
                </a:cubicBezTo>
                <a:cubicBezTo>
                  <a:pt x="1500795" y="2288292"/>
                  <a:pt x="1545434" y="2255593"/>
                  <a:pt x="1563175" y="2252998"/>
                </a:cubicBezTo>
                <a:cubicBezTo>
                  <a:pt x="1573477" y="2262860"/>
                  <a:pt x="1583206" y="2273240"/>
                  <a:pt x="1593507" y="2283102"/>
                </a:cubicBezTo>
                <a:cubicBezTo>
                  <a:pt x="1608387" y="2298154"/>
                  <a:pt x="1638718" y="2313206"/>
                  <a:pt x="1683929" y="2328258"/>
                </a:cubicBezTo>
                <a:lnTo>
                  <a:pt x="1683929" y="2343829"/>
                </a:lnTo>
                <a:lnTo>
                  <a:pt x="1729713" y="2343829"/>
                </a:lnTo>
                <a:cubicBezTo>
                  <a:pt x="1789804" y="2434142"/>
                  <a:pt x="1909986" y="2479298"/>
                  <a:pt x="2000981" y="2554558"/>
                </a:cubicBezTo>
                <a:cubicBezTo>
                  <a:pt x="2061644" y="2539506"/>
                  <a:pt x="2091403" y="2600233"/>
                  <a:pt x="2121735" y="2600233"/>
                </a:cubicBezTo>
                <a:cubicBezTo>
                  <a:pt x="2121735" y="2630337"/>
                  <a:pt x="2152066" y="2644870"/>
                  <a:pt x="2167518" y="2644870"/>
                </a:cubicBezTo>
                <a:cubicBezTo>
                  <a:pt x="2182398" y="2674975"/>
                  <a:pt x="2212730" y="2660442"/>
                  <a:pt x="2227609" y="2690546"/>
                </a:cubicBezTo>
                <a:lnTo>
                  <a:pt x="2233519" y="2696212"/>
                </a:lnTo>
                <a:lnTo>
                  <a:pt x="2238904" y="2646422"/>
                </a:lnTo>
                <a:cubicBezTo>
                  <a:pt x="2238919" y="2622460"/>
                  <a:pt x="2236237" y="2598533"/>
                  <a:pt x="2230793" y="2572046"/>
                </a:cubicBezTo>
                <a:cubicBezTo>
                  <a:pt x="2231113" y="2549705"/>
                  <a:pt x="2220837" y="2539429"/>
                  <a:pt x="2220348" y="2517897"/>
                </a:cubicBezTo>
                <a:lnTo>
                  <a:pt x="2199061" y="2496610"/>
                </a:lnTo>
                <a:cubicBezTo>
                  <a:pt x="2198818" y="2454280"/>
                  <a:pt x="2198979" y="2411546"/>
                  <a:pt x="2156038" y="2368605"/>
                </a:cubicBezTo>
                <a:cubicBezTo>
                  <a:pt x="2156443" y="2305073"/>
                  <a:pt x="2145594" y="2251328"/>
                  <a:pt x="2166920" y="2208715"/>
                </a:cubicBezTo>
                <a:cubicBezTo>
                  <a:pt x="2167364" y="2144411"/>
                  <a:pt x="2092578" y="2091477"/>
                  <a:pt x="2049919" y="2026966"/>
                </a:cubicBezTo>
                <a:cubicBezTo>
                  <a:pt x="2028510" y="1984515"/>
                  <a:pt x="1975333" y="1867398"/>
                  <a:pt x="1943035" y="1835101"/>
                </a:cubicBezTo>
                <a:cubicBezTo>
                  <a:pt x="1900339" y="1771363"/>
                  <a:pt x="1751208" y="1664317"/>
                  <a:pt x="1772412" y="1600540"/>
                </a:cubicBezTo>
                <a:cubicBezTo>
                  <a:pt x="1776403" y="1585813"/>
                  <a:pt x="1781897" y="1573932"/>
                  <a:pt x="1788581" y="156457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8847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8" hasCustomPrompt="1"/>
          </p:nvPr>
        </p:nvSpPr>
        <p:spPr>
          <a:xfrm>
            <a:off x="483345" y="245249"/>
            <a:ext cx="7613003" cy="6367505"/>
          </a:xfrm>
          <a:custGeom>
            <a:avLst/>
            <a:gdLst>
              <a:gd name="connsiteX0" fmla="*/ 6223992 w 7613003"/>
              <a:gd name="connsiteY0" fmla="*/ 4938955 h 6367505"/>
              <a:gd name="connsiteX1" fmla="*/ 6221792 w 7613003"/>
              <a:gd name="connsiteY1" fmla="*/ 4941156 h 6367505"/>
              <a:gd name="connsiteX2" fmla="*/ 6218266 w 7613003"/>
              <a:gd name="connsiteY2" fmla="*/ 4944683 h 6367505"/>
              <a:gd name="connsiteX3" fmla="*/ 6218269 w 7613003"/>
              <a:gd name="connsiteY3" fmla="*/ 4944678 h 6367505"/>
              <a:gd name="connsiteX4" fmla="*/ 6223992 w 7613003"/>
              <a:gd name="connsiteY4" fmla="*/ 4938955 h 6367505"/>
              <a:gd name="connsiteX5" fmla="*/ 5683813 w 7613003"/>
              <a:gd name="connsiteY5" fmla="*/ 4846067 h 6367505"/>
              <a:gd name="connsiteX6" fmla="*/ 5682917 w 7613003"/>
              <a:gd name="connsiteY6" fmla="*/ 4846962 h 6367505"/>
              <a:gd name="connsiteX7" fmla="*/ 5682917 w 7613003"/>
              <a:gd name="connsiteY7" fmla="*/ 4846962 h 6367505"/>
              <a:gd name="connsiteX8" fmla="*/ 5698414 w 7613003"/>
              <a:gd name="connsiteY8" fmla="*/ 4831466 h 6367505"/>
              <a:gd name="connsiteX9" fmla="*/ 5697005 w 7613003"/>
              <a:gd name="connsiteY9" fmla="*/ 4831978 h 6367505"/>
              <a:gd name="connsiteX10" fmla="*/ 5697005 w 7613003"/>
              <a:gd name="connsiteY10" fmla="*/ 4832875 h 6367505"/>
              <a:gd name="connsiteX11" fmla="*/ 353079 w 7613003"/>
              <a:gd name="connsiteY11" fmla="*/ 4516669 h 6367505"/>
              <a:gd name="connsiteX12" fmla="*/ 358466 w 7613003"/>
              <a:gd name="connsiteY12" fmla="*/ 4522056 h 6367505"/>
              <a:gd name="connsiteX13" fmla="*/ 363538 w 7613003"/>
              <a:gd name="connsiteY13" fmla="*/ 4537272 h 6367505"/>
              <a:gd name="connsiteX14" fmla="*/ 361989 w 7613003"/>
              <a:gd name="connsiteY14" fmla="*/ 4535043 h 6367505"/>
              <a:gd name="connsiteX15" fmla="*/ 302113 w 7613003"/>
              <a:gd name="connsiteY15" fmla="*/ 4409357 h 6367505"/>
              <a:gd name="connsiteX16" fmla="*/ 330290 w 7613003"/>
              <a:gd name="connsiteY16" fmla="*/ 4465706 h 6367505"/>
              <a:gd name="connsiteX17" fmla="*/ 351422 w 7613003"/>
              <a:gd name="connsiteY17" fmla="*/ 4513251 h 6367505"/>
              <a:gd name="connsiteX18" fmla="*/ 353079 w 7613003"/>
              <a:gd name="connsiteY18" fmla="*/ 4516669 h 6367505"/>
              <a:gd name="connsiteX19" fmla="*/ 344378 w 7613003"/>
              <a:gd name="connsiteY19" fmla="*/ 4507969 h 6367505"/>
              <a:gd name="connsiteX20" fmla="*/ 330290 w 7613003"/>
              <a:gd name="connsiteY20" fmla="*/ 4493882 h 6367505"/>
              <a:gd name="connsiteX21" fmla="*/ 316201 w 7613003"/>
              <a:gd name="connsiteY21" fmla="*/ 4465706 h 6367505"/>
              <a:gd name="connsiteX22" fmla="*/ 302113 w 7613003"/>
              <a:gd name="connsiteY22" fmla="*/ 4409357 h 6367505"/>
              <a:gd name="connsiteX23" fmla="*/ 288025 w 7613003"/>
              <a:gd name="connsiteY23" fmla="*/ 4395269 h 6367505"/>
              <a:gd name="connsiteX24" fmla="*/ 288025 w 7613003"/>
              <a:gd name="connsiteY24" fmla="*/ 4423444 h 6367505"/>
              <a:gd name="connsiteX25" fmla="*/ 288025 w 7613003"/>
              <a:gd name="connsiteY25" fmla="*/ 4395269 h 6367505"/>
              <a:gd name="connsiteX26" fmla="*/ 259848 w 7613003"/>
              <a:gd name="connsiteY26" fmla="*/ 4296657 h 6367505"/>
              <a:gd name="connsiteX27" fmla="*/ 273937 w 7613003"/>
              <a:gd name="connsiteY27" fmla="*/ 4324833 h 6367505"/>
              <a:gd name="connsiteX28" fmla="*/ 288025 w 7613003"/>
              <a:gd name="connsiteY28" fmla="*/ 4353007 h 6367505"/>
              <a:gd name="connsiteX29" fmla="*/ 302113 w 7613003"/>
              <a:gd name="connsiteY29" fmla="*/ 4409357 h 6367505"/>
              <a:gd name="connsiteX30" fmla="*/ 273937 w 7613003"/>
              <a:gd name="connsiteY30" fmla="*/ 4367095 h 6367505"/>
              <a:gd name="connsiteX31" fmla="*/ 259848 w 7613003"/>
              <a:gd name="connsiteY31" fmla="*/ 4324833 h 6367505"/>
              <a:gd name="connsiteX32" fmla="*/ 259848 w 7613003"/>
              <a:gd name="connsiteY32" fmla="*/ 4296657 h 6367505"/>
              <a:gd name="connsiteX33" fmla="*/ 133055 w 7613003"/>
              <a:gd name="connsiteY33" fmla="*/ 4183958 h 6367505"/>
              <a:gd name="connsiteX34" fmla="*/ 147142 w 7613003"/>
              <a:gd name="connsiteY34" fmla="*/ 4240308 h 6367505"/>
              <a:gd name="connsiteX35" fmla="*/ 133055 w 7613003"/>
              <a:gd name="connsiteY35" fmla="*/ 4183958 h 6367505"/>
              <a:gd name="connsiteX36" fmla="*/ 92039 w 7613003"/>
              <a:gd name="connsiteY36" fmla="*/ 4073399 h 6367505"/>
              <a:gd name="connsiteX37" fmla="*/ 103118 w 7613003"/>
              <a:gd name="connsiteY37" fmla="*/ 4092390 h 6367505"/>
              <a:gd name="connsiteX38" fmla="*/ 104878 w 7613003"/>
              <a:gd name="connsiteY38" fmla="*/ 4113521 h 6367505"/>
              <a:gd name="connsiteX39" fmla="*/ 92551 w 7613003"/>
              <a:gd name="connsiteY39" fmla="*/ 4080064 h 6367505"/>
              <a:gd name="connsiteX40" fmla="*/ 90789 w 7613003"/>
              <a:gd name="connsiteY40" fmla="*/ 4057172 h 6367505"/>
              <a:gd name="connsiteX41" fmla="*/ 92039 w 7613003"/>
              <a:gd name="connsiteY41" fmla="*/ 4073399 h 6367505"/>
              <a:gd name="connsiteX42" fmla="*/ 90789 w 7613003"/>
              <a:gd name="connsiteY42" fmla="*/ 4071259 h 6367505"/>
              <a:gd name="connsiteX43" fmla="*/ 90789 w 7613003"/>
              <a:gd name="connsiteY43" fmla="*/ 4057172 h 6367505"/>
              <a:gd name="connsiteX44" fmla="*/ 50726 w 7613003"/>
              <a:gd name="connsiteY44" fmla="*/ 3671089 h 6367505"/>
              <a:gd name="connsiteX45" fmla="*/ 62614 w 7613003"/>
              <a:gd name="connsiteY45" fmla="*/ 3690899 h 6367505"/>
              <a:gd name="connsiteX46" fmla="*/ 62614 w 7613003"/>
              <a:gd name="connsiteY46" fmla="*/ 3719074 h 6367505"/>
              <a:gd name="connsiteX47" fmla="*/ 48525 w 7613003"/>
              <a:gd name="connsiteY47" fmla="*/ 3676812 h 6367505"/>
              <a:gd name="connsiteX48" fmla="*/ 50726 w 7613003"/>
              <a:gd name="connsiteY48" fmla="*/ 3671089 h 6367505"/>
              <a:gd name="connsiteX49" fmla="*/ 7359416 w 7613003"/>
              <a:gd name="connsiteY49" fmla="*/ 2859742 h 6367505"/>
              <a:gd name="connsiteX50" fmla="*/ 7359416 w 7613003"/>
              <a:gd name="connsiteY50" fmla="*/ 2887917 h 6367505"/>
              <a:gd name="connsiteX51" fmla="*/ 5740166 w 7613003"/>
              <a:gd name="connsiteY51" fmla="*/ 2859742 h 6367505"/>
              <a:gd name="connsiteX52" fmla="*/ 5740166 w 7613003"/>
              <a:gd name="connsiteY52" fmla="*/ 2887917 h 6367505"/>
              <a:gd name="connsiteX53" fmla="*/ 7358520 w 7613003"/>
              <a:gd name="connsiteY53" fmla="*/ 2844503 h 6367505"/>
              <a:gd name="connsiteX54" fmla="*/ 7359416 w 7613003"/>
              <a:gd name="connsiteY54" fmla="*/ 2845655 h 6367505"/>
              <a:gd name="connsiteX55" fmla="*/ 7359416 w 7613003"/>
              <a:gd name="connsiteY55" fmla="*/ 2859742 h 6367505"/>
              <a:gd name="connsiteX56" fmla="*/ 5739270 w 7613003"/>
              <a:gd name="connsiteY56" fmla="*/ 2844503 h 6367505"/>
              <a:gd name="connsiteX57" fmla="*/ 5740166 w 7613003"/>
              <a:gd name="connsiteY57" fmla="*/ 2845655 h 6367505"/>
              <a:gd name="connsiteX58" fmla="*/ 5740166 w 7613003"/>
              <a:gd name="connsiteY58" fmla="*/ 2859742 h 6367505"/>
              <a:gd name="connsiteX59" fmla="*/ 7345327 w 7613003"/>
              <a:gd name="connsiteY59" fmla="*/ 2789306 h 6367505"/>
              <a:gd name="connsiteX60" fmla="*/ 7357655 w 7613003"/>
              <a:gd name="connsiteY60" fmla="*/ 2829808 h 6367505"/>
              <a:gd name="connsiteX61" fmla="*/ 7358520 w 7613003"/>
              <a:gd name="connsiteY61" fmla="*/ 2844503 h 6367505"/>
              <a:gd name="connsiteX62" fmla="*/ 7347089 w 7613003"/>
              <a:gd name="connsiteY62" fmla="*/ 2829808 h 6367505"/>
              <a:gd name="connsiteX63" fmla="*/ 7345327 w 7613003"/>
              <a:gd name="connsiteY63" fmla="*/ 2803393 h 6367505"/>
              <a:gd name="connsiteX64" fmla="*/ 7345327 w 7613003"/>
              <a:gd name="connsiteY64" fmla="*/ 2789306 h 6367505"/>
              <a:gd name="connsiteX65" fmla="*/ 5726077 w 7613003"/>
              <a:gd name="connsiteY65" fmla="*/ 2789306 h 6367505"/>
              <a:gd name="connsiteX66" fmla="*/ 5738405 w 7613003"/>
              <a:gd name="connsiteY66" fmla="*/ 2829808 h 6367505"/>
              <a:gd name="connsiteX67" fmla="*/ 5739270 w 7613003"/>
              <a:gd name="connsiteY67" fmla="*/ 2844503 h 6367505"/>
              <a:gd name="connsiteX68" fmla="*/ 5727839 w 7613003"/>
              <a:gd name="connsiteY68" fmla="*/ 2829808 h 6367505"/>
              <a:gd name="connsiteX69" fmla="*/ 5726077 w 7613003"/>
              <a:gd name="connsiteY69" fmla="*/ 2803393 h 6367505"/>
              <a:gd name="connsiteX70" fmla="*/ 5726077 w 7613003"/>
              <a:gd name="connsiteY70" fmla="*/ 2789306 h 6367505"/>
              <a:gd name="connsiteX71" fmla="*/ 7401680 w 7613003"/>
              <a:gd name="connsiteY71" fmla="*/ 2690693 h 6367505"/>
              <a:gd name="connsiteX72" fmla="*/ 7415769 w 7613003"/>
              <a:gd name="connsiteY72" fmla="*/ 2747044 h 6367505"/>
              <a:gd name="connsiteX73" fmla="*/ 7415769 w 7613003"/>
              <a:gd name="connsiteY73" fmla="*/ 2761131 h 6367505"/>
              <a:gd name="connsiteX74" fmla="*/ 7401680 w 7613003"/>
              <a:gd name="connsiteY74" fmla="*/ 2690693 h 6367505"/>
              <a:gd name="connsiteX75" fmla="*/ 5782430 w 7613003"/>
              <a:gd name="connsiteY75" fmla="*/ 2690693 h 6367505"/>
              <a:gd name="connsiteX76" fmla="*/ 5796519 w 7613003"/>
              <a:gd name="connsiteY76" fmla="*/ 2747044 h 6367505"/>
              <a:gd name="connsiteX77" fmla="*/ 5796519 w 7613003"/>
              <a:gd name="connsiteY77" fmla="*/ 2761131 h 6367505"/>
              <a:gd name="connsiteX78" fmla="*/ 5782430 w 7613003"/>
              <a:gd name="connsiteY78" fmla="*/ 2690693 h 6367505"/>
              <a:gd name="connsiteX79" fmla="*/ 7345327 w 7613003"/>
              <a:gd name="connsiteY79" fmla="*/ 2676606 h 6367505"/>
              <a:gd name="connsiteX80" fmla="*/ 7373504 w 7613003"/>
              <a:gd name="connsiteY80" fmla="*/ 2789306 h 6367505"/>
              <a:gd name="connsiteX81" fmla="*/ 7387591 w 7613003"/>
              <a:gd name="connsiteY81" fmla="*/ 2887917 h 6367505"/>
              <a:gd name="connsiteX82" fmla="*/ 7401680 w 7613003"/>
              <a:gd name="connsiteY82" fmla="*/ 2930180 h 6367505"/>
              <a:gd name="connsiteX83" fmla="*/ 7401680 w 7613003"/>
              <a:gd name="connsiteY83" fmla="*/ 2958355 h 6367505"/>
              <a:gd name="connsiteX84" fmla="*/ 7359416 w 7613003"/>
              <a:gd name="connsiteY84" fmla="*/ 2775218 h 6367505"/>
              <a:gd name="connsiteX85" fmla="*/ 7345327 w 7613003"/>
              <a:gd name="connsiteY85" fmla="*/ 2732957 h 6367505"/>
              <a:gd name="connsiteX86" fmla="*/ 7345327 w 7613003"/>
              <a:gd name="connsiteY86" fmla="*/ 2724151 h 6367505"/>
              <a:gd name="connsiteX87" fmla="*/ 7345327 w 7613003"/>
              <a:gd name="connsiteY87" fmla="*/ 2710725 h 6367505"/>
              <a:gd name="connsiteX88" fmla="*/ 7345327 w 7613003"/>
              <a:gd name="connsiteY88" fmla="*/ 2710064 h 6367505"/>
              <a:gd name="connsiteX89" fmla="*/ 7345327 w 7613003"/>
              <a:gd name="connsiteY89" fmla="*/ 2704782 h 6367505"/>
              <a:gd name="connsiteX90" fmla="*/ 7345327 w 7613003"/>
              <a:gd name="connsiteY90" fmla="*/ 2692455 h 6367505"/>
              <a:gd name="connsiteX91" fmla="*/ 7345327 w 7613003"/>
              <a:gd name="connsiteY91" fmla="*/ 2690693 h 6367505"/>
              <a:gd name="connsiteX92" fmla="*/ 7345327 w 7613003"/>
              <a:gd name="connsiteY92" fmla="*/ 2685411 h 6367505"/>
              <a:gd name="connsiteX93" fmla="*/ 7345327 w 7613003"/>
              <a:gd name="connsiteY93" fmla="*/ 2676606 h 6367505"/>
              <a:gd name="connsiteX94" fmla="*/ 5726077 w 7613003"/>
              <a:gd name="connsiteY94" fmla="*/ 2676606 h 6367505"/>
              <a:gd name="connsiteX95" fmla="*/ 5754254 w 7613003"/>
              <a:gd name="connsiteY95" fmla="*/ 2789306 h 6367505"/>
              <a:gd name="connsiteX96" fmla="*/ 5768341 w 7613003"/>
              <a:gd name="connsiteY96" fmla="*/ 2887917 h 6367505"/>
              <a:gd name="connsiteX97" fmla="*/ 5782430 w 7613003"/>
              <a:gd name="connsiteY97" fmla="*/ 2930180 h 6367505"/>
              <a:gd name="connsiteX98" fmla="*/ 5782430 w 7613003"/>
              <a:gd name="connsiteY98" fmla="*/ 2958355 h 6367505"/>
              <a:gd name="connsiteX99" fmla="*/ 5740166 w 7613003"/>
              <a:gd name="connsiteY99" fmla="*/ 2775218 h 6367505"/>
              <a:gd name="connsiteX100" fmla="*/ 5726077 w 7613003"/>
              <a:gd name="connsiteY100" fmla="*/ 2732957 h 6367505"/>
              <a:gd name="connsiteX101" fmla="*/ 5726077 w 7613003"/>
              <a:gd name="connsiteY101" fmla="*/ 2724151 h 6367505"/>
              <a:gd name="connsiteX102" fmla="*/ 5726077 w 7613003"/>
              <a:gd name="connsiteY102" fmla="*/ 2710725 h 6367505"/>
              <a:gd name="connsiteX103" fmla="*/ 5726077 w 7613003"/>
              <a:gd name="connsiteY103" fmla="*/ 2710064 h 6367505"/>
              <a:gd name="connsiteX104" fmla="*/ 5726077 w 7613003"/>
              <a:gd name="connsiteY104" fmla="*/ 2704782 h 6367505"/>
              <a:gd name="connsiteX105" fmla="*/ 5726077 w 7613003"/>
              <a:gd name="connsiteY105" fmla="*/ 2692455 h 6367505"/>
              <a:gd name="connsiteX106" fmla="*/ 5726077 w 7613003"/>
              <a:gd name="connsiteY106" fmla="*/ 2690693 h 6367505"/>
              <a:gd name="connsiteX107" fmla="*/ 5726077 w 7613003"/>
              <a:gd name="connsiteY107" fmla="*/ 2685411 h 6367505"/>
              <a:gd name="connsiteX108" fmla="*/ 5726077 w 7613003"/>
              <a:gd name="connsiteY108" fmla="*/ 2676606 h 6367505"/>
              <a:gd name="connsiteX109" fmla="*/ 7176268 w 7613003"/>
              <a:gd name="connsiteY109" fmla="*/ 2437121 h 6367505"/>
              <a:gd name="connsiteX110" fmla="*/ 7176268 w 7613003"/>
              <a:gd name="connsiteY110" fmla="*/ 2451208 h 6367505"/>
              <a:gd name="connsiteX111" fmla="*/ 7176268 w 7613003"/>
              <a:gd name="connsiteY111" fmla="*/ 2437121 h 6367505"/>
              <a:gd name="connsiteX112" fmla="*/ 5557018 w 7613003"/>
              <a:gd name="connsiteY112" fmla="*/ 2437121 h 6367505"/>
              <a:gd name="connsiteX113" fmla="*/ 5557018 w 7613003"/>
              <a:gd name="connsiteY113" fmla="*/ 2451208 h 6367505"/>
              <a:gd name="connsiteX114" fmla="*/ 5557018 w 7613003"/>
              <a:gd name="connsiteY114" fmla="*/ 2437121 h 6367505"/>
              <a:gd name="connsiteX115" fmla="*/ 7280169 w 7613003"/>
              <a:gd name="connsiteY115" fmla="*/ 2415990 h 6367505"/>
              <a:gd name="connsiteX116" fmla="*/ 7288974 w 7613003"/>
              <a:gd name="connsiteY116" fmla="*/ 2451208 h 6367505"/>
              <a:gd name="connsiteX117" fmla="*/ 7280169 w 7613003"/>
              <a:gd name="connsiteY117" fmla="*/ 2415990 h 6367505"/>
              <a:gd name="connsiteX118" fmla="*/ 5660919 w 7613003"/>
              <a:gd name="connsiteY118" fmla="*/ 2415990 h 6367505"/>
              <a:gd name="connsiteX119" fmla="*/ 5669724 w 7613003"/>
              <a:gd name="connsiteY119" fmla="*/ 2451208 h 6367505"/>
              <a:gd name="connsiteX120" fmla="*/ 5660919 w 7613003"/>
              <a:gd name="connsiteY120" fmla="*/ 2415990 h 6367505"/>
              <a:gd name="connsiteX121" fmla="*/ 3515093 w 7613003"/>
              <a:gd name="connsiteY121" fmla="*/ 2408946 h 6367505"/>
              <a:gd name="connsiteX122" fmla="*/ 3520376 w 7613003"/>
              <a:gd name="connsiteY122" fmla="*/ 2408946 h 6367505"/>
              <a:gd name="connsiteX123" fmla="*/ 3527420 w 7613003"/>
              <a:gd name="connsiteY123" fmla="*/ 2408946 h 6367505"/>
              <a:gd name="connsiteX124" fmla="*/ 3513333 w 7613003"/>
              <a:gd name="connsiteY124" fmla="*/ 2437121 h 6367505"/>
              <a:gd name="connsiteX125" fmla="*/ 3485156 w 7613003"/>
              <a:gd name="connsiteY125" fmla="*/ 2479383 h 6367505"/>
              <a:gd name="connsiteX126" fmla="*/ 3485156 w 7613003"/>
              <a:gd name="connsiteY126" fmla="*/ 2465295 h 6367505"/>
              <a:gd name="connsiteX127" fmla="*/ 3488287 w 7613003"/>
              <a:gd name="connsiteY127" fmla="*/ 2460599 h 6367505"/>
              <a:gd name="connsiteX128" fmla="*/ 3490439 w 7613003"/>
              <a:gd name="connsiteY128" fmla="*/ 2458252 h 6367505"/>
              <a:gd name="connsiteX129" fmla="*/ 3491417 w 7613003"/>
              <a:gd name="connsiteY129" fmla="*/ 2455904 h 6367505"/>
              <a:gd name="connsiteX130" fmla="*/ 3499244 w 7613003"/>
              <a:gd name="connsiteY130" fmla="*/ 2444164 h 6367505"/>
              <a:gd name="connsiteX131" fmla="*/ 3513333 w 7613003"/>
              <a:gd name="connsiteY131" fmla="*/ 2423033 h 6367505"/>
              <a:gd name="connsiteX132" fmla="*/ 3515093 w 7613003"/>
              <a:gd name="connsiteY132" fmla="*/ 2408946 h 6367505"/>
              <a:gd name="connsiteX133" fmla="*/ 7166821 w 7613003"/>
              <a:gd name="connsiteY133" fmla="*/ 2402814 h 6367505"/>
              <a:gd name="connsiteX134" fmla="*/ 7174508 w 7613003"/>
              <a:gd name="connsiteY134" fmla="*/ 2415990 h 6367505"/>
              <a:gd name="connsiteX135" fmla="*/ 7176268 w 7613003"/>
              <a:gd name="connsiteY135" fmla="*/ 2437121 h 6367505"/>
              <a:gd name="connsiteX136" fmla="*/ 7169225 w 7613003"/>
              <a:gd name="connsiteY136" fmla="*/ 2414228 h 6367505"/>
              <a:gd name="connsiteX137" fmla="*/ 5547571 w 7613003"/>
              <a:gd name="connsiteY137" fmla="*/ 2402814 h 6367505"/>
              <a:gd name="connsiteX138" fmla="*/ 5555258 w 7613003"/>
              <a:gd name="connsiteY138" fmla="*/ 2415990 h 6367505"/>
              <a:gd name="connsiteX139" fmla="*/ 5557018 w 7613003"/>
              <a:gd name="connsiteY139" fmla="*/ 2437121 h 6367505"/>
              <a:gd name="connsiteX140" fmla="*/ 5549975 w 7613003"/>
              <a:gd name="connsiteY140" fmla="*/ 2414228 h 6367505"/>
              <a:gd name="connsiteX141" fmla="*/ 7260798 w 7613003"/>
              <a:gd name="connsiteY141" fmla="*/ 2380771 h 6367505"/>
              <a:gd name="connsiteX142" fmla="*/ 7280169 w 7613003"/>
              <a:gd name="connsiteY142" fmla="*/ 2415990 h 6367505"/>
              <a:gd name="connsiteX143" fmla="*/ 7260798 w 7613003"/>
              <a:gd name="connsiteY143" fmla="*/ 2380771 h 6367505"/>
              <a:gd name="connsiteX144" fmla="*/ 7155418 w 7613003"/>
              <a:gd name="connsiteY144" fmla="*/ 2380771 h 6367505"/>
              <a:gd name="connsiteX145" fmla="*/ 7162181 w 7613003"/>
              <a:gd name="connsiteY145" fmla="*/ 2380771 h 6367505"/>
              <a:gd name="connsiteX146" fmla="*/ 7166821 w 7613003"/>
              <a:gd name="connsiteY146" fmla="*/ 2402814 h 6367505"/>
              <a:gd name="connsiteX147" fmla="*/ 7162181 w 7613003"/>
              <a:gd name="connsiteY147" fmla="*/ 2394859 h 6367505"/>
              <a:gd name="connsiteX148" fmla="*/ 5641548 w 7613003"/>
              <a:gd name="connsiteY148" fmla="*/ 2380771 h 6367505"/>
              <a:gd name="connsiteX149" fmla="*/ 5660919 w 7613003"/>
              <a:gd name="connsiteY149" fmla="*/ 2415990 h 6367505"/>
              <a:gd name="connsiteX150" fmla="*/ 5641548 w 7613003"/>
              <a:gd name="connsiteY150" fmla="*/ 2380771 h 6367505"/>
              <a:gd name="connsiteX151" fmla="*/ 5536168 w 7613003"/>
              <a:gd name="connsiteY151" fmla="*/ 2380771 h 6367505"/>
              <a:gd name="connsiteX152" fmla="*/ 5542931 w 7613003"/>
              <a:gd name="connsiteY152" fmla="*/ 2380771 h 6367505"/>
              <a:gd name="connsiteX153" fmla="*/ 5547571 w 7613003"/>
              <a:gd name="connsiteY153" fmla="*/ 2402814 h 6367505"/>
              <a:gd name="connsiteX154" fmla="*/ 5542931 w 7613003"/>
              <a:gd name="connsiteY154" fmla="*/ 2394859 h 6367505"/>
              <a:gd name="connsiteX155" fmla="*/ 7246710 w 7613003"/>
              <a:gd name="connsiteY155" fmla="*/ 2352596 h 6367505"/>
              <a:gd name="connsiteX156" fmla="*/ 7260798 w 7613003"/>
              <a:gd name="connsiteY156" fmla="*/ 2366684 h 6367505"/>
              <a:gd name="connsiteX157" fmla="*/ 7260798 w 7613003"/>
              <a:gd name="connsiteY157" fmla="*/ 2380771 h 6367505"/>
              <a:gd name="connsiteX158" fmla="*/ 7260798 w 7613003"/>
              <a:gd name="connsiteY158" fmla="*/ 2394859 h 6367505"/>
              <a:gd name="connsiteX159" fmla="*/ 7246710 w 7613003"/>
              <a:gd name="connsiteY159" fmla="*/ 2352596 h 6367505"/>
              <a:gd name="connsiteX160" fmla="*/ 5627460 w 7613003"/>
              <a:gd name="connsiteY160" fmla="*/ 2352596 h 6367505"/>
              <a:gd name="connsiteX161" fmla="*/ 5641548 w 7613003"/>
              <a:gd name="connsiteY161" fmla="*/ 2366684 h 6367505"/>
              <a:gd name="connsiteX162" fmla="*/ 5641548 w 7613003"/>
              <a:gd name="connsiteY162" fmla="*/ 2380771 h 6367505"/>
              <a:gd name="connsiteX163" fmla="*/ 5641548 w 7613003"/>
              <a:gd name="connsiteY163" fmla="*/ 2394859 h 6367505"/>
              <a:gd name="connsiteX164" fmla="*/ 5627460 w 7613003"/>
              <a:gd name="connsiteY164" fmla="*/ 2352596 h 6367505"/>
              <a:gd name="connsiteX165" fmla="*/ 3555597 w 7613003"/>
              <a:gd name="connsiteY165" fmla="*/ 2352596 h 6367505"/>
              <a:gd name="connsiteX166" fmla="*/ 3569684 w 7613003"/>
              <a:gd name="connsiteY166" fmla="*/ 2352596 h 6367505"/>
              <a:gd name="connsiteX167" fmla="*/ 3527420 w 7613003"/>
              <a:gd name="connsiteY167" fmla="*/ 2408946 h 6367505"/>
              <a:gd name="connsiteX168" fmla="*/ 3527420 w 7613003"/>
              <a:gd name="connsiteY168" fmla="*/ 2394859 h 6367505"/>
              <a:gd name="connsiteX169" fmla="*/ 3541509 w 7613003"/>
              <a:gd name="connsiteY169" fmla="*/ 2373728 h 6367505"/>
              <a:gd name="connsiteX170" fmla="*/ 3555597 w 7613003"/>
              <a:gd name="connsiteY170" fmla="*/ 2366684 h 6367505"/>
              <a:gd name="connsiteX171" fmla="*/ 3555597 w 7613003"/>
              <a:gd name="connsiteY171" fmla="*/ 2352596 h 6367505"/>
              <a:gd name="connsiteX172" fmla="*/ 3581308 w 7613003"/>
              <a:gd name="connsiteY172" fmla="*/ 2325830 h 6367505"/>
              <a:gd name="connsiteX173" fmla="*/ 3569684 w 7613003"/>
              <a:gd name="connsiteY173" fmla="*/ 2338508 h 6367505"/>
              <a:gd name="connsiteX174" fmla="*/ 3571446 w 7613003"/>
              <a:gd name="connsiteY174" fmla="*/ 2331465 h 6367505"/>
              <a:gd name="connsiteX175" fmla="*/ 3582600 w 7613003"/>
              <a:gd name="connsiteY175" fmla="*/ 2324421 h 6367505"/>
              <a:gd name="connsiteX176" fmla="*/ 3583773 w 7613003"/>
              <a:gd name="connsiteY176" fmla="*/ 2324421 h 6367505"/>
              <a:gd name="connsiteX177" fmla="*/ 3581308 w 7613003"/>
              <a:gd name="connsiteY177" fmla="*/ 2325830 h 6367505"/>
              <a:gd name="connsiteX178" fmla="*/ 7091739 w 7613003"/>
              <a:gd name="connsiteY178" fmla="*/ 2253985 h 6367505"/>
              <a:gd name="connsiteX179" fmla="*/ 7105828 w 7613003"/>
              <a:gd name="connsiteY179" fmla="*/ 2268072 h 6367505"/>
              <a:gd name="connsiteX180" fmla="*/ 7119917 w 7613003"/>
              <a:gd name="connsiteY180" fmla="*/ 2296246 h 6367505"/>
              <a:gd name="connsiteX181" fmla="*/ 7141049 w 7613003"/>
              <a:gd name="connsiteY181" fmla="*/ 2350836 h 6367505"/>
              <a:gd name="connsiteX182" fmla="*/ 7155418 w 7613003"/>
              <a:gd name="connsiteY182" fmla="*/ 2380771 h 6367505"/>
              <a:gd name="connsiteX183" fmla="*/ 7155136 w 7613003"/>
              <a:gd name="connsiteY183" fmla="*/ 2380771 h 6367505"/>
              <a:gd name="connsiteX184" fmla="*/ 7148092 w 7613003"/>
              <a:gd name="connsiteY184" fmla="*/ 2380771 h 6367505"/>
              <a:gd name="connsiteX185" fmla="*/ 7134004 w 7613003"/>
              <a:gd name="connsiteY185" fmla="*/ 2366684 h 6367505"/>
              <a:gd name="connsiteX186" fmla="*/ 7134004 w 7613003"/>
              <a:gd name="connsiteY186" fmla="*/ 2352596 h 6367505"/>
              <a:gd name="connsiteX187" fmla="*/ 7134004 w 7613003"/>
              <a:gd name="connsiteY187" fmla="*/ 2338508 h 6367505"/>
              <a:gd name="connsiteX188" fmla="*/ 7091739 w 7613003"/>
              <a:gd name="connsiteY188" fmla="*/ 2268072 h 6367505"/>
              <a:gd name="connsiteX189" fmla="*/ 7091739 w 7613003"/>
              <a:gd name="connsiteY189" fmla="*/ 2253985 h 6367505"/>
              <a:gd name="connsiteX190" fmla="*/ 5472489 w 7613003"/>
              <a:gd name="connsiteY190" fmla="*/ 2253985 h 6367505"/>
              <a:gd name="connsiteX191" fmla="*/ 5486578 w 7613003"/>
              <a:gd name="connsiteY191" fmla="*/ 2268072 h 6367505"/>
              <a:gd name="connsiteX192" fmla="*/ 5500667 w 7613003"/>
              <a:gd name="connsiteY192" fmla="*/ 2296246 h 6367505"/>
              <a:gd name="connsiteX193" fmla="*/ 5521799 w 7613003"/>
              <a:gd name="connsiteY193" fmla="*/ 2350836 h 6367505"/>
              <a:gd name="connsiteX194" fmla="*/ 5536168 w 7613003"/>
              <a:gd name="connsiteY194" fmla="*/ 2380771 h 6367505"/>
              <a:gd name="connsiteX195" fmla="*/ 5535886 w 7613003"/>
              <a:gd name="connsiteY195" fmla="*/ 2380771 h 6367505"/>
              <a:gd name="connsiteX196" fmla="*/ 5528842 w 7613003"/>
              <a:gd name="connsiteY196" fmla="*/ 2380771 h 6367505"/>
              <a:gd name="connsiteX197" fmla="*/ 5514754 w 7613003"/>
              <a:gd name="connsiteY197" fmla="*/ 2366684 h 6367505"/>
              <a:gd name="connsiteX198" fmla="*/ 5514754 w 7613003"/>
              <a:gd name="connsiteY198" fmla="*/ 2352596 h 6367505"/>
              <a:gd name="connsiteX199" fmla="*/ 5514754 w 7613003"/>
              <a:gd name="connsiteY199" fmla="*/ 2338508 h 6367505"/>
              <a:gd name="connsiteX200" fmla="*/ 5472489 w 7613003"/>
              <a:gd name="connsiteY200" fmla="*/ 2268072 h 6367505"/>
              <a:gd name="connsiteX201" fmla="*/ 5472489 w 7613003"/>
              <a:gd name="connsiteY201" fmla="*/ 2253985 h 6367505"/>
              <a:gd name="connsiteX202" fmla="*/ 101747 w 7613003"/>
              <a:gd name="connsiteY202" fmla="*/ 2036412 h 6367505"/>
              <a:gd name="connsiteX203" fmla="*/ 99595 w 7613003"/>
              <a:gd name="connsiteY203" fmla="*/ 2039152 h 6367505"/>
              <a:gd name="connsiteX204" fmla="*/ 90789 w 7613003"/>
              <a:gd name="connsiteY204" fmla="*/ 2042674 h 6367505"/>
              <a:gd name="connsiteX205" fmla="*/ 103469 w 7613003"/>
              <a:gd name="connsiteY205" fmla="*/ 2034221 h 6367505"/>
              <a:gd name="connsiteX206" fmla="*/ 103118 w 7613003"/>
              <a:gd name="connsiteY206" fmla="*/ 2035630 h 6367505"/>
              <a:gd name="connsiteX207" fmla="*/ 101747 w 7613003"/>
              <a:gd name="connsiteY207" fmla="*/ 2036412 h 6367505"/>
              <a:gd name="connsiteX208" fmla="*/ 104878 w 7613003"/>
              <a:gd name="connsiteY208" fmla="*/ 2014499 h 6367505"/>
              <a:gd name="connsiteX209" fmla="*/ 118967 w 7613003"/>
              <a:gd name="connsiteY209" fmla="*/ 2014499 h 6367505"/>
              <a:gd name="connsiteX210" fmla="*/ 103469 w 7613003"/>
              <a:gd name="connsiteY210" fmla="*/ 2034221 h 6367505"/>
              <a:gd name="connsiteX211" fmla="*/ 104878 w 7613003"/>
              <a:gd name="connsiteY211" fmla="*/ 2028587 h 6367505"/>
              <a:gd name="connsiteX212" fmla="*/ 104878 w 7613003"/>
              <a:gd name="connsiteY212" fmla="*/ 2014499 h 6367505"/>
              <a:gd name="connsiteX213" fmla="*/ 330290 w 7613003"/>
              <a:gd name="connsiteY213" fmla="*/ 1944061 h 6367505"/>
              <a:gd name="connsiteX214" fmla="*/ 330290 w 7613003"/>
              <a:gd name="connsiteY214" fmla="*/ 1972236 h 6367505"/>
              <a:gd name="connsiteX215" fmla="*/ 330290 w 7613003"/>
              <a:gd name="connsiteY215" fmla="*/ 1944061 h 6367505"/>
              <a:gd name="connsiteX216" fmla="*/ 6556388 w 7613003"/>
              <a:gd name="connsiteY216" fmla="*/ 1648227 h 6367505"/>
              <a:gd name="connsiteX217" fmla="*/ 6570476 w 7613003"/>
              <a:gd name="connsiteY217" fmla="*/ 1657031 h 6367505"/>
              <a:gd name="connsiteX218" fmla="*/ 6584563 w 7613003"/>
              <a:gd name="connsiteY218" fmla="*/ 1676401 h 6367505"/>
              <a:gd name="connsiteX219" fmla="*/ 6561670 w 7613003"/>
              <a:gd name="connsiteY219" fmla="*/ 1653509 h 6367505"/>
              <a:gd name="connsiteX220" fmla="*/ 4937138 w 7613003"/>
              <a:gd name="connsiteY220" fmla="*/ 1648227 h 6367505"/>
              <a:gd name="connsiteX221" fmla="*/ 4951226 w 7613003"/>
              <a:gd name="connsiteY221" fmla="*/ 1657031 h 6367505"/>
              <a:gd name="connsiteX222" fmla="*/ 4965313 w 7613003"/>
              <a:gd name="connsiteY222" fmla="*/ 1676401 h 6367505"/>
              <a:gd name="connsiteX223" fmla="*/ 4942420 w 7613003"/>
              <a:gd name="connsiteY223" fmla="*/ 1653509 h 6367505"/>
              <a:gd name="connsiteX224" fmla="*/ 6542300 w 7613003"/>
              <a:gd name="connsiteY224" fmla="*/ 1634140 h 6367505"/>
              <a:gd name="connsiteX225" fmla="*/ 6554627 w 7613003"/>
              <a:gd name="connsiteY225" fmla="*/ 1641183 h 6367505"/>
              <a:gd name="connsiteX226" fmla="*/ 6556387 w 7613003"/>
              <a:gd name="connsiteY226" fmla="*/ 1648227 h 6367505"/>
              <a:gd name="connsiteX227" fmla="*/ 4923050 w 7613003"/>
              <a:gd name="connsiteY227" fmla="*/ 1634140 h 6367505"/>
              <a:gd name="connsiteX228" fmla="*/ 4935377 w 7613003"/>
              <a:gd name="connsiteY228" fmla="*/ 1641183 h 6367505"/>
              <a:gd name="connsiteX229" fmla="*/ 4937137 w 7613003"/>
              <a:gd name="connsiteY229" fmla="*/ 1648227 h 6367505"/>
              <a:gd name="connsiteX230" fmla="*/ 6415505 w 7613003"/>
              <a:gd name="connsiteY230" fmla="*/ 1577789 h 6367505"/>
              <a:gd name="connsiteX231" fmla="*/ 6457770 w 7613003"/>
              <a:gd name="connsiteY231" fmla="*/ 1605964 h 6367505"/>
              <a:gd name="connsiteX232" fmla="*/ 6528211 w 7613003"/>
              <a:gd name="connsiteY232" fmla="*/ 1676401 h 6367505"/>
              <a:gd name="connsiteX233" fmla="*/ 6542298 w 7613003"/>
              <a:gd name="connsiteY233" fmla="*/ 1690489 h 6367505"/>
              <a:gd name="connsiteX234" fmla="*/ 6485946 w 7613003"/>
              <a:gd name="connsiteY234" fmla="*/ 1634138 h 6367505"/>
              <a:gd name="connsiteX235" fmla="*/ 6457770 w 7613003"/>
              <a:gd name="connsiteY235" fmla="*/ 1620051 h 6367505"/>
              <a:gd name="connsiteX236" fmla="*/ 6429593 w 7613003"/>
              <a:gd name="connsiteY236" fmla="*/ 1605964 h 6367505"/>
              <a:gd name="connsiteX237" fmla="*/ 6415505 w 7613003"/>
              <a:gd name="connsiteY237" fmla="*/ 1577789 h 6367505"/>
              <a:gd name="connsiteX238" fmla="*/ 4796255 w 7613003"/>
              <a:gd name="connsiteY238" fmla="*/ 1577789 h 6367505"/>
              <a:gd name="connsiteX239" fmla="*/ 4838520 w 7613003"/>
              <a:gd name="connsiteY239" fmla="*/ 1605964 h 6367505"/>
              <a:gd name="connsiteX240" fmla="*/ 4908961 w 7613003"/>
              <a:gd name="connsiteY240" fmla="*/ 1676401 h 6367505"/>
              <a:gd name="connsiteX241" fmla="*/ 4923048 w 7613003"/>
              <a:gd name="connsiteY241" fmla="*/ 1690489 h 6367505"/>
              <a:gd name="connsiteX242" fmla="*/ 4866696 w 7613003"/>
              <a:gd name="connsiteY242" fmla="*/ 1634138 h 6367505"/>
              <a:gd name="connsiteX243" fmla="*/ 4838520 w 7613003"/>
              <a:gd name="connsiteY243" fmla="*/ 1620051 h 6367505"/>
              <a:gd name="connsiteX244" fmla="*/ 4810343 w 7613003"/>
              <a:gd name="connsiteY244" fmla="*/ 1605964 h 6367505"/>
              <a:gd name="connsiteX245" fmla="*/ 4796255 w 7613003"/>
              <a:gd name="connsiteY245" fmla="*/ 1577789 h 6367505"/>
              <a:gd name="connsiteX246" fmla="*/ 6471858 w 7613003"/>
              <a:gd name="connsiteY246" fmla="*/ 1563702 h 6367505"/>
              <a:gd name="connsiteX247" fmla="*/ 6485946 w 7613003"/>
              <a:gd name="connsiteY247" fmla="*/ 1577789 h 6367505"/>
              <a:gd name="connsiteX248" fmla="*/ 6514123 w 7613003"/>
              <a:gd name="connsiteY248" fmla="*/ 1591876 h 6367505"/>
              <a:gd name="connsiteX249" fmla="*/ 6533493 w 7613003"/>
              <a:gd name="connsiteY249" fmla="*/ 1613007 h 6367505"/>
              <a:gd name="connsiteX250" fmla="*/ 6542298 w 7613003"/>
              <a:gd name="connsiteY250" fmla="*/ 1634138 h 6367505"/>
              <a:gd name="connsiteX251" fmla="*/ 6528211 w 7613003"/>
              <a:gd name="connsiteY251" fmla="*/ 1620051 h 6367505"/>
              <a:gd name="connsiteX252" fmla="*/ 6514123 w 7613003"/>
              <a:gd name="connsiteY252" fmla="*/ 1620051 h 6367505"/>
              <a:gd name="connsiteX253" fmla="*/ 6514123 w 7613003"/>
              <a:gd name="connsiteY253" fmla="*/ 1605964 h 6367505"/>
              <a:gd name="connsiteX254" fmla="*/ 6485946 w 7613003"/>
              <a:gd name="connsiteY254" fmla="*/ 1591876 h 6367505"/>
              <a:gd name="connsiteX255" fmla="*/ 6471858 w 7613003"/>
              <a:gd name="connsiteY255" fmla="*/ 1563702 h 6367505"/>
              <a:gd name="connsiteX256" fmla="*/ 4852608 w 7613003"/>
              <a:gd name="connsiteY256" fmla="*/ 1563702 h 6367505"/>
              <a:gd name="connsiteX257" fmla="*/ 4866696 w 7613003"/>
              <a:gd name="connsiteY257" fmla="*/ 1577789 h 6367505"/>
              <a:gd name="connsiteX258" fmla="*/ 4894873 w 7613003"/>
              <a:gd name="connsiteY258" fmla="*/ 1591876 h 6367505"/>
              <a:gd name="connsiteX259" fmla="*/ 4914243 w 7613003"/>
              <a:gd name="connsiteY259" fmla="*/ 1613007 h 6367505"/>
              <a:gd name="connsiteX260" fmla="*/ 4923048 w 7613003"/>
              <a:gd name="connsiteY260" fmla="*/ 1634138 h 6367505"/>
              <a:gd name="connsiteX261" fmla="*/ 4908961 w 7613003"/>
              <a:gd name="connsiteY261" fmla="*/ 1620051 h 6367505"/>
              <a:gd name="connsiteX262" fmla="*/ 4894873 w 7613003"/>
              <a:gd name="connsiteY262" fmla="*/ 1620051 h 6367505"/>
              <a:gd name="connsiteX263" fmla="*/ 4894873 w 7613003"/>
              <a:gd name="connsiteY263" fmla="*/ 1605964 h 6367505"/>
              <a:gd name="connsiteX264" fmla="*/ 4866696 w 7613003"/>
              <a:gd name="connsiteY264" fmla="*/ 1591876 h 6367505"/>
              <a:gd name="connsiteX265" fmla="*/ 4852608 w 7613003"/>
              <a:gd name="connsiteY265" fmla="*/ 1563702 h 6367505"/>
              <a:gd name="connsiteX266" fmla="*/ 6908593 w 7613003"/>
              <a:gd name="connsiteY266" fmla="*/ 1549616 h 6367505"/>
              <a:gd name="connsiteX267" fmla="*/ 6927964 w 7613003"/>
              <a:gd name="connsiteY267" fmla="*/ 1568985 h 6367505"/>
              <a:gd name="connsiteX268" fmla="*/ 6950858 w 7613003"/>
              <a:gd name="connsiteY268" fmla="*/ 1591876 h 6367505"/>
              <a:gd name="connsiteX269" fmla="*/ 6964945 w 7613003"/>
              <a:gd name="connsiteY269" fmla="*/ 1605964 h 6367505"/>
              <a:gd name="connsiteX270" fmla="*/ 6931486 w 7613003"/>
              <a:gd name="connsiteY270" fmla="*/ 1583072 h 6367505"/>
              <a:gd name="connsiteX271" fmla="*/ 5289343 w 7613003"/>
              <a:gd name="connsiteY271" fmla="*/ 1549616 h 6367505"/>
              <a:gd name="connsiteX272" fmla="*/ 5308714 w 7613003"/>
              <a:gd name="connsiteY272" fmla="*/ 1568985 h 6367505"/>
              <a:gd name="connsiteX273" fmla="*/ 5331608 w 7613003"/>
              <a:gd name="connsiteY273" fmla="*/ 1591876 h 6367505"/>
              <a:gd name="connsiteX274" fmla="*/ 5345695 w 7613003"/>
              <a:gd name="connsiteY274" fmla="*/ 1605964 h 6367505"/>
              <a:gd name="connsiteX275" fmla="*/ 5312236 w 7613003"/>
              <a:gd name="connsiteY275" fmla="*/ 1583072 h 6367505"/>
              <a:gd name="connsiteX276" fmla="*/ 6415505 w 7613003"/>
              <a:gd name="connsiteY276" fmla="*/ 1549614 h 6367505"/>
              <a:gd name="connsiteX277" fmla="*/ 6429593 w 7613003"/>
              <a:gd name="connsiteY277" fmla="*/ 1563702 h 6367505"/>
              <a:gd name="connsiteX278" fmla="*/ 6415505 w 7613003"/>
              <a:gd name="connsiteY278" fmla="*/ 1549614 h 6367505"/>
              <a:gd name="connsiteX279" fmla="*/ 4796255 w 7613003"/>
              <a:gd name="connsiteY279" fmla="*/ 1549614 h 6367505"/>
              <a:gd name="connsiteX280" fmla="*/ 4810343 w 7613003"/>
              <a:gd name="connsiteY280" fmla="*/ 1563702 h 6367505"/>
              <a:gd name="connsiteX281" fmla="*/ 4796255 w 7613003"/>
              <a:gd name="connsiteY281" fmla="*/ 1549614 h 6367505"/>
              <a:gd name="connsiteX282" fmla="*/ 6401417 w 7613003"/>
              <a:gd name="connsiteY282" fmla="*/ 1521440 h 6367505"/>
              <a:gd name="connsiteX283" fmla="*/ 6414624 w 7613003"/>
              <a:gd name="connsiteY283" fmla="*/ 1532005 h 6367505"/>
              <a:gd name="connsiteX284" fmla="*/ 6415505 w 7613003"/>
              <a:gd name="connsiteY284" fmla="*/ 1535527 h 6367505"/>
              <a:gd name="connsiteX285" fmla="*/ 6401417 w 7613003"/>
              <a:gd name="connsiteY285" fmla="*/ 1521440 h 6367505"/>
              <a:gd name="connsiteX286" fmla="*/ 4782167 w 7613003"/>
              <a:gd name="connsiteY286" fmla="*/ 1521440 h 6367505"/>
              <a:gd name="connsiteX287" fmla="*/ 4795374 w 7613003"/>
              <a:gd name="connsiteY287" fmla="*/ 1532005 h 6367505"/>
              <a:gd name="connsiteX288" fmla="*/ 4796255 w 7613003"/>
              <a:gd name="connsiteY288" fmla="*/ 1535527 h 6367505"/>
              <a:gd name="connsiteX289" fmla="*/ 4782167 w 7613003"/>
              <a:gd name="connsiteY289" fmla="*/ 1521440 h 6367505"/>
              <a:gd name="connsiteX290" fmla="*/ 6232358 w 7613003"/>
              <a:gd name="connsiteY290" fmla="*/ 1408740 h 6367505"/>
              <a:gd name="connsiteX291" fmla="*/ 6246446 w 7613003"/>
              <a:gd name="connsiteY291" fmla="*/ 1422828 h 6367505"/>
              <a:gd name="connsiteX292" fmla="*/ 6260535 w 7613003"/>
              <a:gd name="connsiteY292" fmla="*/ 1436915 h 6367505"/>
              <a:gd name="connsiteX293" fmla="*/ 6288711 w 7613003"/>
              <a:gd name="connsiteY293" fmla="*/ 1451002 h 6367505"/>
              <a:gd name="connsiteX294" fmla="*/ 6302799 w 7613003"/>
              <a:gd name="connsiteY294" fmla="*/ 1465089 h 6367505"/>
              <a:gd name="connsiteX295" fmla="*/ 6260535 w 7613003"/>
              <a:gd name="connsiteY295" fmla="*/ 1451002 h 6367505"/>
              <a:gd name="connsiteX296" fmla="*/ 6232358 w 7613003"/>
              <a:gd name="connsiteY296" fmla="*/ 1422828 h 6367505"/>
              <a:gd name="connsiteX297" fmla="*/ 6232358 w 7613003"/>
              <a:gd name="connsiteY297" fmla="*/ 1408740 h 6367505"/>
              <a:gd name="connsiteX298" fmla="*/ 6190093 w 7613003"/>
              <a:gd name="connsiteY298" fmla="*/ 1394653 h 6367505"/>
              <a:gd name="connsiteX299" fmla="*/ 6204182 w 7613003"/>
              <a:gd name="connsiteY299" fmla="*/ 1408740 h 6367505"/>
              <a:gd name="connsiteX300" fmla="*/ 6232358 w 7613003"/>
              <a:gd name="connsiteY300" fmla="*/ 1422828 h 6367505"/>
              <a:gd name="connsiteX301" fmla="*/ 6190093 w 7613003"/>
              <a:gd name="connsiteY301" fmla="*/ 1408740 h 6367505"/>
              <a:gd name="connsiteX302" fmla="*/ 6190093 w 7613003"/>
              <a:gd name="connsiteY302" fmla="*/ 1394653 h 6367505"/>
              <a:gd name="connsiteX303" fmla="*/ 6162613 w 7613003"/>
              <a:gd name="connsiteY303" fmla="*/ 1385447 h 6367505"/>
              <a:gd name="connsiteX304" fmla="*/ 6176005 w 7613003"/>
              <a:gd name="connsiteY304" fmla="*/ 1394653 h 6367505"/>
              <a:gd name="connsiteX305" fmla="*/ 6163678 w 7613003"/>
              <a:gd name="connsiteY305" fmla="*/ 1392893 h 6367505"/>
              <a:gd name="connsiteX306" fmla="*/ 6155514 w 7613003"/>
              <a:gd name="connsiteY306" fmla="*/ 1380566 h 6367505"/>
              <a:gd name="connsiteX307" fmla="*/ 6161916 w 7613003"/>
              <a:gd name="connsiteY307" fmla="*/ 1380566 h 6367505"/>
              <a:gd name="connsiteX308" fmla="*/ 6162613 w 7613003"/>
              <a:gd name="connsiteY308" fmla="*/ 1385447 h 6367505"/>
              <a:gd name="connsiteX309" fmla="*/ 5640652 w 7613003"/>
              <a:gd name="connsiteY309" fmla="*/ 1338304 h 6367505"/>
              <a:gd name="connsiteX310" fmla="*/ 5654741 w 7613003"/>
              <a:gd name="connsiteY310" fmla="*/ 1352391 h 6367505"/>
              <a:gd name="connsiteX311" fmla="*/ 5640652 w 7613003"/>
              <a:gd name="connsiteY311" fmla="*/ 1352391 h 6367505"/>
              <a:gd name="connsiteX312" fmla="*/ 5640652 w 7613003"/>
              <a:gd name="connsiteY312" fmla="*/ 1338304 h 6367505"/>
              <a:gd name="connsiteX313" fmla="*/ 5422004 w 7613003"/>
              <a:gd name="connsiteY313" fmla="*/ 1336050 h 6367505"/>
              <a:gd name="connsiteX314" fmla="*/ 5429329 w 7613003"/>
              <a:gd name="connsiteY314" fmla="*/ 1338304 h 6367505"/>
              <a:gd name="connsiteX315" fmla="*/ 5422286 w 7613003"/>
              <a:gd name="connsiteY315" fmla="*/ 1336542 h 6367505"/>
              <a:gd name="connsiteX316" fmla="*/ 5017218 w 7613003"/>
              <a:gd name="connsiteY316" fmla="*/ 1324216 h 6367505"/>
              <a:gd name="connsiteX317" fmla="*/ 5021666 w 7613003"/>
              <a:gd name="connsiteY317" fmla="*/ 1329499 h 6367505"/>
              <a:gd name="connsiteX318" fmla="*/ 5049843 w 7613003"/>
              <a:gd name="connsiteY318" fmla="*/ 1352391 h 6367505"/>
              <a:gd name="connsiteX319" fmla="*/ 5072736 w 7613003"/>
              <a:gd name="connsiteY319" fmla="*/ 1373522 h 6367505"/>
              <a:gd name="connsiteX320" fmla="*/ 5083889 w 7613003"/>
              <a:gd name="connsiteY320" fmla="*/ 1380566 h 6367505"/>
              <a:gd name="connsiteX321" fmla="*/ 5103065 w 7613003"/>
              <a:gd name="connsiteY321" fmla="*/ 1380566 h 6367505"/>
              <a:gd name="connsiteX322" fmla="*/ 5063931 w 7613003"/>
              <a:gd name="connsiteY322" fmla="*/ 1345347 h 6367505"/>
              <a:gd name="connsiteX323" fmla="*/ 5040451 w 7613003"/>
              <a:gd name="connsiteY323" fmla="*/ 1324216 h 6367505"/>
              <a:gd name="connsiteX324" fmla="*/ 5034860 w 7613003"/>
              <a:gd name="connsiteY324" fmla="*/ 1324216 h 6367505"/>
              <a:gd name="connsiteX325" fmla="*/ 5093358 w 7613003"/>
              <a:gd name="connsiteY325" fmla="*/ 1313046 h 6367505"/>
              <a:gd name="connsiteX326" fmla="*/ 5086586 w 7613003"/>
              <a:gd name="connsiteY326" fmla="*/ 1315541 h 6367505"/>
              <a:gd name="connsiteX327" fmla="*/ 5092107 w 7613003"/>
              <a:gd name="connsiteY327" fmla="*/ 1324216 h 6367505"/>
              <a:gd name="connsiteX328" fmla="*/ 5097390 w 7613003"/>
              <a:gd name="connsiteY328" fmla="*/ 1322455 h 6367505"/>
              <a:gd name="connsiteX329" fmla="*/ 5612477 w 7613003"/>
              <a:gd name="connsiteY329" fmla="*/ 1310129 h 6367505"/>
              <a:gd name="connsiteX330" fmla="*/ 5626565 w 7613003"/>
              <a:gd name="connsiteY330" fmla="*/ 1310129 h 6367505"/>
              <a:gd name="connsiteX331" fmla="*/ 5640652 w 7613003"/>
              <a:gd name="connsiteY331" fmla="*/ 1324216 h 6367505"/>
              <a:gd name="connsiteX332" fmla="*/ 5626565 w 7613003"/>
              <a:gd name="connsiteY332" fmla="*/ 1324216 h 6367505"/>
              <a:gd name="connsiteX333" fmla="*/ 5612477 w 7613003"/>
              <a:gd name="connsiteY333" fmla="*/ 1310129 h 6367505"/>
              <a:gd name="connsiteX334" fmla="*/ 6126036 w 7613003"/>
              <a:gd name="connsiteY334" fmla="*/ 740689 h 6367505"/>
              <a:gd name="connsiteX335" fmla="*/ 6127728 w 7613003"/>
              <a:gd name="connsiteY335" fmla="*/ 741995 h 6367505"/>
              <a:gd name="connsiteX336" fmla="*/ 6124935 w 7613003"/>
              <a:gd name="connsiteY336" fmla="*/ 741350 h 6367505"/>
              <a:gd name="connsiteX337" fmla="*/ 6126036 w 7613003"/>
              <a:gd name="connsiteY337" fmla="*/ 740689 h 6367505"/>
              <a:gd name="connsiteX338" fmla="*/ 5851976 w 7613003"/>
              <a:gd name="connsiteY338" fmla="*/ 633934 h 6367505"/>
              <a:gd name="connsiteX339" fmla="*/ 5866064 w 7613003"/>
              <a:gd name="connsiteY339" fmla="*/ 648021 h 6367505"/>
              <a:gd name="connsiteX340" fmla="*/ 5851976 w 7613003"/>
              <a:gd name="connsiteY340" fmla="*/ 648021 h 6367505"/>
              <a:gd name="connsiteX341" fmla="*/ 5851976 w 7613003"/>
              <a:gd name="connsiteY341" fmla="*/ 633934 h 6367505"/>
              <a:gd name="connsiteX342" fmla="*/ 3782948 w 7613003"/>
              <a:gd name="connsiteY342" fmla="*/ 616507 h 6367505"/>
              <a:gd name="connsiteX343" fmla="*/ 3766920 w 7613003"/>
              <a:gd name="connsiteY343" fmla="*/ 619846 h 6367505"/>
              <a:gd name="connsiteX344" fmla="*/ 3752832 w 7613003"/>
              <a:gd name="connsiteY344" fmla="*/ 633934 h 6367505"/>
              <a:gd name="connsiteX345" fmla="*/ 3799137 w 7613003"/>
              <a:gd name="connsiteY345" fmla="*/ 618500 h 6367505"/>
              <a:gd name="connsiteX346" fmla="*/ 3851449 w 7613003"/>
              <a:gd name="connsiteY346" fmla="*/ 591672 h 6367505"/>
              <a:gd name="connsiteX347" fmla="*/ 3809185 w 7613003"/>
              <a:gd name="connsiteY347" fmla="*/ 605759 h 6367505"/>
              <a:gd name="connsiteX348" fmla="*/ 3794263 w 7613003"/>
              <a:gd name="connsiteY348" fmla="*/ 612598 h 6367505"/>
              <a:gd name="connsiteX349" fmla="*/ 3801275 w 7613003"/>
              <a:gd name="connsiteY349" fmla="*/ 612803 h 6367505"/>
              <a:gd name="connsiteX350" fmla="*/ 3814919 w 7613003"/>
              <a:gd name="connsiteY350" fmla="*/ 613239 h 6367505"/>
              <a:gd name="connsiteX351" fmla="*/ 3862692 w 7613003"/>
              <a:gd name="connsiteY351" fmla="*/ 597316 h 6367505"/>
              <a:gd name="connsiteX352" fmla="*/ 3852344 w 7613003"/>
              <a:gd name="connsiteY352" fmla="*/ 591672 h 6367505"/>
              <a:gd name="connsiteX353" fmla="*/ 5725182 w 7613003"/>
              <a:gd name="connsiteY353" fmla="*/ 563496 h 6367505"/>
              <a:gd name="connsiteX354" fmla="*/ 5739270 w 7613003"/>
              <a:gd name="connsiteY354" fmla="*/ 563496 h 6367505"/>
              <a:gd name="connsiteX355" fmla="*/ 5781535 w 7613003"/>
              <a:gd name="connsiteY355" fmla="*/ 577583 h 6367505"/>
              <a:gd name="connsiteX356" fmla="*/ 5781535 w 7613003"/>
              <a:gd name="connsiteY356" fmla="*/ 591672 h 6367505"/>
              <a:gd name="connsiteX357" fmla="*/ 5725182 w 7613003"/>
              <a:gd name="connsiteY357" fmla="*/ 563496 h 6367505"/>
              <a:gd name="connsiteX358" fmla="*/ 3284877 w 7613003"/>
              <a:gd name="connsiteY358" fmla="*/ 436851 h 6367505"/>
              <a:gd name="connsiteX359" fmla="*/ 3282652 w 7613003"/>
              <a:gd name="connsiteY359" fmla="*/ 436930 h 6367505"/>
              <a:gd name="connsiteX360" fmla="*/ 3265042 w 7613003"/>
              <a:gd name="connsiteY360" fmla="*/ 442653 h 6367505"/>
              <a:gd name="connsiteX361" fmla="*/ 3270505 w 7613003"/>
              <a:gd name="connsiteY361" fmla="*/ 447246 h 6367505"/>
              <a:gd name="connsiteX362" fmla="*/ 3281317 w 7613003"/>
              <a:gd name="connsiteY362" fmla="*/ 439572 h 6367505"/>
              <a:gd name="connsiteX363" fmla="*/ 4922154 w 7613003"/>
              <a:gd name="connsiteY363" fmla="*/ 436710 h 6367505"/>
              <a:gd name="connsiteX364" fmla="*/ 4936242 w 7613003"/>
              <a:gd name="connsiteY364" fmla="*/ 436710 h 6367505"/>
              <a:gd name="connsiteX365" fmla="*/ 4950331 w 7613003"/>
              <a:gd name="connsiteY365" fmla="*/ 436710 h 6367505"/>
              <a:gd name="connsiteX366" fmla="*/ 4922154 w 7613003"/>
              <a:gd name="connsiteY366" fmla="*/ 436710 h 6367505"/>
              <a:gd name="connsiteX367" fmla="*/ 5989458 w 7613003"/>
              <a:gd name="connsiteY367" fmla="*/ 398334 h 6367505"/>
              <a:gd name="connsiteX368" fmla="*/ 5998141 w 7613003"/>
              <a:gd name="connsiteY368" fmla="*/ 401492 h 6367505"/>
              <a:gd name="connsiteX369" fmla="*/ 6006946 w 7613003"/>
              <a:gd name="connsiteY369" fmla="*/ 408534 h 6367505"/>
              <a:gd name="connsiteX370" fmla="*/ 4370208 w 7613003"/>
              <a:gd name="connsiteY370" fmla="*/ 398334 h 6367505"/>
              <a:gd name="connsiteX371" fmla="*/ 4378891 w 7613003"/>
              <a:gd name="connsiteY371" fmla="*/ 401492 h 6367505"/>
              <a:gd name="connsiteX372" fmla="*/ 4387696 w 7613003"/>
              <a:gd name="connsiteY372" fmla="*/ 408534 h 6367505"/>
              <a:gd name="connsiteX373" fmla="*/ 5982959 w 7613003"/>
              <a:gd name="connsiteY373" fmla="*/ 395971 h 6367505"/>
              <a:gd name="connsiteX374" fmla="*/ 5985815 w 7613003"/>
              <a:gd name="connsiteY374" fmla="*/ 396209 h 6367505"/>
              <a:gd name="connsiteX375" fmla="*/ 5989458 w 7613003"/>
              <a:gd name="connsiteY375" fmla="*/ 398334 h 6367505"/>
              <a:gd name="connsiteX376" fmla="*/ 4363709 w 7613003"/>
              <a:gd name="connsiteY376" fmla="*/ 395971 h 6367505"/>
              <a:gd name="connsiteX377" fmla="*/ 4366565 w 7613003"/>
              <a:gd name="connsiteY377" fmla="*/ 396209 h 6367505"/>
              <a:gd name="connsiteX378" fmla="*/ 4370208 w 7613003"/>
              <a:gd name="connsiteY378" fmla="*/ 398334 h 6367505"/>
              <a:gd name="connsiteX379" fmla="*/ 5880153 w 7613003"/>
              <a:gd name="connsiteY379" fmla="*/ 366272 h 6367505"/>
              <a:gd name="connsiteX380" fmla="*/ 5978770 w 7613003"/>
              <a:gd name="connsiteY380" fmla="*/ 394447 h 6367505"/>
              <a:gd name="connsiteX381" fmla="*/ 5982959 w 7613003"/>
              <a:gd name="connsiteY381" fmla="*/ 395971 h 6367505"/>
              <a:gd name="connsiteX382" fmla="*/ 5964682 w 7613003"/>
              <a:gd name="connsiteY382" fmla="*/ 394447 h 6367505"/>
              <a:gd name="connsiteX383" fmla="*/ 5837888 w 7613003"/>
              <a:gd name="connsiteY383" fmla="*/ 352185 h 6367505"/>
              <a:gd name="connsiteX384" fmla="*/ 5880153 w 7613003"/>
              <a:gd name="connsiteY384" fmla="*/ 366272 h 6367505"/>
              <a:gd name="connsiteX385" fmla="*/ 5867826 w 7613003"/>
              <a:gd name="connsiteY385" fmla="*/ 366272 h 6367505"/>
              <a:gd name="connsiteX386" fmla="*/ 5866064 w 7613003"/>
              <a:gd name="connsiteY386" fmla="*/ 366272 h 6367505"/>
              <a:gd name="connsiteX387" fmla="*/ 5837888 w 7613003"/>
              <a:gd name="connsiteY387" fmla="*/ 352185 h 6367505"/>
              <a:gd name="connsiteX388" fmla="*/ 4090949 w 7613003"/>
              <a:gd name="connsiteY388" fmla="*/ 338098 h 6367505"/>
              <a:gd name="connsiteX389" fmla="*/ 4062772 w 7613003"/>
              <a:gd name="connsiteY389" fmla="*/ 352185 h 6367505"/>
              <a:gd name="connsiteX390" fmla="*/ 4105037 w 7613003"/>
              <a:gd name="connsiteY390" fmla="*/ 352185 h 6367505"/>
              <a:gd name="connsiteX391" fmla="*/ 4006419 w 7613003"/>
              <a:gd name="connsiteY391" fmla="*/ 380360 h 6367505"/>
              <a:gd name="connsiteX392" fmla="*/ 3992331 w 7613003"/>
              <a:gd name="connsiteY392" fmla="*/ 394447 h 6367505"/>
              <a:gd name="connsiteX393" fmla="*/ 3978244 w 7613003"/>
              <a:gd name="connsiteY393" fmla="*/ 394447 h 6367505"/>
              <a:gd name="connsiteX394" fmla="*/ 3964155 w 7613003"/>
              <a:gd name="connsiteY394" fmla="*/ 394447 h 6367505"/>
              <a:gd name="connsiteX395" fmla="*/ 3950066 w 7613003"/>
              <a:gd name="connsiteY395" fmla="*/ 408534 h 6367505"/>
              <a:gd name="connsiteX396" fmla="*/ 3907802 w 7613003"/>
              <a:gd name="connsiteY396" fmla="*/ 422623 h 6367505"/>
              <a:gd name="connsiteX397" fmla="*/ 3964155 w 7613003"/>
              <a:gd name="connsiteY397" fmla="*/ 408534 h 6367505"/>
              <a:gd name="connsiteX398" fmla="*/ 4034596 w 7613003"/>
              <a:gd name="connsiteY398" fmla="*/ 394447 h 6367505"/>
              <a:gd name="connsiteX399" fmla="*/ 4090949 w 7613003"/>
              <a:gd name="connsiteY399" fmla="*/ 380360 h 6367505"/>
              <a:gd name="connsiteX400" fmla="*/ 4105037 w 7613003"/>
              <a:gd name="connsiteY400" fmla="*/ 380360 h 6367505"/>
              <a:gd name="connsiteX401" fmla="*/ 4161390 w 7613003"/>
              <a:gd name="connsiteY401" fmla="*/ 352185 h 6367505"/>
              <a:gd name="connsiteX402" fmla="*/ 4184284 w 7613003"/>
              <a:gd name="connsiteY402" fmla="*/ 350424 h 6367505"/>
              <a:gd name="connsiteX403" fmla="*/ 4185741 w 7613003"/>
              <a:gd name="connsiteY403" fmla="*/ 349887 h 6367505"/>
              <a:gd name="connsiteX404" fmla="*/ 4173732 w 7613003"/>
              <a:gd name="connsiteY404" fmla="*/ 344041 h 6367505"/>
              <a:gd name="connsiteX405" fmla="*/ 4134108 w 7613003"/>
              <a:gd name="connsiteY405" fmla="*/ 338098 h 6367505"/>
              <a:gd name="connsiteX406" fmla="*/ 4125303 w 7613003"/>
              <a:gd name="connsiteY406" fmla="*/ 338098 h 6367505"/>
              <a:gd name="connsiteX407" fmla="*/ 4119125 w 7613003"/>
              <a:gd name="connsiteY407" fmla="*/ 338098 h 6367505"/>
              <a:gd name="connsiteX408" fmla="*/ 4110320 w 7613003"/>
              <a:gd name="connsiteY408" fmla="*/ 338098 h 6367505"/>
              <a:gd name="connsiteX409" fmla="*/ 4105932 w 7613003"/>
              <a:gd name="connsiteY409" fmla="*/ 338098 h 6367505"/>
              <a:gd name="connsiteX410" fmla="*/ 5640652 w 7613003"/>
              <a:gd name="connsiteY410" fmla="*/ 309923 h 6367505"/>
              <a:gd name="connsiteX411" fmla="*/ 5795623 w 7613003"/>
              <a:gd name="connsiteY411" fmla="*/ 338098 h 6367505"/>
              <a:gd name="connsiteX412" fmla="*/ 5837888 w 7613003"/>
              <a:gd name="connsiteY412" fmla="*/ 338098 h 6367505"/>
              <a:gd name="connsiteX413" fmla="*/ 5837888 w 7613003"/>
              <a:gd name="connsiteY413" fmla="*/ 352185 h 6367505"/>
              <a:gd name="connsiteX414" fmla="*/ 5809711 w 7613003"/>
              <a:gd name="connsiteY414" fmla="*/ 352185 h 6367505"/>
              <a:gd name="connsiteX415" fmla="*/ 5753358 w 7613003"/>
              <a:gd name="connsiteY415" fmla="*/ 338098 h 6367505"/>
              <a:gd name="connsiteX416" fmla="*/ 5725182 w 7613003"/>
              <a:gd name="connsiteY416" fmla="*/ 338098 h 6367505"/>
              <a:gd name="connsiteX417" fmla="*/ 5640652 w 7613003"/>
              <a:gd name="connsiteY417" fmla="*/ 309923 h 6367505"/>
              <a:gd name="connsiteX418" fmla="*/ 3509384 w 7613003"/>
              <a:gd name="connsiteY418" fmla="*/ 303980 h 6367505"/>
              <a:gd name="connsiteX419" fmla="*/ 3457874 w 7613003"/>
              <a:gd name="connsiteY419" fmla="*/ 309923 h 6367505"/>
              <a:gd name="connsiteX420" fmla="*/ 3373345 w 7613003"/>
              <a:gd name="connsiteY420" fmla="*/ 309923 h 6367505"/>
              <a:gd name="connsiteX421" fmla="*/ 3316993 w 7613003"/>
              <a:gd name="connsiteY421" fmla="*/ 309923 h 6367505"/>
              <a:gd name="connsiteX422" fmla="*/ 3288816 w 7613003"/>
              <a:gd name="connsiteY422" fmla="*/ 324010 h 6367505"/>
              <a:gd name="connsiteX423" fmla="*/ 3260639 w 7613003"/>
              <a:gd name="connsiteY423" fmla="*/ 324010 h 6367505"/>
              <a:gd name="connsiteX424" fmla="*/ 3246551 w 7613003"/>
              <a:gd name="connsiteY424" fmla="*/ 324010 h 6367505"/>
              <a:gd name="connsiteX425" fmla="*/ 3190198 w 7613003"/>
              <a:gd name="connsiteY425" fmla="*/ 324010 h 6367505"/>
              <a:gd name="connsiteX426" fmla="*/ 3176110 w 7613003"/>
              <a:gd name="connsiteY426" fmla="*/ 324010 h 6367505"/>
              <a:gd name="connsiteX427" fmla="*/ 3162022 w 7613003"/>
              <a:gd name="connsiteY427" fmla="*/ 324010 h 6367505"/>
              <a:gd name="connsiteX428" fmla="*/ 3105669 w 7613003"/>
              <a:gd name="connsiteY428" fmla="*/ 338098 h 6367505"/>
              <a:gd name="connsiteX429" fmla="*/ 3091581 w 7613003"/>
              <a:gd name="connsiteY429" fmla="*/ 338098 h 6367505"/>
              <a:gd name="connsiteX430" fmla="*/ 3035228 w 7613003"/>
              <a:gd name="connsiteY430" fmla="*/ 338098 h 6367505"/>
              <a:gd name="connsiteX431" fmla="*/ 2964786 w 7613003"/>
              <a:gd name="connsiteY431" fmla="*/ 352185 h 6367505"/>
              <a:gd name="connsiteX432" fmla="*/ 2950699 w 7613003"/>
              <a:gd name="connsiteY432" fmla="*/ 352185 h 6367505"/>
              <a:gd name="connsiteX433" fmla="*/ 2908433 w 7613003"/>
              <a:gd name="connsiteY433" fmla="*/ 366272 h 6367505"/>
              <a:gd name="connsiteX434" fmla="*/ 2894345 w 7613003"/>
              <a:gd name="connsiteY434" fmla="*/ 366272 h 6367505"/>
              <a:gd name="connsiteX435" fmla="*/ 2880257 w 7613003"/>
              <a:gd name="connsiteY435" fmla="*/ 366272 h 6367505"/>
              <a:gd name="connsiteX436" fmla="*/ 2866169 w 7613003"/>
              <a:gd name="connsiteY436" fmla="*/ 366272 h 6367505"/>
              <a:gd name="connsiteX437" fmla="*/ 2809816 w 7613003"/>
              <a:gd name="connsiteY437" fmla="*/ 380360 h 6367505"/>
              <a:gd name="connsiteX438" fmla="*/ 2781640 w 7613003"/>
              <a:gd name="connsiteY438" fmla="*/ 380360 h 6367505"/>
              <a:gd name="connsiteX439" fmla="*/ 2781640 w 7613003"/>
              <a:gd name="connsiteY439" fmla="*/ 394447 h 6367505"/>
              <a:gd name="connsiteX440" fmla="*/ 2767551 w 7613003"/>
              <a:gd name="connsiteY440" fmla="*/ 394447 h 6367505"/>
              <a:gd name="connsiteX441" fmla="*/ 2753463 w 7613003"/>
              <a:gd name="connsiteY441" fmla="*/ 394447 h 6367505"/>
              <a:gd name="connsiteX442" fmla="*/ 2739374 w 7613003"/>
              <a:gd name="connsiteY442" fmla="*/ 394447 h 6367505"/>
              <a:gd name="connsiteX443" fmla="*/ 2654846 w 7613003"/>
              <a:gd name="connsiteY443" fmla="*/ 422623 h 6367505"/>
              <a:gd name="connsiteX444" fmla="*/ 2640758 w 7613003"/>
              <a:gd name="connsiteY444" fmla="*/ 422623 h 6367505"/>
              <a:gd name="connsiteX445" fmla="*/ 2612581 w 7613003"/>
              <a:gd name="connsiteY445" fmla="*/ 436710 h 6367505"/>
              <a:gd name="connsiteX446" fmla="*/ 2598493 w 7613003"/>
              <a:gd name="connsiteY446" fmla="*/ 436710 h 6367505"/>
              <a:gd name="connsiteX447" fmla="*/ 2584406 w 7613003"/>
              <a:gd name="connsiteY447" fmla="*/ 450798 h 6367505"/>
              <a:gd name="connsiteX448" fmla="*/ 2570317 w 7613003"/>
              <a:gd name="connsiteY448" fmla="*/ 450798 h 6367505"/>
              <a:gd name="connsiteX449" fmla="*/ 2443523 w 7613003"/>
              <a:gd name="connsiteY449" fmla="*/ 493059 h 6367505"/>
              <a:gd name="connsiteX450" fmla="*/ 2415347 w 7613003"/>
              <a:gd name="connsiteY450" fmla="*/ 493059 h 6367505"/>
              <a:gd name="connsiteX451" fmla="*/ 2401258 w 7613003"/>
              <a:gd name="connsiteY451" fmla="*/ 507147 h 6367505"/>
              <a:gd name="connsiteX452" fmla="*/ 2358994 w 7613003"/>
              <a:gd name="connsiteY452" fmla="*/ 521234 h 6367505"/>
              <a:gd name="connsiteX453" fmla="*/ 2330816 w 7613003"/>
              <a:gd name="connsiteY453" fmla="*/ 535321 h 6367505"/>
              <a:gd name="connsiteX454" fmla="*/ 2316729 w 7613003"/>
              <a:gd name="connsiteY454" fmla="*/ 535321 h 6367505"/>
              <a:gd name="connsiteX455" fmla="*/ 2288552 w 7613003"/>
              <a:gd name="connsiteY455" fmla="*/ 563496 h 6367505"/>
              <a:gd name="connsiteX456" fmla="*/ 2274464 w 7613003"/>
              <a:gd name="connsiteY456" fmla="*/ 577583 h 6367505"/>
              <a:gd name="connsiteX457" fmla="*/ 2232199 w 7613003"/>
              <a:gd name="connsiteY457" fmla="*/ 591672 h 6367505"/>
              <a:gd name="connsiteX458" fmla="*/ 2147670 w 7613003"/>
              <a:gd name="connsiteY458" fmla="*/ 619846 h 6367505"/>
              <a:gd name="connsiteX459" fmla="*/ 2133582 w 7613003"/>
              <a:gd name="connsiteY459" fmla="*/ 633934 h 6367505"/>
              <a:gd name="connsiteX460" fmla="*/ 2260376 w 7613003"/>
              <a:gd name="connsiteY460" fmla="*/ 591672 h 6367505"/>
              <a:gd name="connsiteX461" fmla="*/ 2302641 w 7613003"/>
              <a:gd name="connsiteY461" fmla="*/ 577583 h 6367505"/>
              <a:gd name="connsiteX462" fmla="*/ 2316729 w 7613003"/>
              <a:gd name="connsiteY462" fmla="*/ 563496 h 6367505"/>
              <a:gd name="connsiteX463" fmla="*/ 2344905 w 7613003"/>
              <a:gd name="connsiteY463" fmla="*/ 563496 h 6367505"/>
              <a:gd name="connsiteX464" fmla="*/ 2344905 w 7613003"/>
              <a:gd name="connsiteY464" fmla="*/ 549409 h 6367505"/>
              <a:gd name="connsiteX465" fmla="*/ 2387169 w 7613003"/>
              <a:gd name="connsiteY465" fmla="*/ 549409 h 6367505"/>
              <a:gd name="connsiteX466" fmla="*/ 2401258 w 7613003"/>
              <a:gd name="connsiteY466" fmla="*/ 535321 h 6367505"/>
              <a:gd name="connsiteX467" fmla="*/ 2415347 w 7613003"/>
              <a:gd name="connsiteY467" fmla="*/ 535321 h 6367505"/>
              <a:gd name="connsiteX468" fmla="*/ 2429434 w 7613003"/>
              <a:gd name="connsiteY468" fmla="*/ 521234 h 6367505"/>
              <a:gd name="connsiteX469" fmla="*/ 2499875 w 7613003"/>
              <a:gd name="connsiteY469" fmla="*/ 507147 h 6367505"/>
              <a:gd name="connsiteX470" fmla="*/ 2598493 w 7613003"/>
              <a:gd name="connsiteY470" fmla="*/ 478972 h 6367505"/>
              <a:gd name="connsiteX471" fmla="*/ 2640758 w 7613003"/>
              <a:gd name="connsiteY471" fmla="*/ 464885 h 6367505"/>
              <a:gd name="connsiteX472" fmla="*/ 2626670 w 7613003"/>
              <a:gd name="connsiteY472" fmla="*/ 478972 h 6367505"/>
              <a:gd name="connsiteX473" fmla="*/ 2640758 w 7613003"/>
              <a:gd name="connsiteY473" fmla="*/ 493059 h 6367505"/>
              <a:gd name="connsiteX474" fmla="*/ 2612581 w 7613003"/>
              <a:gd name="connsiteY474" fmla="*/ 493059 h 6367505"/>
              <a:gd name="connsiteX475" fmla="*/ 2612581 w 7613003"/>
              <a:gd name="connsiteY475" fmla="*/ 507147 h 6367505"/>
              <a:gd name="connsiteX476" fmla="*/ 2640758 w 7613003"/>
              <a:gd name="connsiteY476" fmla="*/ 493059 h 6367505"/>
              <a:gd name="connsiteX477" fmla="*/ 2668934 w 7613003"/>
              <a:gd name="connsiteY477" fmla="*/ 493059 h 6367505"/>
              <a:gd name="connsiteX478" fmla="*/ 2753463 w 7613003"/>
              <a:gd name="connsiteY478" fmla="*/ 464885 h 6367505"/>
              <a:gd name="connsiteX479" fmla="*/ 2964786 w 7613003"/>
              <a:gd name="connsiteY479" fmla="*/ 436710 h 6367505"/>
              <a:gd name="connsiteX480" fmla="*/ 3021139 w 7613003"/>
              <a:gd name="connsiteY480" fmla="*/ 422623 h 6367505"/>
              <a:gd name="connsiteX481" fmla="*/ 3049316 w 7613003"/>
              <a:gd name="connsiteY481" fmla="*/ 422623 h 6367505"/>
              <a:gd name="connsiteX482" fmla="*/ 3061643 w 7613003"/>
              <a:gd name="connsiteY482" fmla="*/ 422623 h 6367505"/>
              <a:gd name="connsiteX483" fmla="*/ 3091581 w 7613003"/>
              <a:gd name="connsiteY483" fmla="*/ 422623 h 6367505"/>
              <a:gd name="connsiteX484" fmla="*/ 3105669 w 7613003"/>
              <a:gd name="connsiteY484" fmla="*/ 422623 h 6367505"/>
              <a:gd name="connsiteX485" fmla="*/ 3049316 w 7613003"/>
              <a:gd name="connsiteY485" fmla="*/ 422623 h 6367505"/>
              <a:gd name="connsiteX486" fmla="*/ 3119756 w 7613003"/>
              <a:gd name="connsiteY486" fmla="*/ 408534 h 6367505"/>
              <a:gd name="connsiteX487" fmla="*/ 3133845 w 7613003"/>
              <a:gd name="connsiteY487" fmla="*/ 408534 h 6367505"/>
              <a:gd name="connsiteX488" fmla="*/ 3133845 w 7613003"/>
              <a:gd name="connsiteY488" fmla="*/ 422623 h 6367505"/>
              <a:gd name="connsiteX489" fmla="*/ 3162022 w 7613003"/>
              <a:gd name="connsiteY489" fmla="*/ 436710 h 6367505"/>
              <a:gd name="connsiteX490" fmla="*/ 3190198 w 7613003"/>
              <a:gd name="connsiteY490" fmla="*/ 436710 h 6367505"/>
              <a:gd name="connsiteX491" fmla="*/ 3232462 w 7613003"/>
              <a:gd name="connsiteY491" fmla="*/ 436710 h 6367505"/>
              <a:gd name="connsiteX492" fmla="*/ 3265923 w 7613003"/>
              <a:gd name="connsiteY492" fmla="*/ 426145 h 6367505"/>
              <a:gd name="connsiteX493" fmla="*/ 3286474 w 7613003"/>
              <a:gd name="connsiteY493" fmla="*/ 435630 h 6367505"/>
              <a:gd name="connsiteX494" fmla="*/ 3319619 w 7613003"/>
              <a:gd name="connsiteY494" fmla="*/ 410296 h 6367505"/>
              <a:gd name="connsiteX495" fmla="*/ 3372450 w 7613003"/>
              <a:gd name="connsiteY495" fmla="*/ 366272 h 6367505"/>
              <a:gd name="connsiteX496" fmla="*/ 3414714 w 7613003"/>
              <a:gd name="connsiteY496" fmla="*/ 338098 h 6367505"/>
              <a:gd name="connsiteX497" fmla="*/ 3442891 w 7613003"/>
              <a:gd name="connsiteY497" fmla="*/ 338098 h 6367505"/>
              <a:gd name="connsiteX498" fmla="*/ 3485156 w 7613003"/>
              <a:gd name="connsiteY498" fmla="*/ 324010 h 6367505"/>
              <a:gd name="connsiteX499" fmla="*/ 3513002 w 7613003"/>
              <a:gd name="connsiteY499" fmla="*/ 305116 h 6367505"/>
              <a:gd name="connsiteX500" fmla="*/ 3668303 w 7613003"/>
              <a:gd name="connsiteY500" fmla="*/ 267661 h 6367505"/>
              <a:gd name="connsiteX501" fmla="*/ 3611950 w 7613003"/>
              <a:gd name="connsiteY501" fmla="*/ 295836 h 6367505"/>
              <a:gd name="connsiteX502" fmla="*/ 3583773 w 7613003"/>
              <a:gd name="connsiteY502" fmla="*/ 324010 h 6367505"/>
              <a:gd name="connsiteX503" fmla="*/ 3541509 w 7613003"/>
              <a:gd name="connsiteY503" fmla="*/ 338098 h 6367505"/>
              <a:gd name="connsiteX504" fmla="*/ 3471067 w 7613003"/>
              <a:gd name="connsiteY504" fmla="*/ 366272 h 6367505"/>
              <a:gd name="connsiteX505" fmla="*/ 3414714 w 7613003"/>
              <a:gd name="connsiteY505" fmla="*/ 394447 h 6367505"/>
              <a:gd name="connsiteX506" fmla="*/ 3386538 w 7613003"/>
              <a:gd name="connsiteY506" fmla="*/ 408534 h 6367505"/>
              <a:gd name="connsiteX507" fmla="*/ 3344274 w 7613003"/>
              <a:gd name="connsiteY507" fmla="*/ 436710 h 6367505"/>
              <a:gd name="connsiteX508" fmla="*/ 3330185 w 7613003"/>
              <a:gd name="connsiteY508" fmla="*/ 450798 h 6367505"/>
              <a:gd name="connsiteX509" fmla="*/ 3326170 w 7613003"/>
              <a:gd name="connsiteY509" fmla="*/ 452257 h 6367505"/>
              <a:gd name="connsiteX510" fmla="*/ 3361765 w 7613003"/>
              <a:gd name="connsiteY510" fmla="*/ 457920 h 6367505"/>
              <a:gd name="connsiteX511" fmla="*/ 3414714 w 7613003"/>
              <a:gd name="connsiteY511" fmla="*/ 422623 h 6367505"/>
              <a:gd name="connsiteX512" fmla="*/ 3456980 w 7613003"/>
              <a:gd name="connsiteY512" fmla="*/ 394447 h 6367505"/>
              <a:gd name="connsiteX513" fmla="*/ 3541509 w 7613003"/>
              <a:gd name="connsiteY513" fmla="*/ 352185 h 6367505"/>
              <a:gd name="connsiteX514" fmla="*/ 3555597 w 7613003"/>
              <a:gd name="connsiteY514" fmla="*/ 352185 h 6367505"/>
              <a:gd name="connsiteX515" fmla="*/ 3569684 w 7613003"/>
              <a:gd name="connsiteY515" fmla="*/ 338098 h 6367505"/>
              <a:gd name="connsiteX516" fmla="*/ 3597862 w 7613003"/>
              <a:gd name="connsiteY516" fmla="*/ 324010 h 6367505"/>
              <a:gd name="connsiteX517" fmla="*/ 3611950 w 7613003"/>
              <a:gd name="connsiteY517" fmla="*/ 309923 h 6367505"/>
              <a:gd name="connsiteX518" fmla="*/ 3611950 w 7613003"/>
              <a:gd name="connsiteY518" fmla="*/ 324010 h 6367505"/>
              <a:gd name="connsiteX519" fmla="*/ 3597862 w 7613003"/>
              <a:gd name="connsiteY519" fmla="*/ 338098 h 6367505"/>
              <a:gd name="connsiteX520" fmla="*/ 3569684 w 7613003"/>
              <a:gd name="connsiteY520" fmla="*/ 366272 h 6367505"/>
              <a:gd name="connsiteX521" fmla="*/ 3527421 w 7613003"/>
              <a:gd name="connsiteY521" fmla="*/ 380360 h 6367505"/>
              <a:gd name="connsiteX522" fmla="*/ 3527420 w 7613003"/>
              <a:gd name="connsiteY522" fmla="*/ 380360 h 6367505"/>
              <a:gd name="connsiteX523" fmla="*/ 3527419 w 7613003"/>
              <a:gd name="connsiteY523" fmla="*/ 380360 h 6367505"/>
              <a:gd name="connsiteX524" fmla="*/ 3485156 w 7613003"/>
              <a:gd name="connsiteY524" fmla="*/ 394447 h 6367505"/>
              <a:gd name="connsiteX525" fmla="*/ 3428803 w 7613003"/>
              <a:gd name="connsiteY525" fmla="*/ 422623 h 6367505"/>
              <a:gd name="connsiteX526" fmla="*/ 3428803 w 7613003"/>
              <a:gd name="connsiteY526" fmla="*/ 436710 h 6367505"/>
              <a:gd name="connsiteX527" fmla="*/ 3485156 w 7613003"/>
              <a:gd name="connsiteY527" fmla="*/ 408534 h 6367505"/>
              <a:gd name="connsiteX528" fmla="*/ 3506288 w 7613003"/>
              <a:gd name="connsiteY528" fmla="*/ 394447 h 6367505"/>
              <a:gd name="connsiteX529" fmla="*/ 3527419 w 7613003"/>
              <a:gd name="connsiteY529" fmla="*/ 380360 h 6367505"/>
              <a:gd name="connsiteX530" fmla="*/ 3527421 w 7613003"/>
              <a:gd name="connsiteY530" fmla="*/ 380360 h 6367505"/>
              <a:gd name="connsiteX531" fmla="*/ 3534464 w 7613003"/>
              <a:gd name="connsiteY531" fmla="*/ 380360 h 6367505"/>
              <a:gd name="connsiteX532" fmla="*/ 3541509 w 7613003"/>
              <a:gd name="connsiteY532" fmla="*/ 380360 h 6367505"/>
              <a:gd name="connsiteX533" fmla="*/ 3583773 w 7613003"/>
              <a:gd name="connsiteY533" fmla="*/ 366272 h 6367505"/>
              <a:gd name="connsiteX534" fmla="*/ 3485156 w 7613003"/>
              <a:gd name="connsiteY534" fmla="*/ 422623 h 6367505"/>
              <a:gd name="connsiteX535" fmla="*/ 3435627 w 7613003"/>
              <a:gd name="connsiteY535" fmla="*/ 448376 h 6367505"/>
              <a:gd name="connsiteX536" fmla="*/ 3416316 w 7613003"/>
              <a:gd name="connsiteY536" fmla="*/ 463620 h 6367505"/>
              <a:gd name="connsiteX537" fmla="*/ 3471963 w 7613003"/>
              <a:gd name="connsiteY537" fmla="*/ 464885 h 6367505"/>
              <a:gd name="connsiteX538" fmla="*/ 3500139 w 7613003"/>
              <a:gd name="connsiteY538" fmla="*/ 464885 h 6367505"/>
              <a:gd name="connsiteX539" fmla="*/ 3514227 w 7613003"/>
              <a:gd name="connsiteY539" fmla="*/ 464885 h 6367505"/>
              <a:gd name="connsiteX540" fmla="*/ 3554731 w 7613003"/>
              <a:gd name="connsiteY540" fmla="*/ 464885 h 6367505"/>
              <a:gd name="connsiteX541" fmla="*/ 3555597 w 7613003"/>
              <a:gd name="connsiteY541" fmla="*/ 464885 h 6367505"/>
              <a:gd name="connsiteX542" fmla="*/ 3583773 w 7613003"/>
              <a:gd name="connsiteY542" fmla="*/ 450798 h 6367505"/>
              <a:gd name="connsiteX543" fmla="*/ 3626037 w 7613003"/>
              <a:gd name="connsiteY543" fmla="*/ 436710 h 6367505"/>
              <a:gd name="connsiteX544" fmla="*/ 3682390 w 7613003"/>
              <a:gd name="connsiteY544" fmla="*/ 408534 h 6367505"/>
              <a:gd name="connsiteX545" fmla="*/ 3724655 w 7613003"/>
              <a:gd name="connsiteY545" fmla="*/ 380360 h 6367505"/>
              <a:gd name="connsiteX546" fmla="*/ 3766920 w 7613003"/>
              <a:gd name="connsiteY546" fmla="*/ 366272 h 6367505"/>
              <a:gd name="connsiteX547" fmla="*/ 3823273 w 7613003"/>
              <a:gd name="connsiteY547" fmla="*/ 338098 h 6367505"/>
              <a:gd name="connsiteX548" fmla="*/ 3823273 w 7613003"/>
              <a:gd name="connsiteY548" fmla="*/ 352185 h 6367505"/>
              <a:gd name="connsiteX549" fmla="*/ 3809185 w 7613003"/>
              <a:gd name="connsiteY549" fmla="*/ 352185 h 6367505"/>
              <a:gd name="connsiteX550" fmla="*/ 3809185 w 7613003"/>
              <a:gd name="connsiteY550" fmla="*/ 366272 h 6367505"/>
              <a:gd name="connsiteX551" fmla="*/ 3781008 w 7613003"/>
              <a:gd name="connsiteY551" fmla="*/ 380360 h 6367505"/>
              <a:gd name="connsiteX552" fmla="*/ 3795096 w 7613003"/>
              <a:gd name="connsiteY552" fmla="*/ 380360 h 6367505"/>
              <a:gd name="connsiteX553" fmla="*/ 3907802 w 7613003"/>
              <a:gd name="connsiteY553" fmla="*/ 338098 h 6367505"/>
              <a:gd name="connsiteX554" fmla="*/ 3978244 w 7613003"/>
              <a:gd name="connsiteY554" fmla="*/ 324010 h 6367505"/>
              <a:gd name="connsiteX555" fmla="*/ 3999855 w 7613003"/>
              <a:gd name="connsiteY555" fmla="*/ 309154 h 6367505"/>
              <a:gd name="connsiteX556" fmla="*/ 3972094 w 7613003"/>
              <a:gd name="connsiteY556" fmla="*/ 308162 h 6367505"/>
              <a:gd name="connsiteX557" fmla="*/ 3922785 w 7613003"/>
              <a:gd name="connsiteY557" fmla="*/ 295836 h 6367505"/>
              <a:gd name="connsiteX558" fmla="*/ 3908697 w 7613003"/>
              <a:gd name="connsiteY558" fmla="*/ 295836 h 6367505"/>
              <a:gd name="connsiteX559" fmla="*/ 3880521 w 7613003"/>
              <a:gd name="connsiteY559" fmla="*/ 295836 h 6367505"/>
              <a:gd name="connsiteX560" fmla="*/ 3824168 w 7613003"/>
              <a:gd name="connsiteY560" fmla="*/ 281749 h 6367505"/>
              <a:gd name="connsiteX561" fmla="*/ 3795992 w 7613003"/>
              <a:gd name="connsiteY561" fmla="*/ 281749 h 6367505"/>
              <a:gd name="connsiteX562" fmla="*/ 3697375 w 7613003"/>
              <a:gd name="connsiteY562" fmla="*/ 281749 h 6367505"/>
              <a:gd name="connsiteX563" fmla="*/ 3669198 w 7613003"/>
              <a:gd name="connsiteY563" fmla="*/ 267661 h 6367505"/>
              <a:gd name="connsiteX564" fmla="*/ 3331081 w 7613003"/>
              <a:gd name="connsiteY564" fmla="*/ 267661 h 6367505"/>
              <a:gd name="connsiteX565" fmla="*/ 3274728 w 7613003"/>
              <a:gd name="connsiteY565" fmla="*/ 281749 h 6367505"/>
              <a:gd name="connsiteX566" fmla="*/ 3218375 w 7613003"/>
              <a:gd name="connsiteY566" fmla="*/ 281749 h 6367505"/>
              <a:gd name="connsiteX567" fmla="*/ 3204287 w 7613003"/>
              <a:gd name="connsiteY567" fmla="*/ 281749 h 6367505"/>
              <a:gd name="connsiteX568" fmla="*/ 3190198 w 7613003"/>
              <a:gd name="connsiteY568" fmla="*/ 281749 h 6367505"/>
              <a:gd name="connsiteX569" fmla="*/ 3190198 w 7613003"/>
              <a:gd name="connsiteY569" fmla="*/ 295836 h 6367505"/>
              <a:gd name="connsiteX570" fmla="*/ 3162022 w 7613003"/>
              <a:gd name="connsiteY570" fmla="*/ 295836 h 6367505"/>
              <a:gd name="connsiteX571" fmla="*/ 3091581 w 7613003"/>
              <a:gd name="connsiteY571" fmla="*/ 295836 h 6367505"/>
              <a:gd name="connsiteX572" fmla="*/ 3007052 w 7613003"/>
              <a:gd name="connsiteY572" fmla="*/ 295836 h 6367505"/>
              <a:gd name="connsiteX573" fmla="*/ 3007052 w 7613003"/>
              <a:gd name="connsiteY573" fmla="*/ 309923 h 6367505"/>
              <a:gd name="connsiteX574" fmla="*/ 3021139 w 7613003"/>
              <a:gd name="connsiteY574" fmla="*/ 309923 h 6367505"/>
              <a:gd name="connsiteX575" fmla="*/ 3077492 w 7613003"/>
              <a:gd name="connsiteY575" fmla="*/ 309923 h 6367505"/>
              <a:gd name="connsiteX576" fmla="*/ 3133845 w 7613003"/>
              <a:gd name="connsiteY576" fmla="*/ 309923 h 6367505"/>
              <a:gd name="connsiteX577" fmla="*/ 3147934 w 7613003"/>
              <a:gd name="connsiteY577" fmla="*/ 309923 h 6367505"/>
              <a:gd name="connsiteX578" fmla="*/ 3232462 w 7613003"/>
              <a:gd name="connsiteY578" fmla="*/ 295836 h 6367505"/>
              <a:gd name="connsiteX579" fmla="*/ 3274728 w 7613003"/>
              <a:gd name="connsiteY579" fmla="*/ 295836 h 6367505"/>
              <a:gd name="connsiteX580" fmla="*/ 3302904 w 7613003"/>
              <a:gd name="connsiteY580" fmla="*/ 295836 h 6367505"/>
              <a:gd name="connsiteX581" fmla="*/ 3345168 w 7613003"/>
              <a:gd name="connsiteY581" fmla="*/ 295836 h 6367505"/>
              <a:gd name="connsiteX582" fmla="*/ 3415610 w 7613003"/>
              <a:gd name="connsiteY582" fmla="*/ 295836 h 6367505"/>
              <a:gd name="connsiteX583" fmla="*/ 3490894 w 7613003"/>
              <a:gd name="connsiteY583" fmla="*/ 289893 h 6367505"/>
              <a:gd name="connsiteX584" fmla="*/ 3526990 w 7613003"/>
              <a:gd name="connsiteY584" fmla="*/ 295625 h 6367505"/>
              <a:gd name="connsiteX585" fmla="*/ 3534465 w 7613003"/>
              <a:gd name="connsiteY585" fmla="*/ 290553 h 6367505"/>
              <a:gd name="connsiteX586" fmla="*/ 3583773 w 7613003"/>
              <a:gd name="connsiteY586" fmla="*/ 267661 h 6367505"/>
              <a:gd name="connsiteX587" fmla="*/ 3579385 w 7613003"/>
              <a:gd name="connsiteY587" fmla="*/ 267661 h 6367505"/>
              <a:gd name="connsiteX588" fmla="*/ 3570580 w 7613003"/>
              <a:gd name="connsiteY588" fmla="*/ 267661 h 6367505"/>
              <a:gd name="connsiteX589" fmla="*/ 3500139 w 7613003"/>
              <a:gd name="connsiteY589" fmla="*/ 267661 h 6367505"/>
              <a:gd name="connsiteX590" fmla="*/ 3471963 w 7613003"/>
              <a:gd name="connsiteY590" fmla="*/ 267661 h 6367505"/>
              <a:gd name="connsiteX591" fmla="*/ 3457874 w 7613003"/>
              <a:gd name="connsiteY591" fmla="*/ 267661 h 6367505"/>
              <a:gd name="connsiteX592" fmla="*/ 3387433 w 7613003"/>
              <a:gd name="connsiteY592" fmla="*/ 281749 h 6367505"/>
              <a:gd name="connsiteX593" fmla="*/ 3345168 w 7613003"/>
              <a:gd name="connsiteY593" fmla="*/ 267661 h 6367505"/>
              <a:gd name="connsiteX594" fmla="*/ 3331081 w 7613003"/>
              <a:gd name="connsiteY594" fmla="*/ 267661 h 6367505"/>
              <a:gd name="connsiteX595" fmla="*/ 3686218 w 7613003"/>
              <a:gd name="connsiteY595" fmla="*/ 258704 h 6367505"/>
              <a:gd name="connsiteX596" fmla="*/ 3675744 w 7613003"/>
              <a:gd name="connsiteY596" fmla="*/ 263941 h 6367505"/>
              <a:gd name="connsiteX597" fmla="*/ 3683286 w 7613003"/>
              <a:gd name="connsiteY597" fmla="*/ 267661 h 6367505"/>
              <a:gd name="connsiteX598" fmla="*/ 3697375 w 7613003"/>
              <a:gd name="connsiteY598" fmla="*/ 267661 h 6367505"/>
              <a:gd name="connsiteX599" fmla="*/ 3690330 w 7613003"/>
              <a:gd name="connsiteY599" fmla="*/ 265900 h 6367505"/>
              <a:gd name="connsiteX600" fmla="*/ 2781640 w 7613003"/>
              <a:gd name="connsiteY600" fmla="*/ 0 h 6367505"/>
              <a:gd name="connsiteX601" fmla="*/ 2781640 w 7613003"/>
              <a:gd name="connsiteY601" fmla="*/ 14087 h 6367505"/>
              <a:gd name="connsiteX602" fmla="*/ 2767551 w 7613003"/>
              <a:gd name="connsiteY602" fmla="*/ 14087 h 6367505"/>
              <a:gd name="connsiteX603" fmla="*/ 2739374 w 7613003"/>
              <a:gd name="connsiteY603" fmla="*/ 28175 h 6367505"/>
              <a:gd name="connsiteX604" fmla="*/ 2725287 w 7613003"/>
              <a:gd name="connsiteY604" fmla="*/ 28175 h 6367505"/>
              <a:gd name="connsiteX605" fmla="*/ 2612581 w 7613003"/>
              <a:gd name="connsiteY605" fmla="*/ 70438 h 6367505"/>
              <a:gd name="connsiteX606" fmla="*/ 2542140 w 7613003"/>
              <a:gd name="connsiteY606" fmla="*/ 84525 h 6367505"/>
              <a:gd name="connsiteX607" fmla="*/ 2513964 w 7613003"/>
              <a:gd name="connsiteY607" fmla="*/ 98612 h 6367505"/>
              <a:gd name="connsiteX608" fmla="*/ 2387169 w 7613003"/>
              <a:gd name="connsiteY608" fmla="*/ 126787 h 6367505"/>
              <a:gd name="connsiteX609" fmla="*/ 2358994 w 7613003"/>
              <a:gd name="connsiteY609" fmla="*/ 140874 h 6367505"/>
              <a:gd name="connsiteX610" fmla="*/ 2344905 w 7613003"/>
              <a:gd name="connsiteY610" fmla="*/ 140874 h 6367505"/>
              <a:gd name="connsiteX611" fmla="*/ 2302641 w 7613003"/>
              <a:gd name="connsiteY611" fmla="*/ 169049 h 6367505"/>
              <a:gd name="connsiteX612" fmla="*/ 2274464 w 7613003"/>
              <a:gd name="connsiteY612" fmla="*/ 183136 h 6367505"/>
              <a:gd name="connsiteX613" fmla="*/ 2260376 w 7613003"/>
              <a:gd name="connsiteY613" fmla="*/ 183136 h 6367505"/>
              <a:gd name="connsiteX614" fmla="*/ 2175846 w 7613003"/>
              <a:gd name="connsiteY614" fmla="*/ 225398 h 6367505"/>
              <a:gd name="connsiteX615" fmla="*/ 2091317 w 7613003"/>
              <a:gd name="connsiteY615" fmla="*/ 253574 h 6367505"/>
              <a:gd name="connsiteX616" fmla="*/ 2077229 w 7613003"/>
              <a:gd name="connsiteY616" fmla="*/ 253574 h 6367505"/>
              <a:gd name="connsiteX617" fmla="*/ 1992700 w 7613003"/>
              <a:gd name="connsiteY617" fmla="*/ 295836 h 6367505"/>
              <a:gd name="connsiteX618" fmla="*/ 1964523 w 7613003"/>
              <a:gd name="connsiteY618" fmla="*/ 324010 h 6367505"/>
              <a:gd name="connsiteX619" fmla="*/ 1922259 w 7613003"/>
              <a:gd name="connsiteY619" fmla="*/ 338098 h 6367505"/>
              <a:gd name="connsiteX620" fmla="*/ 1851817 w 7613003"/>
              <a:gd name="connsiteY620" fmla="*/ 366272 h 6367505"/>
              <a:gd name="connsiteX621" fmla="*/ 1795464 w 7613003"/>
              <a:gd name="connsiteY621" fmla="*/ 394447 h 6367505"/>
              <a:gd name="connsiteX622" fmla="*/ 1767288 w 7613003"/>
              <a:gd name="connsiteY622" fmla="*/ 408534 h 6367505"/>
              <a:gd name="connsiteX623" fmla="*/ 1725024 w 7613003"/>
              <a:gd name="connsiteY623" fmla="*/ 436710 h 6367505"/>
              <a:gd name="connsiteX624" fmla="*/ 1710935 w 7613003"/>
              <a:gd name="connsiteY624" fmla="*/ 450798 h 6367505"/>
              <a:gd name="connsiteX625" fmla="*/ 1682758 w 7613003"/>
              <a:gd name="connsiteY625" fmla="*/ 464885 h 6367505"/>
              <a:gd name="connsiteX626" fmla="*/ 1668671 w 7613003"/>
              <a:gd name="connsiteY626" fmla="*/ 478972 h 6367505"/>
              <a:gd name="connsiteX627" fmla="*/ 1654582 w 7613003"/>
              <a:gd name="connsiteY627" fmla="*/ 478972 h 6367505"/>
              <a:gd name="connsiteX628" fmla="*/ 1598229 w 7613003"/>
              <a:gd name="connsiteY628" fmla="*/ 535321 h 6367505"/>
              <a:gd name="connsiteX629" fmla="*/ 1485523 w 7613003"/>
              <a:gd name="connsiteY629" fmla="*/ 605759 h 6367505"/>
              <a:gd name="connsiteX630" fmla="*/ 1527788 w 7613003"/>
              <a:gd name="connsiteY630" fmla="*/ 591672 h 6367505"/>
              <a:gd name="connsiteX631" fmla="*/ 1598229 w 7613003"/>
              <a:gd name="connsiteY631" fmla="*/ 535321 h 6367505"/>
              <a:gd name="connsiteX632" fmla="*/ 1668671 w 7613003"/>
              <a:gd name="connsiteY632" fmla="*/ 507147 h 6367505"/>
              <a:gd name="connsiteX633" fmla="*/ 1795464 w 7613003"/>
              <a:gd name="connsiteY633" fmla="*/ 422623 h 6367505"/>
              <a:gd name="connsiteX634" fmla="*/ 1837730 w 7613003"/>
              <a:gd name="connsiteY634" fmla="*/ 394447 h 6367505"/>
              <a:gd name="connsiteX635" fmla="*/ 1922259 w 7613003"/>
              <a:gd name="connsiteY635" fmla="*/ 352185 h 6367505"/>
              <a:gd name="connsiteX636" fmla="*/ 1936347 w 7613003"/>
              <a:gd name="connsiteY636" fmla="*/ 352185 h 6367505"/>
              <a:gd name="connsiteX637" fmla="*/ 1950434 w 7613003"/>
              <a:gd name="connsiteY637" fmla="*/ 338098 h 6367505"/>
              <a:gd name="connsiteX638" fmla="*/ 1978611 w 7613003"/>
              <a:gd name="connsiteY638" fmla="*/ 324010 h 6367505"/>
              <a:gd name="connsiteX639" fmla="*/ 1992700 w 7613003"/>
              <a:gd name="connsiteY639" fmla="*/ 309923 h 6367505"/>
              <a:gd name="connsiteX640" fmla="*/ 1992700 w 7613003"/>
              <a:gd name="connsiteY640" fmla="*/ 324010 h 6367505"/>
              <a:gd name="connsiteX641" fmla="*/ 1978611 w 7613003"/>
              <a:gd name="connsiteY641" fmla="*/ 338098 h 6367505"/>
              <a:gd name="connsiteX642" fmla="*/ 1950434 w 7613003"/>
              <a:gd name="connsiteY642" fmla="*/ 366272 h 6367505"/>
              <a:gd name="connsiteX643" fmla="*/ 1908171 w 7613003"/>
              <a:gd name="connsiteY643" fmla="*/ 380360 h 6367505"/>
              <a:gd name="connsiteX644" fmla="*/ 1908170 w 7613003"/>
              <a:gd name="connsiteY644" fmla="*/ 380360 h 6367505"/>
              <a:gd name="connsiteX645" fmla="*/ 1908169 w 7613003"/>
              <a:gd name="connsiteY645" fmla="*/ 380360 h 6367505"/>
              <a:gd name="connsiteX646" fmla="*/ 1865906 w 7613003"/>
              <a:gd name="connsiteY646" fmla="*/ 394447 h 6367505"/>
              <a:gd name="connsiteX647" fmla="*/ 1809553 w 7613003"/>
              <a:gd name="connsiteY647" fmla="*/ 422623 h 6367505"/>
              <a:gd name="connsiteX648" fmla="*/ 1809553 w 7613003"/>
              <a:gd name="connsiteY648" fmla="*/ 436710 h 6367505"/>
              <a:gd name="connsiteX649" fmla="*/ 1865906 w 7613003"/>
              <a:gd name="connsiteY649" fmla="*/ 408534 h 6367505"/>
              <a:gd name="connsiteX650" fmla="*/ 1887038 w 7613003"/>
              <a:gd name="connsiteY650" fmla="*/ 394447 h 6367505"/>
              <a:gd name="connsiteX651" fmla="*/ 1908169 w 7613003"/>
              <a:gd name="connsiteY651" fmla="*/ 380360 h 6367505"/>
              <a:gd name="connsiteX652" fmla="*/ 1908171 w 7613003"/>
              <a:gd name="connsiteY652" fmla="*/ 380360 h 6367505"/>
              <a:gd name="connsiteX653" fmla="*/ 1915214 w 7613003"/>
              <a:gd name="connsiteY653" fmla="*/ 380360 h 6367505"/>
              <a:gd name="connsiteX654" fmla="*/ 1922259 w 7613003"/>
              <a:gd name="connsiteY654" fmla="*/ 380360 h 6367505"/>
              <a:gd name="connsiteX655" fmla="*/ 1964523 w 7613003"/>
              <a:gd name="connsiteY655" fmla="*/ 366272 h 6367505"/>
              <a:gd name="connsiteX656" fmla="*/ 1865906 w 7613003"/>
              <a:gd name="connsiteY656" fmla="*/ 422623 h 6367505"/>
              <a:gd name="connsiteX657" fmla="*/ 1795464 w 7613003"/>
              <a:gd name="connsiteY657" fmla="*/ 464885 h 6367505"/>
              <a:gd name="connsiteX658" fmla="*/ 1696847 w 7613003"/>
              <a:gd name="connsiteY658" fmla="*/ 535321 h 6367505"/>
              <a:gd name="connsiteX659" fmla="*/ 1626406 w 7613003"/>
              <a:gd name="connsiteY659" fmla="*/ 577583 h 6367505"/>
              <a:gd name="connsiteX660" fmla="*/ 1612318 w 7613003"/>
              <a:gd name="connsiteY660" fmla="*/ 591672 h 6367505"/>
              <a:gd name="connsiteX661" fmla="*/ 1598229 w 7613003"/>
              <a:gd name="connsiteY661" fmla="*/ 591672 h 6367505"/>
              <a:gd name="connsiteX662" fmla="*/ 1555965 w 7613003"/>
              <a:gd name="connsiteY662" fmla="*/ 633934 h 6367505"/>
              <a:gd name="connsiteX663" fmla="*/ 1527788 w 7613003"/>
              <a:gd name="connsiteY663" fmla="*/ 648021 h 6367505"/>
              <a:gd name="connsiteX664" fmla="*/ 1499612 w 7613003"/>
              <a:gd name="connsiteY664" fmla="*/ 676196 h 6367505"/>
              <a:gd name="connsiteX665" fmla="*/ 1457348 w 7613003"/>
              <a:gd name="connsiteY665" fmla="*/ 704370 h 6367505"/>
              <a:gd name="connsiteX666" fmla="*/ 1457348 w 7613003"/>
              <a:gd name="connsiteY666" fmla="*/ 732545 h 6367505"/>
              <a:gd name="connsiteX667" fmla="*/ 1437976 w 7613003"/>
              <a:gd name="connsiteY667" fmla="*/ 741350 h 6367505"/>
              <a:gd name="connsiteX668" fmla="*/ 1432447 w 7613003"/>
              <a:gd name="connsiteY668" fmla="*/ 753512 h 6367505"/>
              <a:gd name="connsiteX669" fmla="*/ 1423888 w 7613003"/>
              <a:gd name="connsiteY669" fmla="*/ 758959 h 6367505"/>
              <a:gd name="connsiteX670" fmla="*/ 1415083 w 7613003"/>
              <a:gd name="connsiteY670" fmla="*/ 760719 h 6367505"/>
              <a:gd name="connsiteX671" fmla="*/ 1429170 w 7613003"/>
              <a:gd name="connsiteY671" fmla="*/ 760719 h 6367505"/>
              <a:gd name="connsiteX672" fmla="*/ 1432447 w 7613003"/>
              <a:gd name="connsiteY672" fmla="*/ 753512 h 6367505"/>
              <a:gd name="connsiteX673" fmla="*/ 1443259 w 7613003"/>
              <a:gd name="connsiteY673" fmla="*/ 746632 h 6367505"/>
              <a:gd name="connsiteX674" fmla="*/ 1471435 w 7613003"/>
              <a:gd name="connsiteY674" fmla="*/ 732545 h 6367505"/>
              <a:gd name="connsiteX675" fmla="*/ 1485523 w 7613003"/>
              <a:gd name="connsiteY675" fmla="*/ 718457 h 6367505"/>
              <a:gd name="connsiteX676" fmla="*/ 1541876 w 7613003"/>
              <a:gd name="connsiteY676" fmla="*/ 676196 h 6367505"/>
              <a:gd name="connsiteX677" fmla="*/ 1570053 w 7613003"/>
              <a:gd name="connsiteY677" fmla="*/ 648021 h 6367505"/>
              <a:gd name="connsiteX678" fmla="*/ 1598229 w 7613003"/>
              <a:gd name="connsiteY678" fmla="*/ 633934 h 6367505"/>
              <a:gd name="connsiteX679" fmla="*/ 1570053 w 7613003"/>
              <a:gd name="connsiteY679" fmla="*/ 662108 h 6367505"/>
              <a:gd name="connsiteX680" fmla="*/ 1541876 w 7613003"/>
              <a:gd name="connsiteY680" fmla="*/ 690283 h 6367505"/>
              <a:gd name="connsiteX681" fmla="*/ 1555965 w 7613003"/>
              <a:gd name="connsiteY681" fmla="*/ 676196 h 6367505"/>
              <a:gd name="connsiteX682" fmla="*/ 1570053 w 7613003"/>
              <a:gd name="connsiteY682" fmla="*/ 676196 h 6367505"/>
              <a:gd name="connsiteX683" fmla="*/ 1598229 w 7613003"/>
              <a:gd name="connsiteY683" fmla="*/ 648021 h 6367505"/>
              <a:gd name="connsiteX684" fmla="*/ 1654582 w 7613003"/>
              <a:gd name="connsiteY684" fmla="*/ 619846 h 6367505"/>
              <a:gd name="connsiteX685" fmla="*/ 1668671 w 7613003"/>
              <a:gd name="connsiteY685" fmla="*/ 605759 h 6367505"/>
              <a:gd name="connsiteX686" fmla="*/ 1696847 w 7613003"/>
              <a:gd name="connsiteY686" fmla="*/ 577583 h 6367505"/>
              <a:gd name="connsiteX687" fmla="*/ 1753200 w 7613003"/>
              <a:gd name="connsiteY687" fmla="*/ 549409 h 6367505"/>
              <a:gd name="connsiteX688" fmla="*/ 1781377 w 7613003"/>
              <a:gd name="connsiteY688" fmla="*/ 535321 h 6367505"/>
              <a:gd name="connsiteX689" fmla="*/ 1837730 w 7613003"/>
              <a:gd name="connsiteY689" fmla="*/ 521234 h 6367505"/>
              <a:gd name="connsiteX690" fmla="*/ 1879994 w 7613003"/>
              <a:gd name="connsiteY690" fmla="*/ 507147 h 6367505"/>
              <a:gd name="connsiteX691" fmla="*/ 1908170 w 7613003"/>
              <a:gd name="connsiteY691" fmla="*/ 493059 h 6367505"/>
              <a:gd name="connsiteX692" fmla="*/ 1936347 w 7613003"/>
              <a:gd name="connsiteY692" fmla="*/ 464885 h 6367505"/>
              <a:gd name="connsiteX693" fmla="*/ 1964523 w 7613003"/>
              <a:gd name="connsiteY693" fmla="*/ 450798 h 6367505"/>
              <a:gd name="connsiteX694" fmla="*/ 2006787 w 7613003"/>
              <a:gd name="connsiteY694" fmla="*/ 436710 h 6367505"/>
              <a:gd name="connsiteX695" fmla="*/ 2063140 w 7613003"/>
              <a:gd name="connsiteY695" fmla="*/ 408534 h 6367505"/>
              <a:gd name="connsiteX696" fmla="*/ 2105405 w 7613003"/>
              <a:gd name="connsiteY696" fmla="*/ 380360 h 6367505"/>
              <a:gd name="connsiteX697" fmla="*/ 2147670 w 7613003"/>
              <a:gd name="connsiteY697" fmla="*/ 366272 h 6367505"/>
              <a:gd name="connsiteX698" fmla="*/ 2204023 w 7613003"/>
              <a:gd name="connsiteY698" fmla="*/ 338098 h 6367505"/>
              <a:gd name="connsiteX699" fmla="*/ 2204023 w 7613003"/>
              <a:gd name="connsiteY699" fmla="*/ 352185 h 6367505"/>
              <a:gd name="connsiteX700" fmla="*/ 2189935 w 7613003"/>
              <a:gd name="connsiteY700" fmla="*/ 352185 h 6367505"/>
              <a:gd name="connsiteX701" fmla="*/ 2189935 w 7613003"/>
              <a:gd name="connsiteY701" fmla="*/ 366272 h 6367505"/>
              <a:gd name="connsiteX702" fmla="*/ 2161758 w 7613003"/>
              <a:gd name="connsiteY702" fmla="*/ 380360 h 6367505"/>
              <a:gd name="connsiteX703" fmla="*/ 2175846 w 7613003"/>
              <a:gd name="connsiteY703" fmla="*/ 380360 h 6367505"/>
              <a:gd name="connsiteX704" fmla="*/ 2288552 w 7613003"/>
              <a:gd name="connsiteY704" fmla="*/ 338098 h 6367505"/>
              <a:gd name="connsiteX705" fmla="*/ 2358994 w 7613003"/>
              <a:gd name="connsiteY705" fmla="*/ 324010 h 6367505"/>
              <a:gd name="connsiteX706" fmla="*/ 2415347 w 7613003"/>
              <a:gd name="connsiteY706" fmla="*/ 295836 h 6367505"/>
              <a:gd name="connsiteX707" fmla="*/ 2528052 w 7613003"/>
              <a:gd name="connsiteY707" fmla="*/ 253574 h 6367505"/>
              <a:gd name="connsiteX708" fmla="*/ 2584406 w 7613003"/>
              <a:gd name="connsiteY708" fmla="*/ 239487 h 6367505"/>
              <a:gd name="connsiteX709" fmla="*/ 2612581 w 7613003"/>
              <a:gd name="connsiteY709" fmla="*/ 239487 h 6367505"/>
              <a:gd name="connsiteX710" fmla="*/ 2640758 w 7613003"/>
              <a:gd name="connsiteY710" fmla="*/ 253574 h 6367505"/>
              <a:gd name="connsiteX711" fmla="*/ 2654846 w 7613003"/>
              <a:gd name="connsiteY711" fmla="*/ 253574 h 6367505"/>
              <a:gd name="connsiteX712" fmla="*/ 2654846 w 7613003"/>
              <a:gd name="connsiteY712" fmla="*/ 281749 h 6367505"/>
              <a:gd name="connsiteX713" fmla="*/ 2598493 w 7613003"/>
              <a:gd name="connsiteY713" fmla="*/ 295836 h 6367505"/>
              <a:gd name="connsiteX714" fmla="*/ 2528052 w 7613003"/>
              <a:gd name="connsiteY714" fmla="*/ 324010 h 6367505"/>
              <a:gd name="connsiteX715" fmla="*/ 2499875 w 7613003"/>
              <a:gd name="connsiteY715" fmla="*/ 338098 h 6367505"/>
              <a:gd name="connsiteX716" fmla="*/ 2471699 w 7613003"/>
              <a:gd name="connsiteY716" fmla="*/ 338098 h 6367505"/>
              <a:gd name="connsiteX717" fmla="*/ 2443523 w 7613003"/>
              <a:gd name="connsiteY717" fmla="*/ 352185 h 6367505"/>
              <a:gd name="connsiteX718" fmla="*/ 2485787 w 7613003"/>
              <a:gd name="connsiteY718" fmla="*/ 352185 h 6367505"/>
              <a:gd name="connsiteX719" fmla="*/ 2387169 w 7613003"/>
              <a:gd name="connsiteY719" fmla="*/ 380360 h 6367505"/>
              <a:gd name="connsiteX720" fmla="*/ 2373081 w 7613003"/>
              <a:gd name="connsiteY720" fmla="*/ 394447 h 6367505"/>
              <a:gd name="connsiteX721" fmla="*/ 2358994 w 7613003"/>
              <a:gd name="connsiteY721" fmla="*/ 394447 h 6367505"/>
              <a:gd name="connsiteX722" fmla="*/ 2344905 w 7613003"/>
              <a:gd name="connsiteY722" fmla="*/ 394447 h 6367505"/>
              <a:gd name="connsiteX723" fmla="*/ 2330816 w 7613003"/>
              <a:gd name="connsiteY723" fmla="*/ 408534 h 6367505"/>
              <a:gd name="connsiteX724" fmla="*/ 2288552 w 7613003"/>
              <a:gd name="connsiteY724" fmla="*/ 422623 h 6367505"/>
              <a:gd name="connsiteX725" fmla="*/ 2344905 w 7613003"/>
              <a:gd name="connsiteY725" fmla="*/ 408534 h 6367505"/>
              <a:gd name="connsiteX726" fmla="*/ 2415347 w 7613003"/>
              <a:gd name="connsiteY726" fmla="*/ 394447 h 6367505"/>
              <a:gd name="connsiteX727" fmla="*/ 2471699 w 7613003"/>
              <a:gd name="connsiteY727" fmla="*/ 380360 h 6367505"/>
              <a:gd name="connsiteX728" fmla="*/ 2485787 w 7613003"/>
              <a:gd name="connsiteY728" fmla="*/ 380360 h 6367505"/>
              <a:gd name="connsiteX729" fmla="*/ 2542140 w 7613003"/>
              <a:gd name="connsiteY729" fmla="*/ 352185 h 6367505"/>
              <a:gd name="connsiteX730" fmla="*/ 2598493 w 7613003"/>
              <a:gd name="connsiteY730" fmla="*/ 338098 h 6367505"/>
              <a:gd name="connsiteX731" fmla="*/ 2654846 w 7613003"/>
              <a:gd name="connsiteY731" fmla="*/ 324010 h 6367505"/>
              <a:gd name="connsiteX732" fmla="*/ 2668934 w 7613003"/>
              <a:gd name="connsiteY732" fmla="*/ 324010 h 6367505"/>
              <a:gd name="connsiteX733" fmla="*/ 2711199 w 7613003"/>
              <a:gd name="connsiteY733" fmla="*/ 309923 h 6367505"/>
              <a:gd name="connsiteX734" fmla="*/ 2725287 w 7613003"/>
              <a:gd name="connsiteY734" fmla="*/ 309923 h 6367505"/>
              <a:gd name="connsiteX735" fmla="*/ 2739374 w 7613003"/>
              <a:gd name="connsiteY735" fmla="*/ 309923 h 6367505"/>
              <a:gd name="connsiteX736" fmla="*/ 2753463 w 7613003"/>
              <a:gd name="connsiteY736" fmla="*/ 295836 h 6367505"/>
              <a:gd name="connsiteX737" fmla="*/ 2866169 w 7613003"/>
              <a:gd name="connsiteY737" fmla="*/ 281749 h 6367505"/>
              <a:gd name="connsiteX738" fmla="*/ 2922522 w 7613003"/>
              <a:gd name="connsiteY738" fmla="*/ 281749 h 6367505"/>
              <a:gd name="connsiteX739" fmla="*/ 2922522 w 7613003"/>
              <a:gd name="connsiteY739" fmla="*/ 267661 h 6367505"/>
              <a:gd name="connsiteX740" fmla="*/ 2936611 w 7613003"/>
              <a:gd name="connsiteY740" fmla="*/ 267661 h 6367505"/>
              <a:gd name="connsiteX741" fmla="*/ 2964786 w 7613003"/>
              <a:gd name="connsiteY741" fmla="*/ 267661 h 6367505"/>
              <a:gd name="connsiteX742" fmla="*/ 3007052 w 7613003"/>
              <a:gd name="connsiteY742" fmla="*/ 267661 h 6367505"/>
              <a:gd name="connsiteX743" fmla="*/ 3035228 w 7613003"/>
              <a:gd name="connsiteY743" fmla="*/ 253574 h 6367505"/>
              <a:gd name="connsiteX744" fmla="*/ 3147934 w 7613003"/>
              <a:gd name="connsiteY744" fmla="*/ 253574 h 6367505"/>
              <a:gd name="connsiteX745" fmla="*/ 3147934 w 7613003"/>
              <a:gd name="connsiteY745" fmla="*/ 239487 h 6367505"/>
              <a:gd name="connsiteX746" fmla="*/ 3190198 w 7613003"/>
              <a:gd name="connsiteY746" fmla="*/ 239487 h 6367505"/>
              <a:gd name="connsiteX747" fmla="*/ 3204287 w 7613003"/>
              <a:gd name="connsiteY747" fmla="*/ 239487 h 6367505"/>
              <a:gd name="connsiteX748" fmla="*/ 3176110 w 7613003"/>
              <a:gd name="connsiteY748" fmla="*/ 253574 h 6367505"/>
              <a:gd name="connsiteX749" fmla="*/ 3188437 w 7613003"/>
              <a:gd name="connsiteY749" fmla="*/ 253574 h 6367505"/>
              <a:gd name="connsiteX750" fmla="*/ 3204287 w 7613003"/>
              <a:gd name="connsiteY750" fmla="*/ 253574 h 6367505"/>
              <a:gd name="connsiteX751" fmla="*/ 3218375 w 7613003"/>
              <a:gd name="connsiteY751" fmla="*/ 253574 h 6367505"/>
              <a:gd name="connsiteX752" fmla="*/ 3232462 w 7613003"/>
              <a:gd name="connsiteY752" fmla="*/ 253574 h 6367505"/>
              <a:gd name="connsiteX753" fmla="*/ 3241268 w 7613003"/>
              <a:gd name="connsiteY753" fmla="*/ 253574 h 6367505"/>
              <a:gd name="connsiteX754" fmla="*/ 3260639 w 7613003"/>
              <a:gd name="connsiteY754" fmla="*/ 253574 h 6367505"/>
              <a:gd name="connsiteX755" fmla="*/ 3331081 w 7613003"/>
              <a:gd name="connsiteY755" fmla="*/ 239487 h 6367505"/>
              <a:gd name="connsiteX756" fmla="*/ 3338125 w 7613003"/>
              <a:gd name="connsiteY756" fmla="*/ 239487 h 6367505"/>
              <a:gd name="connsiteX757" fmla="*/ 3339445 w 7613003"/>
              <a:gd name="connsiteY757" fmla="*/ 239487 h 6367505"/>
              <a:gd name="connsiteX758" fmla="*/ 3341646 w 7613003"/>
              <a:gd name="connsiteY758" fmla="*/ 239487 h 6367505"/>
              <a:gd name="connsiteX759" fmla="*/ 3345168 w 7613003"/>
              <a:gd name="connsiteY759" fmla="*/ 239487 h 6367505"/>
              <a:gd name="connsiteX760" fmla="*/ 3359257 w 7613003"/>
              <a:gd name="connsiteY760" fmla="*/ 239487 h 6367505"/>
              <a:gd name="connsiteX761" fmla="*/ 3373345 w 7613003"/>
              <a:gd name="connsiteY761" fmla="*/ 239487 h 6367505"/>
              <a:gd name="connsiteX762" fmla="*/ 3373345 w 7613003"/>
              <a:gd name="connsiteY762" fmla="*/ 253574 h 6367505"/>
              <a:gd name="connsiteX763" fmla="*/ 3401521 w 7613003"/>
              <a:gd name="connsiteY763" fmla="*/ 253574 h 6367505"/>
              <a:gd name="connsiteX764" fmla="*/ 3406805 w 7613003"/>
              <a:gd name="connsiteY764" fmla="*/ 253574 h 6367505"/>
              <a:gd name="connsiteX765" fmla="*/ 3420893 w 7613003"/>
              <a:gd name="connsiteY765" fmla="*/ 253574 h 6367505"/>
              <a:gd name="connsiteX766" fmla="*/ 3429699 w 7613003"/>
              <a:gd name="connsiteY766" fmla="*/ 253574 h 6367505"/>
              <a:gd name="connsiteX767" fmla="*/ 3431239 w 7613003"/>
              <a:gd name="connsiteY767" fmla="*/ 253574 h 6367505"/>
              <a:gd name="connsiteX768" fmla="*/ 3457874 w 7613003"/>
              <a:gd name="connsiteY768" fmla="*/ 253574 h 6367505"/>
              <a:gd name="connsiteX769" fmla="*/ 3486050 w 7613003"/>
              <a:gd name="connsiteY769" fmla="*/ 253574 h 6367505"/>
              <a:gd name="connsiteX770" fmla="*/ 3514227 w 7613003"/>
              <a:gd name="connsiteY770" fmla="*/ 253574 h 6367505"/>
              <a:gd name="connsiteX771" fmla="*/ 3542404 w 7613003"/>
              <a:gd name="connsiteY771" fmla="*/ 253574 h 6367505"/>
              <a:gd name="connsiteX772" fmla="*/ 3556492 w 7613003"/>
              <a:gd name="connsiteY772" fmla="*/ 239487 h 6367505"/>
              <a:gd name="connsiteX773" fmla="*/ 3584669 w 7613003"/>
              <a:gd name="connsiteY773" fmla="*/ 253574 h 6367505"/>
              <a:gd name="connsiteX774" fmla="*/ 3598756 w 7613003"/>
              <a:gd name="connsiteY774" fmla="*/ 253574 h 6367505"/>
              <a:gd name="connsiteX775" fmla="*/ 3600517 w 7613003"/>
              <a:gd name="connsiteY775" fmla="*/ 253574 h 6367505"/>
              <a:gd name="connsiteX776" fmla="*/ 3611950 w 7613003"/>
              <a:gd name="connsiteY776" fmla="*/ 253574 h 6367505"/>
              <a:gd name="connsiteX777" fmla="*/ 3654214 w 7613003"/>
              <a:gd name="connsiteY777" fmla="*/ 225398 h 6367505"/>
              <a:gd name="connsiteX778" fmla="*/ 3710567 w 7613003"/>
              <a:gd name="connsiteY778" fmla="*/ 197224 h 6367505"/>
              <a:gd name="connsiteX779" fmla="*/ 3851449 w 7613003"/>
              <a:gd name="connsiteY779" fmla="*/ 140874 h 6367505"/>
              <a:gd name="connsiteX780" fmla="*/ 3935979 w 7613003"/>
              <a:gd name="connsiteY780" fmla="*/ 112700 h 6367505"/>
              <a:gd name="connsiteX781" fmla="*/ 4034596 w 7613003"/>
              <a:gd name="connsiteY781" fmla="*/ 84525 h 6367505"/>
              <a:gd name="connsiteX782" fmla="*/ 4048684 w 7613003"/>
              <a:gd name="connsiteY782" fmla="*/ 70438 h 6367505"/>
              <a:gd name="connsiteX783" fmla="*/ 4076861 w 7613003"/>
              <a:gd name="connsiteY783" fmla="*/ 70438 h 6367505"/>
              <a:gd name="connsiteX784" fmla="*/ 4288184 w 7613003"/>
              <a:gd name="connsiteY784" fmla="*/ 14087 h 6367505"/>
              <a:gd name="connsiteX785" fmla="*/ 4330449 w 7613003"/>
              <a:gd name="connsiteY785" fmla="*/ 14087 h 6367505"/>
              <a:gd name="connsiteX786" fmla="*/ 4400890 w 7613003"/>
              <a:gd name="connsiteY786" fmla="*/ 0 h 6367505"/>
              <a:gd name="connsiteX787" fmla="*/ 4400890 w 7613003"/>
              <a:gd name="connsiteY787" fmla="*/ 14087 h 6367505"/>
              <a:gd name="connsiteX788" fmla="*/ 4386801 w 7613003"/>
              <a:gd name="connsiteY788" fmla="*/ 14087 h 6367505"/>
              <a:gd name="connsiteX789" fmla="*/ 4358624 w 7613003"/>
              <a:gd name="connsiteY789" fmla="*/ 28175 h 6367505"/>
              <a:gd name="connsiteX790" fmla="*/ 4344537 w 7613003"/>
              <a:gd name="connsiteY790" fmla="*/ 28175 h 6367505"/>
              <a:gd name="connsiteX791" fmla="*/ 4231831 w 7613003"/>
              <a:gd name="connsiteY791" fmla="*/ 70438 h 6367505"/>
              <a:gd name="connsiteX792" fmla="*/ 4161390 w 7613003"/>
              <a:gd name="connsiteY792" fmla="*/ 84525 h 6367505"/>
              <a:gd name="connsiteX793" fmla="*/ 4133214 w 7613003"/>
              <a:gd name="connsiteY793" fmla="*/ 98612 h 6367505"/>
              <a:gd name="connsiteX794" fmla="*/ 4006419 w 7613003"/>
              <a:gd name="connsiteY794" fmla="*/ 126787 h 6367505"/>
              <a:gd name="connsiteX795" fmla="*/ 3978244 w 7613003"/>
              <a:gd name="connsiteY795" fmla="*/ 140874 h 6367505"/>
              <a:gd name="connsiteX796" fmla="*/ 3964155 w 7613003"/>
              <a:gd name="connsiteY796" fmla="*/ 140874 h 6367505"/>
              <a:gd name="connsiteX797" fmla="*/ 3921891 w 7613003"/>
              <a:gd name="connsiteY797" fmla="*/ 169049 h 6367505"/>
              <a:gd name="connsiteX798" fmla="*/ 3893713 w 7613003"/>
              <a:gd name="connsiteY798" fmla="*/ 183136 h 6367505"/>
              <a:gd name="connsiteX799" fmla="*/ 3879626 w 7613003"/>
              <a:gd name="connsiteY799" fmla="*/ 183136 h 6367505"/>
              <a:gd name="connsiteX800" fmla="*/ 3795096 w 7613003"/>
              <a:gd name="connsiteY800" fmla="*/ 225398 h 6367505"/>
              <a:gd name="connsiteX801" fmla="*/ 3710567 w 7613003"/>
              <a:gd name="connsiteY801" fmla="*/ 253574 h 6367505"/>
              <a:gd name="connsiteX802" fmla="*/ 3696479 w 7613003"/>
              <a:gd name="connsiteY802" fmla="*/ 253574 h 6367505"/>
              <a:gd name="connsiteX803" fmla="*/ 3691453 w 7613003"/>
              <a:gd name="connsiteY803" fmla="*/ 256087 h 6367505"/>
              <a:gd name="connsiteX804" fmla="*/ 3706180 w 7613003"/>
              <a:gd name="connsiteY804" fmla="*/ 260618 h 6367505"/>
              <a:gd name="connsiteX805" fmla="*/ 3739639 w 7613003"/>
              <a:gd name="connsiteY805" fmla="*/ 267661 h 6367505"/>
              <a:gd name="connsiteX806" fmla="*/ 3743161 w 7613003"/>
              <a:gd name="connsiteY806" fmla="*/ 267661 h 6367505"/>
              <a:gd name="connsiteX807" fmla="*/ 3767815 w 7613003"/>
              <a:gd name="connsiteY807" fmla="*/ 267661 h 6367505"/>
              <a:gd name="connsiteX808" fmla="*/ 3908697 w 7613003"/>
              <a:gd name="connsiteY808" fmla="*/ 281749 h 6367505"/>
              <a:gd name="connsiteX809" fmla="*/ 3965050 w 7613003"/>
              <a:gd name="connsiteY809" fmla="*/ 295836 h 6367505"/>
              <a:gd name="connsiteX810" fmla="*/ 4004780 w 7613003"/>
              <a:gd name="connsiteY810" fmla="*/ 305768 h 6367505"/>
              <a:gd name="connsiteX811" fmla="*/ 4006420 w 7613003"/>
              <a:gd name="connsiteY811" fmla="*/ 304641 h 6367505"/>
              <a:gd name="connsiteX812" fmla="*/ 4034596 w 7613003"/>
              <a:gd name="connsiteY812" fmla="*/ 295836 h 6367505"/>
              <a:gd name="connsiteX813" fmla="*/ 4147302 w 7613003"/>
              <a:gd name="connsiteY813" fmla="*/ 253574 h 6367505"/>
              <a:gd name="connsiteX814" fmla="*/ 4203655 w 7613003"/>
              <a:gd name="connsiteY814" fmla="*/ 239487 h 6367505"/>
              <a:gd name="connsiteX815" fmla="*/ 4231831 w 7613003"/>
              <a:gd name="connsiteY815" fmla="*/ 239487 h 6367505"/>
              <a:gd name="connsiteX816" fmla="*/ 4260008 w 7613003"/>
              <a:gd name="connsiteY816" fmla="*/ 253574 h 6367505"/>
              <a:gd name="connsiteX817" fmla="*/ 4274096 w 7613003"/>
              <a:gd name="connsiteY817" fmla="*/ 253574 h 6367505"/>
              <a:gd name="connsiteX818" fmla="*/ 4274096 w 7613003"/>
              <a:gd name="connsiteY818" fmla="*/ 281749 h 6367505"/>
              <a:gd name="connsiteX819" fmla="*/ 4217743 w 7613003"/>
              <a:gd name="connsiteY819" fmla="*/ 295836 h 6367505"/>
              <a:gd name="connsiteX820" fmla="*/ 4147302 w 7613003"/>
              <a:gd name="connsiteY820" fmla="*/ 324010 h 6367505"/>
              <a:gd name="connsiteX821" fmla="*/ 4138497 w 7613003"/>
              <a:gd name="connsiteY821" fmla="*/ 325771 h 6367505"/>
              <a:gd name="connsiteX822" fmla="*/ 4134519 w 7613003"/>
              <a:gd name="connsiteY822" fmla="*/ 328303 h 6367505"/>
              <a:gd name="connsiteX823" fmla="*/ 4176373 w 7613003"/>
              <a:gd name="connsiteY823" fmla="*/ 338098 h 6367505"/>
              <a:gd name="connsiteX824" fmla="*/ 4202128 w 7613003"/>
              <a:gd name="connsiteY824" fmla="*/ 338098 h 6367505"/>
              <a:gd name="connsiteX825" fmla="*/ 4217743 w 7613003"/>
              <a:gd name="connsiteY825" fmla="*/ 338098 h 6367505"/>
              <a:gd name="connsiteX826" fmla="*/ 4274096 w 7613003"/>
              <a:gd name="connsiteY826" fmla="*/ 324010 h 6367505"/>
              <a:gd name="connsiteX827" fmla="*/ 4288184 w 7613003"/>
              <a:gd name="connsiteY827" fmla="*/ 324010 h 6367505"/>
              <a:gd name="connsiteX828" fmla="*/ 4330449 w 7613003"/>
              <a:gd name="connsiteY828" fmla="*/ 309923 h 6367505"/>
              <a:gd name="connsiteX829" fmla="*/ 4344537 w 7613003"/>
              <a:gd name="connsiteY829" fmla="*/ 309923 h 6367505"/>
              <a:gd name="connsiteX830" fmla="*/ 4358624 w 7613003"/>
              <a:gd name="connsiteY830" fmla="*/ 309923 h 6367505"/>
              <a:gd name="connsiteX831" fmla="*/ 4372713 w 7613003"/>
              <a:gd name="connsiteY831" fmla="*/ 295836 h 6367505"/>
              <a:gd name="connsiteX832" fmla="*/ 4485419 w 7613003"/>
              <a:gd name="connsiteY832" fmla="*/ 281749 h 6367505"/>
              <a:gd name="connsiteX833" fmla="*/ 4541772 w 7613003"/>
              <a:gd name="connsiteY833" fmla="*/ 281749 h 6367505"/>
              <a:gd name="connsiteX834" fmla="*/ 4541772 w 7613003"/>
              <a:gd name="connsiteY834" fmla="*/ 267661 h 6367505"/>
              <a:gd name="connsiteX835" fmla="*/ 4555860 w 7613003"/>
              <a:gd name="connsiteY835" fmla="*/ 267661 h 6367505"/>
              <a:gd name="connsiteX836" fmla="*/ 4584036 w 7613003"/>
              <a:gd name="connsiteY836" fmla="*/ 267661 h 6367505"/>
              <a:gd name="connsiteX837" fmla="*/ 4626302 w 7613003"/>
              <a:gd name="connsiteY837" fmla="*/ 267661 h 6367505"/>
              <a:gd name="connsiteX838" fmla="*/ 4654478 w 7613003"/>
              <a:gd name="connsiteY838" fmla="*/ 253574 h 6367505"/>
              <a:gd name="connsiteX839" fmla="*/ 4767184 w 7613003"/>
              <a:gd name="connsiteY839" fmla="*/ 253574 h 6367505"/>
              <a:gd name="connsiteX840" fmla="*/ 4767184 w 7613003"/>
              <a:gd name="connsiteY840" fmla="*/ 239487 h 6367505"/>
              <a:gd name="connsiteX841" fmla="*/ 4809448 w 7613003"/>
              <a:gd name="connsiteY841" fmla="*/ 239487 h 6367505"/>
              <a:gd name="connsiteX842" fmla="*/ 4823537 w 7613003"/>
              <a:gd name="connsiteY842" fmla="*/ 239487 h 6367505"/>
              <a:gd name="connsiteX843" fmla="*/ 4795359 w 7613003"/>
              <a:gd name="connsiteY843" fmla="*/ 253574 h 6367505"/>
              <a:gd name="connsiteX844" fmla="*/ 4807686 w 7613003"/>
              <a:gd name="connsiteY844" fmla="*/ 253574 h 6367505"/>
              <a:gd name="connsiteX845" fmla="*/ 4823537 w 7613003"/>
              <a:gd name="connsiteY845" fmla="*/ 253574 h 6367505"/>
              <a:gd name="connsiteX846" fmla="*/ 4837625 w 7613003"/>
              <a:gd name="connsiteY846" fmla="*/ 253574 h 6367505"/>
              <a:gd name="connsiteX847" fmla="*/ 4851712 w 7613003"/>
              <a:gd name="connsiteY847" fmla="*/ 253574 h 6367505"/>
              <a:gd name="connsiteX848" fmla="*/ 4860518 w 7613003"/>
              <a:gd name="connsiteY848" fmla="*/ 253574 h 6367505"/>
              <a:gd name="connsiteX849" fmla="*/ 4879889 w 7613003"/>
              <a:gd name="connsiteY849" fmla="*/ 253574 h 6367505"/>
              <a:gd name="connsiteX850" fmla="*/ 4950331 w 7613003"/>
              <a:gd name="connsiteY850" fmla="*/ 239487 h 6367505"/>
              <a:gd name="connsiteX851" fmla="*/ 4957375 w 7613003"/>
              <a:gd name="connsiteY851" fmla="*/ 239487 h 6367505"/>
              <a:gd name="connsiteX852" fmla="*/ 4958695 w 7613003"/>
              <a:gd name="connsiteY852" fmla="*/ 239487 h 6367505"/>
              <a:gd name="connsiteX853" fmla="*/ 4960896 w 7613003"/>
              <a:gd name="connsiteY853" fmla="*/ 239487 h 6367505"/>
              <a:gd name="connsiteX854" fmla="*/ 4964418 w 7613003"/>
              <a:gd name="connsiteY854" fmla="*/ 239487 h 6367505"/>
              <a:gd name="connsiteX855" fmla="*/ 4978507 w 7613003"/>
              <a:gd name="connsiteY855" fmla="*/ 239487 h 6367505"/>
              <a:gd name="connsiteX856" fmla="*/ 4992595 w 7613003"/>
              <a:gd name="connsiteY856" fmla="*/ 239487 h 6367505"/>
              <a:gd name="connsiteX857" fmla="*/ 4992595 w 7613003"/>
              <a:gd name="connsiteY857" fmla="*/ 253574 h 6367505"/>
              <a:gd name="connsiteX858" fmla="*/ 5020771 w 7613003"/>
              <a:gd name="connsiteY858" fmla="*/ 253574 h 6367505"/>
              <a:gd name="connsiteX859" fmla="*/ 5026055 w 7613003"/>
              <a:gd name="connsiteY859" fmla="*/ 253574 h 6367505"/>
              <a:gd name="connsiteX860" fmla="*/ 5040143 w 7613003"/>
              <a:gd name="connsiteY860" fmla="*/ 253574 h 6367505"/>
              <a:gd name="connsiteX861" fmla="*/ 5048948 w 7613003"/>
              <a:gd name="connsiteY861" fmla="*/ 253574 h 6367505"/>
              <a:gd name="connsiteX862" fmla="*/ 5050489 w 7613003"/>
              <a:gd name="connsiteY862" fmla="*/ 253574 h 6367505"/>
              <a:gd name="connsiteX863" fmla="*/ 5077124 w 7613003"/>
              <a:gd name="connsiteY863" fmla="*/ 253574 h 6367505"/>
              <a:gd name="connsiteX864" fmla="*/ 5105300 w 7613003"/>
              <a:gd name="connsiteY864" fmla="*/ 253574 h 6367505"/>
              <a:gd name="connsiteX865" fmla="*/ 5133477 w 7613003"/>
              <a:gd name="connsiteY865" fmla="*/ 253574 h 6367505"/>
              <a:gd name="connsiteX866" fmla="*/ 5161654 w 7613003"/>
              <a:gd name="connsiteY866" fmla="*/ 253574 h 6367505"/>
              <a:gd name="connsiteX867" fmla="*/ 5175742 w 7613003"/>
              <a:gd name="connsiteY867" fmla="*/ 239487 h 6367505"/>
              <a:gd name="connsiteX868" fmla="*/ 5203919 w 7613003"/>
              <a:gd name="connsiteY868" fmla="*/ 253574 h 6367505"/>
              <a:gd name="connsiteX869" fmla="*/ 5218006 w 7613003"/>
              <a:gd name="connsiteY869" fmla="*/ 253574 h 6367505"/>
              <a:gd name="connsiteX870" fmla="*/ 5232094 w 7613003"/>
              <a:gd name="connsiteY870" fmla="*/ 253574 h 6367505"/>
              <a:gd name="connsiteX871" fmla="*/ 5246183 w 7613003"/>
              <a:gd name="connsiteY871" fmla="*/ 253574 h 6367505"/>
              <a:gd name="connsiteX872" fmla="*/ 5260270 w 7613003"/>
              <a:gd name="connsiteY872" fmla="*/ 253574 h 6367505"/>
              <a:gd name="connsiteX873" fmla="*/ 5302536 w 7613003"/>
              <a:gd name="connsiteY873" fmla="*/ 267661 h 6367505"/>
              <a:gd name="connsiteX874" fmla="*/ 5316625 w 7613003"/>
              <a:gd name="connsiteY874" fmla="*/ 267661 h 6367505"/>
              <a:gd name="connsiteX875" fmla="*/ 5302536 w 7613003"/>
              <a:gd name="connsiteY875" fmla="*/ 253574 h 6367505"/>
              <a:gd name="connsiteX876" fmla="*/ 5358889 w 7613003"/>
              <a:gd name="connsiteY876" fmla="*/ 267661 h 6367505"/>
              <a:gd name="connsiteX877" fmla="*/ 5362410 w 7613003"/>
              <a:gd name="connsiteY877" fmla="*/ 267661 h 6367505"/>
              <a:gd name="connsiteX878" fmla="*/ 5387065 w 7613003"/>
              <a:gd name="connsiteY878" fmla="*/ 267661 h 6367505"/>
              <a:gd name="connsiteX879" fmla="*/ 5527947 w 7613003"/>
              <a:gd name="connsiteY879" fmla="*/ 281749 h 6367505"/>
              <a:gd name="connsiteX880" fmla="*/ 5640652 w 7613003"/>
              <a:gd name="connsiteY880" fmla="*/ 309923 h 6367505"/>
              <a:gd name="connsiteX881" fmla="*/ 5542035 w 7613003"/>
              <a:gd name="connsiteY881" fmla="*/ 295836 h 6367505"/>
              <a:gd name="connsiteX882" fmla="*/ 5527947 w 7613003"/>
              <a:gd name="connsiteY882" fmla="*/ 295836 h 6367505"/>
              <a:gd name="connsiteX883" fmla="*/ 5499771 w 7613003"/>
              <a:gd name="connsiteY883" fmla="*/ 295836 h 6367505"/>
              <a:gd name="connsiteX884" fmla="*/ 5443418 w 7613003"/>
              <a:gd name="connsiteY884" fmla="*/ 281749 h 6367505"/>
              <a:gd name="connsiteX885" fmla="*/ 5415242 w 7613003"/>
              <a:gd name="connsiteY885" fmla="*/ 281749 h 6367505"/>
              <a:gd name="connsiteX886" fmla="*/ 5316625 w 7613003"/>
              <a:gd name="connsiteY886" fmla="*/ 281749 h 6367505"/>
              <a:gd name="connsiteX887" fmla="*/ 5288447 w 7613003"/>
              <a:gd name="connsiteY887" fmla="*/ 267661 h 6367505"/>
              <a:gd name="connsiteX888" fmla="*/ 5232094 w 7613003"/>
              <a:gd name="connsiteY888" fmla="*/ 267661 h 6367505"/>
              <a:gd name="connsiteX889" fmla="*/ 5230333 w 7613003"/>
              <a:gd name="connsiteY889" fmla="*/ 267661 h 6367505"/>
              <a:gd name="connsiteX890" fmla="*/ 5228573 w 7613003"/>
              <a:gd name="connsiteY890" fmla="*/ 267661 h 6367505"/>
              <a:gd name="connsiteX891" fmla="*/ 5218006 w 7613003"/>
              <a:gd name="connsiteY891" fmla="*/ 267661 h 6367505"/>
              <a:gd name="connsiteX892" fmla="*/ 5189830 w 7613003"/>
              <a:gd name="connsiteY892" fmla="*/ 267661 h 6367505"/>
              <a:gd name="connsiteX893" fmla="*/ 5119389 w 7613003"/>
              <a:gd name="connsiteY893" fmla="*/ 267661 h 6367505"/>
              <a:gd name="connsiteX894" fmla="*/ 5091213 w 7613003"/>
              <a:gd name="connsiteY894" fmla="*/ 267661 h 6367505"/>
              <a:gd name="connsiteX895" fmla="*/ 5077124 w 7613003"/>
              <a:gd name="connsiteY895" fmla="*/ 267661 h 6367505"/>
              <a:gd name="connsiteX896" fmla="*/ 5006683 w 7613003"/>
              <a:gd name="connsiteY896" fmla="*/ 281749 h 6367505"/>
              <a:gd name="connsiteX897" fmla="*/ 4964418 w 7613003"/>
              <a:gd name="connsiteY897" fmla="*/ 267661 h 6367505"/>
              <a:gd name="connsiteX898" fmla="*/ 4950331 w 7613003"/>
              <a:gd name="connsiteY898" fmla="*/ 267661 h 6367505"/>
              <a:gd name="connsiteX899" fmla="*/ 4893978 w 7613003"/>
              <a:gd name="connsiteY899" fmla="*/ 281749 h 6367505"/>
              <a:gd name="connsiteX900" fmla="*/ 4837625 w 7613003"/>
              <a:gd name="connsiteY900" fmla="*/ 281749 h 6367505"/>
              <a:gd name="connsiteX901" fmla="*/ 4823537 w 7613003"/>
              <a:gd name="connsiteY901" fmla="*/ 281749 h 6367505"/>
              <a:gd name="connsiteX902" fmla="*/ 4809448 w 7613003"/>
              <a:gd name="connsiteY902" fmla="*/ 281749 h 6367505"/>
              <a:gd name="connsiteX903" fmla="*/ 4809448 w 7613003"/>
              <a:gd name="connsiteY903" fmla="*/ 295836 h 6367505"/>
              <a:gd name="connsiteX904" fmla="*/ 4781272 w 7613003"/>
              <a:gd name="connsiteY904" fmla="*/ 295836 h 6367505"/>
              <a:gd name="connsiteX905" fmla="*/ 4710831 w 7613003"/>
              <a:gd name="connsiteY905" fmla="*/ 295836 h 6367505"/>
              <a:gd name="connsiteX906" fmla="*/ 4626302 w 7613003"/>
              <a:gd name="connsiteY906" fmla="*/ 295836 h 6367505"/>
              <a:gd name="connsiteX907" fmla="*/ 4626302 w 7613003"/>
              <a:gd name="connsiteY907" fmla="*/ 309923 h 6367505"/>
              <a:gd name="connsiteX908" fmla="*/ 4640389 w 7613003"/>
              <a:gd name="connsiteY908" fmla="*/ 309923 h 6367505"/>
              <a:gd name="connsiteX909" fmla="*/ 4696742 w 7613003"/>
              <a:gd name="connsiteY909" fmla="*/ 309923 h 6367505"/>
              <a:gd name="connsiteX910" fmla="*/ 4753095 w 7613003"/>
              <a:gd name="connsiteY910" fmla="*/ 309923 h 6367505"/>
              <a:gd name="connsiteX911" fmla="*/ 4767184 w 7613003"/>
              <a:gd name="connsiteY911" fmla="*/ 309923 h 6367505"/>
              <a:gd name="connsiteX912" fmla="*/ 4851712 w 7613003"/>
              <a:gd name="connsiteY912" fmla="*/ 295836 h 6367505"/>
              <a:gd name="connsiteX913" fmla="*/ 4893978 w 7613003"/>
              <a:gd name="connsiteY913" fmla="*/ 295836 h 6367505"/>
              <a:gd name="connsiteX914" fmla="*/ 4922154 w 7613003"/>
              <a:gd name="connsiteY914" fmla="*/ 295836 h 6367505"/>
              <a:gd name="connsiteX915" fmla="*/ 4964418 w 7613003"/>
              <a:gd name="connsiteY915" fmla="*/ 295836 h 6367505"/>
              <a:gd name="connsiteX916" fmla="*/ 5034860 w 7613003"/>
              <a:gd name="connsiteY916" fmla="*/ 295836 h 6367505"/>
              <a:gd name="connsiteX917" fmla="*/ 5147566 w 7613003"/>
              <a:gd name="connsiteY917" fmla="*/ 295836 h 6367505"/>
              <a:gd name="connsiteX918" fmla="*/ 5189830 w 7613003"/>
              <a:gd name="connsiteY918" fmla="*/ 309923 h 6367505"/>
              <a:gd name="connsiteX919" fmla="*/ 5175742 w 7613003"/>
              <a:gd name="connsiteY919" fmla="*/ 309923 h 6367505"/>
              <a:gd name="connsiteX920" fmla="*/ 5147566 w 7613003"/>
              <a:gd name="connsiteY920" fmla="*/ 309923 h 6367505"/>
              <a:gd name="connsiteX921" fmla="*/ 5077124 w 7613003"/>
              <a:gd name="connsiteY921" fmla="*/ 309923 h 6367505"/>
              <a:gd name="connsiteX922" fmla="*/ 4992595 w 7613003"/>
              <a:gd name="connsiteY922" fmla="*/ 309923 h 6367505"/>
              <a:gd name="connsiteX923" fmla="*/ 4936242 w 7613003"/>
              <a:gd name="connsiteY923" fmla="*/ 309923 h 6367505"/>
              <a:gd name="connsiteX924" fmla="*/ 4908065 w 7613003"/>
              <a:gd name="connsiteY924" fmla="*/ 324010 h 6367505"/>
              <a:gd name="connsiteX925" fmla="*/ 4879889 w 7613003"/>
              <a:gd name="connsiteY925" fmla="*/ 324010 h 6367505"/>
              <a:gd name="connsiteX926" fmla="*/ 4865801 w 7613003"/>
              <a:gd name="connsiteY926" fmla="*/ 324010 h 6367505"/>
              <a:gd name="connsiteX927" fmla="*/ 4809448 w 7613003"/>
              <a:gd name="connsiteY927" fmla="*/ 324010 h 6367505"/>
              <a:gd name="connsiteX928" fmla="*/ 4795359 w 7613003"/>
              <a:gd name="connsiteY928" fmla="*/ 324010 h 6367505"/>
              <a:gd name="connsiteX929" fmla="*/ 4781272 w 7613003"/>
              <a:gd name="connsiteY929" fmla="*/ 324010 h 6367505"/>
              <a:gd name="connsiteX930" fmla="*/ 4724919 w 7613003"/>
              <a:gd name="connsiteY930" fmla="*/ 338098 h 6367505"/>
              <a:gd name="connsiteX931" fmla="*/ 4710831 w 7613003"/>
              <a:gd name="connsiteY931" fmla="*/ 338098 h 6367505"/>
              <a:gd name="connsiteX932" fmla="*/ 4654478 w 7613003"/>
              <a:gd name="connsiteY932" fmla="*/ 338098 h 6367505"/>
              <a:gd name="connsiteX933" fmla="*/ 4584036 w 7613003"/>
              <a:gd name="connsiteY933" fmla="*/ 352185 h 6367505"/>
              <a:gd name="connsiteX934" fmla="*/ 4569949 w 7613003"/>
              <a:gd name="connsiteY934" fmla="*/ 352185 h 6367505"/>
              <a:gd name="connsiteX935" fmla="*/ 4527683 w 7613003"/>
              <a:gd name="connsiteY935" fmla="*/ 366272 h 6367505"/>
              <a:gd name="connsiteX936" fmla="*/ 4513595 w 7613003"/>
              <a:gd name="connsiteY936" fmla="*/ 366272 h 6367505"/>
              <a:gd name="connsiteX937" fmla="*/ 4499507 w 7613003"/>
              <a:gd name="connsiteY937" fmla="*/ 366272 h 6367505"/>
              <a:gd name="connsiteX938" fmla="*/ 4485419 w 7613003"/>
              <a:gd name="connsiteY938" fmla="*/ 366272 h 6367505"/>
              <a:gd name="connsiteX939" fmla="*/ 4429066 w 7613003"/>
              <a:gd name="connsiteY939" fmla="*/ 380360 h 6367505"/>
              <a:gd name="connsiteX940" fmla="*/ 4400890 w 7613003"/>
              <a:gd name="connsiteY940" fmla="*/ 380360 h 6367505"/>
              <a:gd name="connsiteX941" fmla="*/ 4400890 w 7613003"/>
              <a:gd name="connsiteY941" fmla="*/ 394447 h 6367505"/>
              <a:gd name="connsiteX942" fmla="*/ 4386801 w 7613003"/>
              <a:gd name="connsiteY942" fmla="*/ 394447 h 6367505"/>
              <a:gd name="connsiteX943" fmla="*/ 4372713 w 7613003"/>
              <a:gd name="connsiteY943" fmla="*/ 394447 h 6367505"/>
              <a:gd name="connsiteX944" fmla="*/ 4370952 w 7613003"/>
              <a:gd name="connsiteY944" fmla="*/ 394447 h 6367505"/>
              <a:gd name="connsiteX945" fmla="*/ 4359520 w 7613003"/>
              <a:gd name="connsiteY945" fmla="*/ 394447 h 6367505"/>
              <a:gd name="connsiteX946" fmla="*/ 4363709 w 7613003"/>
              <a:gd name="connsiteY946" fmla="*/ 395971 h 6367505"/>
              <a:gd name="connsiteX947" fmla="*/ 4357040 w 7613003"/>
              <a:gd name="connsiteY947" fmla="*/ 395415 h 6367505"/>
              <a:gd name="connsiteX948" fmla="*/ 4326927 w 7613003"/>
              <a:gd name="connsiteY948" fmla="*/ 413818 h 6367505"/>
              <a:gd name="connsiteX949" fmla="*/ 4274096 w 7613003"/>
              <a:gd name="connsiteY949" fmla="*/ 422623 h 6367505"/>
              <a:gd name="connsiteX950" fmla="*/ 4260008 w 7613003"/>
              <a:gd name="connsiteY950" fmla="*/ 422623 h 6367505"/>
              <a:gd name="connsiteX951" fmla="*/ 4231831 w 7613003"/>
              <a:gd name="connsiteY951" fmla="*/ 436710 h 6367505"/>
              <a:gd name="connsiteX952" fmla="*/ 4217743 w 7613003"/>
              <a:gd name="connsiteY952" fmla="*/ 436710 h 6367505"/>
              <a:gd name="connsiteX953" fmla="*/ 4203655 w 7613003"/>
              <a:gd name="connsiteY953" fmla="*/ 450798 h 6367505"/>
              <a:gd name="connsiteX954" fmla="*/ 4189567 w 7613003"/>
              <a:gd name="connsiteY954" fmla="*/ 450798 h 6367505"/>
              <a:gd name="connsiteX955" fmla="*/ 4062772 w 7613003"/>
              <a:gd name="connsiteY955" fmla="*/ 493059 h 6367505"/>
              <a:gd name="connsiteX956" fmla="*/ 4034596 w 7613003"/>
              <a:gd name="connsiteY956" fmla="*/ 493059 h 6367505"/>
              <a:gd name="connsiteX957" fmla="*/ 4020508 w 7613003"/>
              <a:gd name="connsiteY957" fmla="*/ 507147 h 6367505"/>
              <a:gd name="connsiteX958" fmla="*/ 3978244 w 7613003"/>
              <a:gd name="connsiteY958" fmla="*/ 521234 h 6367505"/>
              <a:gd name="connsiteX959" fmla="*/ 3967380 w 7613003"/>
              <a:gd name="connsiteY959" fmla="*/ 528146 h 6367505"/>
              <a:gd name="connsiteX960" fmla="*/ 3984422 w 7613003"/>
              <a:gd name="connsiteY960" fmla="*/ 535321 h 6367505"/>
              <a:gd name="connsiteX961" fmla="*/ 4006652 w 7613003"/>
              <a:gd name="connsiteY961" fmla="*/ 549001 h 6367505"/>
              <a:gd name="connsiteX962" fmla="*/ 4013464 w 7613003"/>
              <a:gd name="connsiteY962" fmla="*/ 537082 h 6367505"/>
              <a:gd name="connsiteX963" fmla="*/ 4020508 w 7613003"/>
              <a:gd name="connsiteY963" fmla="*/ 535321 h 6367505"/>
              <a:gd name="connsiteX964" fmla="*/ 4034596 w 7613003"/>
              <a:gd name="connsiteY964" fmla="*/ 535321 h 6367505"/>
              <a:gd name="connsiteX965" fmla="*/ 4048684 w 7613003"/>
              <a:gd name="connsiteY965" fmla="*/ 521234 h 6367505"/>
              <a:gd name="connsiteX966" fmla="*/ 4119125 w 7613003"/>
              <a:gd name="connsiteY966" fmla="*/ 507147 h 6367505"/>
              <a:gd name="connsiteX967" fmla="*/ 4217743 w 7613003"/>
              <a:gd name="connsiteY967" fmla="*/ 478972 h 6367505"/>
              <a:gd name="connsiteX968" fmla="*/ 4260008 w 7613003"/>
              <a:gd name="connsiteY968" fmla="*/ 464885 h 6367505"/>
              <a:gd name="connsiteX969" fmla="*/ 4245920 w 7613003"/>
              <a:gd name="connsiteY969" fmla="*/ 478972 h 6367505"/>
              <a:gd name="connsiteX970" fmla="*/ 4260008 w 7613003"/>
              <a:gd name="connsiteY970" fmla="*/ 493059 h 6367505"/>
              <a:gd name="connsiteX971" fmla="*/ 4231831 w 7613003"/>
              <a:gd name="connsiteY971" fmla="*/ 493059 h 6367505"/>
              <a:gd name="connsiteX972" fmla="*/ 4231831 w 7613003"/>
              <a:gd name="connsiteY972" fmla="*/ 507147 h 6367505"/>
              <a:gd name="connsiteX973" fmla="*/ 4260008 w 7613003"/>
              <a:gd name="connsiteY973" fmla="*/ 493059 h 6367505"/>
              <a:gd name="connsiteX974" fmla="*/ 4288184 w 7613003"/>
              <a:gd name="connsiteY974" fmla="*/ 493059 h 6367505"/>
              <a:gd name="connsiteX975" fmla="*/ 4372713 w 7613003"/>
              <a:gd name="connsiteY975" fmla="*/ 464885 h 6367505"/>
              <a:gd name="connsiteX976" fmla="*/ 4584036 w 7613003"/>
              <a:gd name="connsiteY976" fmla="*/ 436710 h 6367505"/>
              <a:gd name="connsiteX977" fmla="*/ 4640389 w 7613003"/>
              <a:gd name="connsiteY977" fmla="*/ 422623 h 6367505"/>
              <a:gd name="connsiteX978" fmla="*/ 4668566 w 7613003"/>
              <a:gd name="connsiteY978" fmla="*/ 422623 h 6367505"/>
              <a:gd name="connsiteX979" fmla="*/ 4680893 w 7613003"/>
              <a:gd name="connsiteY979" fmla="*/ 422623 h 6367505"/>
              <a:gd name="connsiteX980" fmla="*/ 4710831 w 7613003"/>
              <a:gd name="connsiteY980" fmla="*/ 422623 h 6367505"/>
              <a:gd name="connsiteX981" fmla="*/ 4724919 w 7613003"/>
              <a:gd name="connsiteY981" fmla="*/ 422623 h 6367505"/>
              <a:gd name="connsiteX982" fmla="*/ 4668566 w 7613003"/>
              <a:gd name="connsiteY982" fmla="*/ 422623 h 6367505"/>
              <a:gd name="connsiteX983" fmla="*/ 4739006 w 7613003"/>
              <a:gd name="connsiteY983" fmla="*/ 408534 h 6367505"/>
              <a:gd name="connsiteX984" fmla="*/ 4753095 w 7613003"/>
              <a:gd name="connsiteY984" fmla="*/ 408534 h 6367505"/>
              <a:gd name="connsiteX985" fmla="*/ 4753095 w 7613003"/>
              <a:gd name="connsiteY985" fmla="*/ 422623 h 6367505"/>
              <a:gd name="connsiteX986" fmla="*/ 4781272 w 7613003"/>
              <a:gd name="connsiteY986" fmla="*/ 436710 h 6367505"/>
              <a:gd name="connsiteX987" fmla="*/ 4809448 w 7613003"/>
              <a:gd name="connsiteY987" fmla="*/ 436710 h 6367505"/>
              <a:gd name="connsiteX988" fmla="*/ 4851712 w 7613003"/>
              <a:gd name="connsiteY988" fmla="*/ 436710 h 6367505"/>
              <a:gd name="connsiteX989" fmla="*/ 4908065 w 7613003"/>
              <a:gd name="connsiteY989" fmla="*/ 436710 h 6367505"/>
              <a:gd name="connsiteX990" fmla="*/ 4893978 w 7613003"/>
              <a:gd name="connsiteY990" fmla="*/ 450798 h 6367505"/>
              <a:gd name="connsiteX991" fmla="*/ 4908065 w 7613003"/>
              <a:gd name="connsiteY991" fmla="*/ 450798 h 6367505"/>
              <a:gd name="connsiteX992" fmla="*/ 4936242 w 7613003"/>
              <a:gd name="connsiteY992" fmla="*/ 450798 h 6367505"/>
              <a:gd name="connsiteX993" fmla="*/ 5091213 w 7613003"/>
              <a:gd name="connsiteY993" fmla="*/ 464885 h 6367505"/>
              <a:gd name="connsiteX994" fmla="*/ 5119389 w 7613003"/>
              <a:gd name="connsiteY994" fmla="*/ 464885 h 6367505"/>
              <a:gd name="connsiteX995" fmla="*/ 5133477 w 7613003"/>
              <a:gd name="connsiteY995" fmla="*/ 464885 h 6367505"/>
              <a:gd name="connsiteX996" fmla="*/ 5203919 w 7613003"/>
              <a:gd name="connsiteY996" fmla="*/ 464885 h 6367505"/>
              <a:gd name="connsiteX997" fmla="*/ 5274359 w 7613003"/>
              <a:gd name="connsiteY997" fmla="*/ 478972 h 6367505"/>
              <a:gd name="connsiteX998" fmla="*/ 5316625 w 7613003"/>
              <a:gd name="connsiteY998" fmla="*/ 493059 h 6367505"/>
              <a:gd name="connsiteX999" fmla="*/ 5344800 w 7613003"/>
              <a:gd name="connsiteY999" fmla="*/ 493059 h 6367505"/>
              <a:gd name="connsiteX1000" fmla="*/ 5358889 w 7613003"/>
              <a:gd name="connsiteY1000" fmla="*/ 493059 h 6367505"/>
              <a:gd name="connsiteX1001" fmla="*/ 5362411 w 7613003"/>
              <a:gd name="connsiteY1001" fmla="*/ 493059 h 6367505"/>
              <a:gd name="connsiteX1002" fmla="*/ 5365933 w 7613003"/>
              <a:gd name="connsiteY1002" fmla="*/ 493059 h 6367505"/>
              <a:gd name="connsiteX1003" fmla="*/ 5367694 w 7613003"/>
              <a:gd name="connsiteY1003" fmla="*/ 493059 h 6367505"/>
              <a:gd name="connsiteX1004" fmla="*/ 5372976 w 7613003"/>
              <a:gd name="connsiteY1004" fmla="*/ 493059 h 6367505"/>
              <a:gd name="connsiteX1005" fmla="*/ 5457506 w 7613003"/>
              <a:gd name="connsiteY1005" fmla="*/ 507147 h 6367505"/>
              <a:gd name="connsiteX1006" fmla="*/ 5513859 w 7613003"/>
              <a:gd name="connsiteY1006" fmla="*/ 507147 h 6367505"/>
              <a:gd name="connsiteX1007" fmla="*/ 5542035 w 7613003"/>
              <a:gd name="connsiteY1007" fmla="*/ 521234 h 6367505"/>
              <a:gd name="connsiteX1008" fmla="*/ 5570212 w 7613003"/>
              <a:gd name="connsiteY1008" fmla="*/ 521234 h 6367505"/>
              <a:gd name="connsiteX1009" fmla="*/ 5626565 w 7613003"/>
              <a:gd name="connsiteY1009" fmla="*/ 549409 h 6367505"/>
              <a:gd name="connsiteX1010" fmla="*/ 5654741 w 7613003"/>
              <a:gd name="connsiteY1010" fmla="*/ 549409 h 6367505"/>
              <a:gd name="connsiteX1011" fmla="*/ 5682917 w 7613003"/>
              <a:gd name="connsiteY1011" fmla="*/ 549409 h 6367505"/>
              <a:gd name="connsiteX1012" fmla="*/ 5725182 w 7613003"/>
              <a:gd name="connsiteY1012" fmla="*/ 563496 h 6367505"/>
              <a:gd name="connsiteX1013" fmla="*/ 5697005 w 7613003"/>
              <a:gd name="connsiteY1013" fmla="*/ 563496 h 6367505"/>
              <a:gd name="connsiteX1014" fmla="*/ 5781535 w 7613003"/>
              <a:gd name="connsiteY1014" fmla="*/ 591672 h 6367505"/>
              <a:gd name="connsiteX1015" fmla="*/ 5795623 w 7613003"/>
              <a:gd name="connsiteY1015" fmla="*/ 605759 h 6367505"/>
              <a:gd name="connsiteX1016" fmla="*/ 5781535 w 7613003"/>
              <a:gd name="connsiteY1016" fmla="*/ 605759 h 6367505"/>
              <a:gd name="connsiteX1017" fmla="*/ 5781535 w 7613003"/>
              <a:gd name="connsiteY1017" fmla="*/ 619846 h 6367505"/>
              <a:gd name="connsiteX1018" fmla="*/ 5760403 w 7613003"/>
              <a:gd name="connsiteY1018" fmla="*/ 612803 h 6367505"/>
              <a:gd name="connsiteX1019" fmla="*/ 5729877 w 7613003"/>
              <a:gd name="connsiteY1019" fmla="*/ 594489 h 6367505"/>
              <a:gd name="connsiteX1020" fmla="*/ 5721661 w 7613003"/>
              <a:gd name="connsiteY1020" fmla="*/ 584628 h 6367505"/>
              <a:gd name="connsiteX1021" fmla="*/ 5682917 w 7613003"/>
              <a:gd name="connsiteY1021" fmla="*/ 563496 h 6367505"/>
              <a:gd name="connsiteX1022" fmla="*/ 5682917 w 7613003"/>
              <a:gd name="connsiteY1022" fmla="*/ 577583 h 6367505"/>
              <a:gd name="connsiteX1023" fmla="*/ 5668829 w 7613003"/>
              <a:gd name="connsiteY1023" fmla="*/ 577583 h 6367505"/>
              <a:gd name="connsiteX1024" fmla="*/ 5654741 w 7613003"/>
              <a:gd name="connsiteY1024" fmla="*/ 577583 h 6367505"/>
              <a:gd name="connsiteX1025" fmla="*/ 5635018 w 7613003"/>
              <a:gd name="connsiteY1025" fmla="*/ 567722 h 6367505"/>
              <a:gd name="connsiteX1026" fmla="*/ 5633609 w 7613003"/>
              <a:gd name="connsiteY1026" fmla="*/ 565257 h 6367505"/>
              <a:gd name="connsiteX1027" fmla="*/ 5626565 w 7613003"/>
              <a:gd name="connsiteY1027" fmla="*/ 563496 h 6367505"/>
              <a:gd name="connsiteX1028" fmla="*/ 5635018 w 7613003"/>
              <a:gd name="connsiteY1028" fmla="*/ 567722 h 6367505"/>
              <a:gd name="connsiteX1029" fmla="*/ 5640652 w 7613003"/>
              <a:gd name="connsiteY1029" fmla="*/ 577583 h 6367505"/>
              <a:gd name="connsiteX1030" fmla="*/ 5647697 w 7613003"/>
              <a:gd name="connsiteY1030" fmla="*/ 577583 h 6367505"/>
              <a:gd name="connsiteX1031" fmla="*/ 5654741 w 7613003"/>
              <a:gd name="connsiteY1031" fmla="*/ 577583 h 6367505"/>
              <a:gd name="connsiteX1032" fmla="*/ 5682917 w 7613003"/>
              <a:gd name="connsiteY1032" fmla="*/ 591672 h 6367505"/>
              <a:gd name="connsiteX1033" fmla="*/ 5725182 w 7613003"/>
              <a:gd name="connsiteY1033" fmla="*/ 591672 h 6367505"/>
              <a:gd name="connsiteX1034" fmla="*/ 5729877 w 7613003"/>
              <a:gd name="connsiteY1034" fmla="*/ 594489 h 6367505"/>
              <a:gd name="connsiteX1035" fmla="*/ 5739270 w 7613003"/>
              <a:gd name="connsiteY1035" fmla="*/ 605759 h 6367505"/>
              <a:gd name="connsiteX1036" fmla="*/ 5760403 w 7613003"/>
              <a:gd name="connsiteY1036" fmla="*/ 612803 h 6367505"/>
              <a:gd name="connsiteX1037" fmla="*/ 5795623 w 7613003"/>
              <a:gd name="connsiteY1037" fmla="*/ 633934 h 6367505"/>
              <a:gd name="connsiteX1038" fmla="*/ 5823800 w 7613003"/>
              <a:gd name="connsiteY1038" fmla="*/ 633934 h 6367505"/>
              <a:gd name="connsiteX1039" fmla="*/ 5823800 w 7613003"/>
              <a:gd name="connsiteY1039" fmla="*/ 648021 h 6367505"/>
              <a:gd name="connsiteX1040" fmla="*/ 5851976 w 7613003"/>
              <a:gd name="connsiteY1040" fmla="*/ 648021 h 6367505"/>
              <a:gd name="connsiteX1041" fmla="*/ 5866064 w 7613003"/>
              <a:gd name="connsiteY1041" fmla="*/ 657882 h 6367505"/>
              <a:gd name="connsiteX1042" fmla="*/ 5866064 w 7613003"/>
              <a:gd name="connsiteY1042" fmla="*/ 662108 h 6367505"/>
              <a:gd name="connsiteX1043" fmla="*/ 5869587 w 7613003"/>
              <a:gd name="connsiteY1043" fmla="*/ 660347 h 6367505"/>
              <a:gd name="connsiteX1044" fmla="*/ 5866064 w 7613003"/>
              <a:gd name="connsiteY1044" fmla="*/ 657882 h 6367505"/>
              <a:gd name="connsiteX1045" fmla="*/ 5866064 w 7613003"/>
              <a:gd name="connsiteY1045" fmla="*/ 655065 h 6367505"/>
              <a:gd name="connsiteX1046" fmla="*/ 5866064 w 7613003"/>
              <a:gd name="connsiteY1046" fmla="*/ 648021 h 6367505"/>
              <a:gd name="connsiteX1047" fmla="*/ 5908329 w 7613003"/>
              <a:gd name="connsiteY1047" fmla="*/ 662108 h 6367505"/>
              <a:gd name="connsiteX1048" fmla="*/ 5992859 w 7613003"/>
              <a:gd name="connsiteY1048" fmla="*/ 704370 h 6367505"/>
              <a:gd name="connsiteX1049" fmla="*/ 6035123 w 7613003"/>
              <a:gd name="connsiteY1049" fmla="*/ 732545 h 6367505"/>
              <a:gd name="connsiteX1050" fmla="*/ 6049212 w 7613003"/>
              <a:gd name="connsiteY1050" fmla="*/ 732545 h 6367505"/>
              <a:gd name="connsiteX1051" fmla="*/ 6035123 w 7613003"/>
              <a:gd name="connsiteY1051" fmla="*/ 718457 h 6367505"/>
              <a:gd name="connsiteX1052" fmla="*/ 6006946 w 7613003"/>
              <a:gd name="connsiteY1052" fmla="*/ 690283 h 6367505"/>
              <a:gd name="connsiteX1053" fmla="*/ 6063299 w 7613003"/>
              <a:gd name="connsiteY1053" fmla="*/ 718457 h 6367505"/>
              <a:gd name="connsiteX1054" fmla="*/ 6105565 w 7613003"/>
              <a:gd name="connsiteY1054" fmla="*/ 746632 h 6367505"/>
              <a:gd name="connsiteX1055" fmla="*/ 6077388 w 7613003"/>
              <a:gd name="connsiteY1055" fmla="*/ 732545 h 6367505"/>
              <a:gd name="connsiteX1056" fmla="*/ 6119652 w 7613003"/>
              <a:gd name="connsiteY1056" fmla="*/ 746632 h 6367505"/>
              <a:gd name="connsiteX1057" fmla="*/ 6133741 w 7613003"/>
              <a:gd name="connsiteY1057" fmla="*/ 760719 h 6367505"/>
              <a:gd name="connsiteX1058" fmla="*/ 6133741 w 7613003"/>
              <a:gd name="connsiteY1058" fmla="*/ 746632 h 6367505"/>
              <a:gd name="connsiteX1059" fmla="*/ 6127728 w 7613003"/>
              <a:gd name="connsiteY1059" fmla="*/ 741995 h 6367505"/>
              <a:gd name="connsiteX1060" fmla="*/ 6147829 w 7613003"/>
              <a:gd name="connsiteY1060" fmla="*/ 746632 h 6367505"/>
              <a:gd name="connsiteX1061" fmla="*/ 6176005 w 7613003"/>
              <a:gd name="connsiteY1061" fmla="*/ 760719 h 6367505"/>
              <a:gd name="connsiteX1062" fmla="*/ 6246446 w 7613003"/>
              <a:gd name="connsiteY1062" fmla="*/ 802983 h 6367505"/>
              <a:gd name="connsiteX1063" fmla="*/ 6260535 w 7613003"/>
              <a:gd name="connsiteY1063" fmla="*/ 802983 h 6367505"/>
              <a:gd name="connsiteX1064" fmla="*/ 6274622 w 7613003"/>
              <a:gd name="connsiteY1064" fmla="*/ 802983 h 6367505"/>
              <a:gd name="connsiteX1065" fmla="*/ 6302799 w 7613003"/>
              <a:gd name="connsiteY1065" fmla="*/ 817070 h 6367505"/>
              <a:gd name="connsiteX1066" fmla="*/ 6330975 w 7613003"/>
              <a:gd name="connsiteY1066" fmla="*/ 845244 h 6367505"/>
              <a:gd name="connsiteX1067" fmla="*/ 6345064 w 7613003"/>
              <a:gd name="connsiteY1067" fmla="*/ 845244 h 6367505"/>
              <a:gd name="connsiteX1068" fmla="*/ 6387328 w 7613003"/>
              <a:gd name="connsiteY1068" fmla="*/ 887506 h 6367505"/>
              <a:gd name="connsiteX1069" fmla="*/ 6457770 w 7613003"/>
              <a:gd name="connsiteY1069" fmla="*/ 929768 h 6367505"/>
              <a:gd name="connsiteX1070" fmla="*/ 6471858 w 7613003"/>
              <a:gd name="connsiteY1070" fmla="*/ 943856 h 6367505"/>
              <a:gd name="connsiteX1071" fmla="*/ 6528211 w 7613003"/>
              <a:gd name="connsiteY1071" fmla="*/ 972031 h 6367505"/>
              <a:gd name="connsiteX1072" fmla="*/ 6556387 w 7613003"/>
              <a:gd name="connsiteY1072" fmla="*/ 986119 h 6367505"/>
              <a:gd name="connsiteX1073" fmla="*/ 6598651 w 7613003"/>
              <a:gd name="connsiteY1073" fmla="*/ 1028381 h 6367505"/>
              <a:gd name="connsiteX1074" fmla="*/ 6655004 w 7613003"/>
              <a:gd name="connsiteY1074" fmla="*/ 1070642 h 6367505"/>
              <a:gd name="connsiteX1075" fmla="*/ 6570476 w 7613003"/>
              <a:gd name="connsiteY1075" fmla="*/ 1014293 h 6367505"/>
              <a:gd name="connsiteX1076" fmla="*/ 6443681 w 7613003"/>
              <a:gd name="connsiteY1076" fmla="*/ 943856 h 6367505"/>
              <a:gd name="connsiteX1077" fmla="*/ 6401417 w 7613003"/>
              <a:gd name="connsiteY1077" fmla="*/ 915681 h 6367505"/>
              <a:gd name="connsiteX1078" fmla="*/ 6359152 w 7613003"/>
              <a:gd name="connsiteY1078" fmla="*/ 887506 h 6367505"/>
              <a:gd name="connsiteX1079" fmla="*/ 6316888 w 7613003"/>
              <a:gd name="connsiteY1079" fmla="*/ 873419 h 6367505"/>
              <a:gd name="connsiteX1080" fmla="*/ 6288711 w 7613003"/>
              <a:gd name="connsiteY1080" fmla="*/ 859332 h 6367505"/>
              <a:gd name="connsiteX1081" fmla="*/ 6246446 w 7613003"/>
              <a:gd name="connsiteY1081" fmla="*/ 831157 h 6367505"/>
              <a:gd name="connsiteX1082" fmla="*/ 6218269 w 7613003"/>
              <a:gd name="connsiteY1082" fmla="*/ 831157 h 6367505"/>
              <a:gd name="connsiteX1083" fmla="*/ 6204182 w 7613003"/>
              <a:gd name="connsiteY1083" fmla="*/ 817070 h 6367505"/>
              <a:gd name="connsiteX1084" fmla="*/ 6176005 w 7613003"/>
              <a:gd name="connsiteY1084" fmla="*/ 802983 h 6367505"/>
              <a:gd name="connsiteX1085" fmla="*/ 6091476 w 7613003"/>
              <a:gd name="connsiteY1085" fmla="*/ 774808 h 6367505"/>
              <a:gd name="connsiteX1086" fmla="*/ 6035123 w 7613003"/>
              <a:gd name="connsiteY1086" fmla="*/ 746632 h 6367505"/>
              <a:gd name="connsiteX1087" fmla="*/ 6006946 w 7613003"/>
              <a:gd name="connsiteY1087" fmla="*/ 732545 h 6367505"/>
              <a:gd name="connsiteX1088" fmla="*/ 5978770 w 7613003"/>
              <a:gd name="connsiteY1088" fmla="*/ 718457 h 6367505"/>
              <a:gd name="connsiteX1089" fmla="*/ 5950593 w 7613003"/>
              <a:gd name="connsiteY1089" fmla="*/ 718457 h 6367505"/>
              <a:gd name="connsiteX1090" fmla="*/ 5922417 w 7613003"/>
              <a:gd name="connsiteY1090" fmla="*/ 718457 h 6367505"/>
              <a:gd name="connsiteX1091" fmla="*/ 5837888 w 7613003"/>
              <a:gd name="connsiteY1091" fmla="*/ 690283 h 6367505"/>
              <a:gd name="connsiteX1092" fmla="*/ 5837888 w 7613003"/>
              <a:gd name="connsiteY1092" fmla="*/ 676196 h 6367505"/>
              <a:gd name="connsiteX1093" fmla="*/ 5823800 w 7613003"/>
              <a:gd name="connsiteY1093" fmla="*/ 676196 h 6367505"/>
              <a:gd name="connsiteX1094" fmla="*/ 5809711 w 7613003"/>
              <a:gd name="connsiteY1094" fmla="*/ 676196 h 6367505"/>
              <a:gd name="connsiteX1095" fmla="*/ 5795623 w 7613003"/>
              <a:gd name="connsiteY1095" fmla="*/ 676196 h 6367505"/>
              <a:gd name="connsiteX1096" fmla="*/ 5795623 w 7613003"/>
              <a:gd name="connsiteY1096" fmla="*/ 662108 h 6367505"/>
              <a:gd name="connsiteX1097" fmla="*/ 5753358 w 7613003"/>
              <a:gd name="connsiteY1097" fmla="*/ 648021 h 6367505"/>
              <a:gd name="connsiteX1098" fmla="*/ 5654741 w 7613003"/>
              <a:gd name="connsiteY1098" fmla="*/ 633934 h 6367505"/>
              <a:gd name="connsiteX1099" fmla="*/ 5626565 w 7613003"/>
              <a:gd name="connsiteY1099" fmla="*/ 619846 h 6367505"/>
              <a:gd name="connsiteX1100" fmla="*/ 5499771 w 7613003"/>
              <a:gd name="connsiteY1100" fmla="*/ 591672 h 6367505"/>
              <a:gd name="connsiteX1101" fmla="*/ 5471594 w 7613003"/>
              <a:gd name="connsiteY1101" fmla="*/ 591672 h 6367505"/>
              <a:gd name="connsiteX1102" fmla="*/ 5457506 w 7613003"/>
              <a:gd name="connsiteY1102" fmla="*/ 591672 h 6367505"/>
              <a:gd name="connsiteX1103" fmla="*/ 5372976 w 7613003"/>
              <a:gd name="connsiteY1103" fmla="*/ 577583 h 6367505"/>
              <a:gd name="connsiteX1104" fmla="*/ 5330712 w 7613003"/>
              <a:gd name="connsiteY1104" fmla="*/ 577583 h 6367505"/>
              <a:gd name="connsiteX1105" fmla="*/ 5302536 w 7613003"/>
              <a:gd name="connsiteY1105" fmla="*/ 577583 h 6367505"/>
              <a:gd name="connsiteX1106" fmla="*/ 5091213 w 7613003"/>
              <a:gd name="connsiteY1106" fmla="*/ 577583 h 6367505"/>
              <a:gd name="connsiteX1107" fmla="*/ 5034860 w 7613003"/>
              <a:gd name="connsiteY1107" fmla="*/ 563496 h 6367505"/>
              <a:gd name="connsiteX1108" fmla="*/ 5091213 w 7613003"/>
              <a:gd name="connsiteY1108" fmla="*/ 577583 h 6367505"/>
              <a:gd name="connsiteX1109" fmla="*/ 5133477 w 7613003"/>
              <a:gd name="connsiteY1109" fmla="*/ 577583 h 6367505"/>
              <a:gd name="connsiteX1110" fmla="*/ 5232094 w 7613003"/>
              <a:gd name="connsiteY1110" fmla="*/ 591672 h 6367505"/>
              <a:gd name="connsiteX1111" fmla="*/ 5246183 w 7613003"/>
              <a:gd name="connsiteY1111" fmla="*/ 591672 h 6367505"/>
              <a:gd name="connsiteX1112" fmla="*/ 5288447 w 7613003"/>
              <a:gd name="connsiteY1112" fmla="*/ 591672 h 6367505"/>
              <a:gd name="connsiteX1113" fmla="*/ 5302536 w 7613003"/>
              <a:gd name="connsiteY1113" fmla="*/ 591672 h 6367505"/>
              <a:gd name="connsiteX1114" fmla="*/ 5358889 w 7613003"/>
              <a:gd name="connsiteY1114" fmla="*/ 605759 h 6367505"/>
              <a:gd name="connsiteX1115" fmla="*/ 5471594 w 7613003"/>
              <a:gd name="connsiteY1115" fmla="*/ 619846 h 6367505"/>
              <a:gd name="connsiteX1116" fmla="*/ 5499771 w 7613003"/>
              <a:gd name="connsiteY1116" fmla="*/ 619846 h 6367505"/>
              <a:gd name="connsiteX1117" fmla="*/ 5485682 w 7613003"/>
              <a:gd name="connsiteY1117" fmla="*/ 633934 h 6367505"/>
              <a:gd name="connsiteX1118" fmla="*/ 5457506 w 7613003"/>
              <a:gd name="connsiteY1118" fmla="*/ 619846 h 6367505"/>
              <a:gd name="connsiteX1119" fmla="*/ 5429329 w 7613003"/>
              <a:gd name="connsiteY1119" fmla="*/ 619846 h 6367505"/>
              <a:gd name="connsiteX1120" fmla="*/ 5189830 w 7613003"/>
              <a:gd name="connsiteY1120" fmla="*/ 591672 h 6367505"/>
              <a:gd name="connsiteX1121" fmla="*/ 5175742 w 7613003"/>
              <a:gd name="connsiteY1121" fmla="*/ 591672 h 6367505"/>
              <a:gd name="connsiteX1122" fmla="*/ 5161654 w 7613003"/>
              <a:gd name="connsiteY1122" fmla="*/ 591672 h 6367505"/>
              <a:gd name="connsiteX1123" fmla="*/ 5133477 w 7613003"/>
              <a:gd name="connsiteY1123" fmla="*/ 605759 h 6367505"/>
              <a:gd name="connsiteX1124" fmla="*/ 5119389 w 7613003"/>
              <a:gd name="connsiteY1124" fmla="*/ 605759 h 6367505"/>
              <a:gd name="connsiteX1125" fmla="*/ 5091213 w 7613003"/>
              <a:gd name="connsiteY1125" fmla="*/ 605759 h 6367505"/>
              <a:gd name="connsiteX1126" fmla="*/ 5119389 w 7613003"/>
              <a:gd name="connsiteY1126" fmla="*/ 605759 h 6367505"/>
              <a:gd name="connsiteX1127" fmla="*/ 5175742 w 7613003"/>
              <a:gd name="connsiteY1127" fmla="*/ 619846 h 6367505"/>
              <a:gd name="connsiteX1128" fmla="*/ 5203919 w 7613003"/>
              <a:gd name="connsiteY1128" fmla="*/ 619846 h 6367505"/>
              <a:gd name="connsiteX1129" fmla="*/ 5218006 w 7613003"/>
              <a:gd name="connsiteY1129" fmla="*/ 619846 h 6367505"/>
              <a:gd name="connsiteX1130" fmla="*/ 5221528 w 7613003"/>
              <a:gd name="connsiteY1130" fmla="*/ 619846 h 6367505"/>
              <a:gd name="connsiteX1131" fmla="*/ 5232094 w 7613003"/>
              <a:gd name="connsiteY1131" fmla="*/ 619846 h 6367505"/>
              <a:gd name="connsiteX1132" fmla="*/ 5316625 w 7613003"/>
              <a:gd name="connsiteY1132" fmla="*/ 633934 h 6367505"/>
              <a:gd name="connsiteX1133" fmla="*/ 5274359 w 7613003"/>
              <a:gd name="connsiteY1133" fmla="*/ 633934 h 6367505"/>
              <a:gd name="connsiteX1134" fmla="*/ 5302536 w 7613003"/>
              <a:gd name="connsiteY1134" fmla="*/ 648021 h 6367505"/>
              <a:gd name="connsiteX1135" fmla="*/ 5316625 w 7613003"/>
              <a:gd name="connsiteY1135" fmla="*/ 648021 h 6367505"/>
              <a:gd name="connsiteX1136" fmla="*/ 5330712 w 7613003"/>
              <a:gd name="connsiteY1136" fmla="*/ 648021 h 6367505"/>
              <a:gd name="connsiteX1137" fmla="*/ 5372976 w 7613003"/>
              <a:gd name="connsiteY1137" fmla="*/ 648021 h 6367505"/>
              <a:gd name="connsiteX1138" fmla="*/ 5556124 w 7613003"/>
              <a:gd name="connsiteY1138" fmla="*/ 676196 h 6367505"/>
              <a:gd name="connsiteX1139" fmla="*/ 5584299 w 7613003"/>
              <a:gd name="connsiteY1139" fmla="*/ 690283 h 6367505"/>
              <a:gd name="connsiteX1140" fmla="*/ 5612477 w 7613003"/>
              <a:gd name="connsiteY1140" fmla="*/ 690283 h 6367505"/>
              <a:gd name="connsiteX1141" fmla="*/ 5626565 w 7613003"/>
              <a:gd name="connsiteY1141" fmla="*/ 690283 h 6367505"/>
              <a:gd name="connsiteX1142" fmla="*/ 5654741 w 7613003"/>
              <a:gd name="connsiteY1142" fmla="*/ 704370 h 6367505"/>
              <a:gd name="connsiteX1143" fmla="*/ 5668829 w 7613003"/>
              <a:gd name="connsiteY1143" fmla="*/ 704370 h 6367505"/>
              <a:gd name="connsiteX1144" fmla="*/ 5682917 w 7613003"/>
              <a:gd name="connsiteY1144" fmla="*/ 704370 h 6367505"/>
              <a:gd name="connsiteX1145" fmla="*/ 5739270 w 7613003"/>
              <a:gd name="connsiteY1145" fmla="*/ 718457 h 6367505"/>
              <a:gd name="connsiteX1146" fmla="*/ 5767447 w 7613003"/>
              <a:gd name="connsiteY1146" fmla="*/ 746632 h 6367505"/>
              <a:gd name="connsiteX1147" fmla="*/ 5809711 w 7613003"/>
              <a:gd name="connsiteY1147" fmla="*/ 760719 h 6367505"/>
              <a:gd name="connsiteX1148" fmla="*/ 5781535 w 7613003"/>
              <a:gd name="connsiteY1148" fmla="*/ 760719 h 6367505"/>
              <a:gd name="connsiteX1149" fmla="*/ 5767447 w 7613003"/>
              <a:gd name="connsiteY1149" fmla="*/ 760719 h 6367505"/>
              <a:gd name="connsiteX1150" fmla="*/ 5781535 w 7613003"/>
              <a:gd name="connsiteY1150" fmla="*/ 774808 h 6367505"/>
              <a:gd name="connsiteX1151" fmla="*/ 5809711 w 7613003"/>
              <a:gd name="connsiteY1151" fmla="*/ 774808 h 6367505"/>
              <a:gd name="connsiteX1152" fmla="*/ 5866064 w 7613003"/>
              <a:gd name="connsiteY1152" fmla="*/ 802983 h 6367505"/>
              <a:gd name="connsiteX1153" fmla="*/ 5880153 w 7613003"/>
              <a:gd name="connsiteY1153" fmla="*/ 802983 h 6367505"/>
              <a:gd name="connsiteX1154" fmla="*/ 5894240 w 7613003"/>
              <a:gd name="connsiteY1154" fmla="*/ 802983 h 6367505"/>
              <a:gd name="connsiteX1155" fmla="*/ 5978770 w 7613003"/>
              <a:gd name="connsiteY1155" fmla="*/ 845244 h 6367505"/>
              <a:gd name="connsiteX1156" fmla="*/ 6063299 w 7613003"/>
              <a:gd name="connsiteY1156" fmla="*/ 887506 h 6367505"/>
              <a:gd name="connsiteX1157" fmla="*/ 6077388 w 7613003"/>
              <a:gd name="connsiteY1157" fmla="*/ 901594 h 6367505"/>
              <a:gd name="connsiteX1158" fmla="*/ 6077388 w 7613003"/>
              <a:gd name="connsiteY1158" fmla="*/ 887506 h 6367505"/>
              <a:gd name="connsiteX1159" fmla="*/ 6063299 w 7613003"/>
              <a:gd name="connsiteY1159" fmla="*/ 873419 h 6367505"/>
              <a:gd name="connsiteX1160" fmla="*/ 6119652 w 7613003"/>
              <a:gd name="connsiteY1160" fmla="*/ 901594 h 6367505"/>
              <a:gd name="connsiteX1161" fmla="*/ 6190093 w 7613003"/>
              <a:gd name="connsiteY1161" fmla="*/ 943856 h 6367505"/>
              <a:gd name="connsiteX1162" fmla="*/ 6260535 w 7613003"/>
              <a:gd name="connsiteY1162" fmla="*/ 986119 h 6367505"/>
              <a:gd name="connsiteX1163" fmla="*/ 6274622 w 7613003"/>
              <a:gd name="connsiteY1163" fmla="*/ 986119 h 6367505"/>
              <a:gd name="connsiteX1164" fmla="*/ 6260535 w 7613003"/>
              <a:gd name="connsiteY1164" fmla="*/ 986119 h 6367505"/>
              <a:gd name="connsiteX1165" fmla="*/ 6190093 w 7613003"/>
              <a:gd name="connsiteY1165" fmla="*/ 943856 h 6367505"/>
              <a:gd name="connsiteX1166" fmla="*/ 6232358 w 7613003"/>
              <a:gd name="connsiteY1166" fmla="*/ 957944 h 6367505"/>
              <a:gd name="connsiteX1167" fmla="*/ 6302799 w 7613003"/>
              <a:gd name="connsiteY1167" fmla="*/ 1000206 h 6367505"/>
              <a:gd name="connsiteX1168" fmla="*/ 6316888 w 7613003"/>
              <a:gd name="connsiteY1168" fmla="*/ 1014293 h 6367505"/>
              <a:gd name="connsiteX1169" fmla="*/ 6359152 w 7613003"/>
              <a:gd name="connsiteY1169" fmla="*/ 1042468 h 6367505"/>
              <a:gd name="connsiteX1170" fmla="*/ 6457770 w 7613003"/>
              <a:gd name="connsiteY1170" fmla="*/ 1112904 h 6367505"/>
              <a:gd name="connsiteX1171" fmla="*/ 6542298 w 7613003"/>
              <a:gd name="connsiteY1171" fmla="*/ 1169255 h 6367505"/>
              <a:gd name="connsiteX1172" fmla="*/ 6556387 w 7613003"/>
              <a:gd name="connsiteY1172" fmla="*/ 1183342 h 6367505"/>
              <a:gd name="connsiteX1173" fmla="*/ 6655004 w 7613003"/>
              <a:gd name="connsiteY1173" fmla="*/ 1267866 h 6367505"/>
              <a:gd name="connsiteX1174" fmla="*/ 6683181 w 7613003"/>
              <a:gd name="connsiteY1174" fmla="*/ 1281953 h 6367505"/>
              <a:gd name="connsiteX1175" fmla="*/ 6697269 w 7613003"/>
              <a:gd name="connsiteY1175" fmla="*/ 1296041 h 6367505"/>
              <a:gd name="connsiteX1176" fmla="*/ 6711357 w 7613003"/>
              <a:gd name="connsiteY1176" fmla="*/ 1324216 h 6367505"/>
              <a:gd name="connsiteX1177" fmla="*/ 6711357 w 7613003"/>
              <a:gd name="connsiteY1177" fmla="*/ 1310129 h 6367505"/>
              <a:gd name="connsiteX1178" fmla="*/ 6739534 w 7613003"/>
              <a:gd name="connsiteY1178" fmla="*/ 1324216 h 6367505"/>
              <a:gd name="connsiteX1179" fmla="*/ 6781799 w 7613003"/>
              <a:gd name="connsiteY1179" fmla="*/ 1394653 h 6367505"/>
              <a:gd name="connsiteX1180" fmla="*/ 6852240 w 7613003"/>
              <a:gd name="connsiteY1180" fmla="*/ 1451002 h 6367505"/>
              <a:gd name="connsiteX1181" fmla="*/ 6880416 w 7613003"/>
              <a:gd name="connsiteY1181" fmla="*/ 1493265 h 6367505"/>
              <a:gd name="connsiteX1182" fmla="*/ 6894505 w 7613003"/>
              <a:gd name="connsiteY1182" fmla="*/ 1507353 h 6367505"/>
              <a:gd name="connsiteX1183" fmla="*/ 6922681 w 7613003"/>
              <a:gd name="connsiteY1183" fmla="*/ 1535527 h 6367505"/>
              <a:gd name="connsiteX1184" fmla="*/ 6866328 w 7613003"/>
              <a:gd name="connsiteY1184" fmla="*/ 1493265 h 6367505"/>
              <a:gd name="connsiteX1185" fmla="*/ 6894505 w 7613003"/>
              <a:gd name="connsiteY1185" fmla="*/ 1535527 h 6367505"/>
              <a:gd name="connsiteX1186" fmla="*/ 6908593 w 7613003"/>
              <a:gd name="connsiteY1186" fmla="*/ 1549614 h 6367505"/>
              <a:gd name="connsiteX1187" fmla="*/ 6901548 w 7613003"/>
              <a:gd name="connsiteY1187" fmla="*/ 1549614 h 6367505"/>
              <a:gd name="connsiteX1188" fmla="*/ 6894505 w 7613003"/>
              <a:gd name="connsiteY1188" fmla="*/ 1549614 h 6367505"/>
              <a:gd name="connsiteX1189" fmla="*/ 6880416 w 7613003"/>
              <a:gd name="connsiteY1189" fmla="*/ 1535527 h 6367505"/>
              <a:gd name="connsiteX1190" fmla="*/ 6809975 w 7613003"/>
              <a:gd name="connsiteY1190" fmla="*/ 1451002 h 6367505"/>
              <a:gd name="connsiteX1191" fmla="*/ 6795887 w 7613003"/>
              <a:gd name="connsiteY1191" fmla="*/ 1451002 h 6367505"/>
              <a:gd name="connsiteX1192" fmla="*/ 6767710 w 7613003"/>
              <a:gd name="connsiteY1192" fmla="*/ 1422828 h 6367505"/>
              <a:gd name="connsiteX1193" fmla="*/ 6753622 w 7613003"/>
              <a:gd name="connsiteY1193" fmla="*/ 1408740 h 6367505"/>
              <a:gd name="connsiteX1194" fmla="*/ 6612740 w 7613003"/>
              <a:gd name="connsiteY1194" fmla="*/ 1281953 h 6367505"/>
              <a:gd name="connsiteX1195" fmla="*/ 6612740 w 7613003"/>
              <a:gd name="connsiteY1195" fmla="*/ 1296041 h 6367505"/>
              <a:gd name="connsiteX1196" fmla="*/ 6669093 w 7613003"/>
              <a:gd name="connsiteY1196" fmla="*/ 1352391 h 6367505"/>
              <a:gd name="connsiteX1197" fmla="*/ 6725446 w 7613003"/>
              <a:gd name="connsiteY1197" fmla="*/ 1394653 h 6367505"/>
              <a:gd name="connsiteX1198" fmla="*/ 6739534 w 7613003"/>
              <a:gd name="connsiteY1198" fmla="*/ 1408740 h 6367505"/>
              <a:gd name="connsiteX1199" fmla="*/ 6824063 w 7613003"/>
              <a:gd name="connsiteY1199" fmla="*/ 1507353 h 6367505"/>
              <a:gd name="connsiteX1200" fmla="*/ 6838152 w 7613003"/>
              <a:gd name="connsiteY1200" fmla="*/ 1521440 h 6367505"/>
              <a:gd name="connsiteX1201" fmla="*/ 6866328 w 7613003"/>
              <a:gd name="connsiteY1201" fmla="*/ 1535527 h 6367505"/>
              <a:gd name="connsiteX1202" fmla="*/ 6880416 w 7613003"/>
              <a:gd name="connsiteY1202" fmla="*/ 1563702 h 6367505"/>
              <a:gd name="connsiteX1203" fmla="*/ 6936769 w 7613003"/>
              <a:gd name="connsiteY1203" fmla="*/ 1605964 h 6367505"/>
              <a:gd name="connsiteX1204" fmla="*/ 6979034 w 7613003"/>
              <a:gd name="connsiteY1204" fmla="*/ 1676401 h 6367505"/>
              <a:gd name="connsiteX1205" fmla="*/ 7007211 w 7613003"/>
              <a:gd name="connsiteY1205" fmla="*/ 1704576 h 6367505"/>
              <a:gd name="connsiteX1206" fmla="*/ 7021298 w 7613003"/>
              <a:gd name="connsiteY1206" fmla="*/ 1718663 h 6367505"/>
              <a:gd name="connsiteX1207" fmla="*/ 7035386 w 7613003"/>
              <a:gd name="connsiteY1207" fmla="*/ 1732751 h 6367505"/>
              <a:gd name="connsiteX1208" fmla="*/ 7035386 w 7613003"/>
              <a:gd name="connsiteY1208" fmla="*/ 1746838 h 6367505"/>
              <a:gd name="connsiteX1209" fmla="*/ 7049475 w 7613003"/>
              <a:gd name="connsiteY1209" fmla="*/ 1760925 h 6367505"/>
              <a:gd name="connsiteX1210" fmla="*/ 7091739 w 7613003"/>
              <a:gd name="connsiteY1210" fmla="*/ 1817276 h 6367505"/>
              <a:gd name="connsiteX1211" fmla="*/ 7105828 w 7613003"/>
              <a:gd name="connsiteY1211" fmla="*/ 1845450 h 6367505"/>
              <a:gd name="connsiteX1212" fmla="*/ 7134004 w 7613003"/>
              <a:gd name="connsiteY1212" fmla="*/ 1887712 h 6367505"/>
              <a:gd name="connsiteX1213" fmla="*/ 7134004 w 7613003"/>
              <a:gd name="connsiteY1213" fmla="*/ 1901800 h 6367505"/>
              <a:gd name="connsiteX1214" fmla="*/ 7190357 w 7613003"/>
              <a:gd name="connsiteY1214" fmla="*/ 1986323 h 6367505"/>
              <a:gd name="connsiteX1215" fmla="*/ 7218534 w 7613003"/>
              <a:gd name="connsiteY1215" fmla="*/ 2042674 h 6367505"/>
              <a:gd name="connsiteX1216" fmla="*/ 7232621 w 7613003"/>
              <a:gd name="connsiteY1216" fmla="*/ 2056761 h 6367505"/>
              <a:gd name="connsiteX1217" fmla="*/ 7232621 w 7613003"/>
              <a:gd name="connsiteY1217" fmla="*/ 2070849 h 6367505"/>
              <a:gd name="connsiteX1218" fmla="*/ 7232621 w 7613003"/>
              <a:gd name="connsiteY1218" fmla="*/ 2084936 h 6367505"/>
              <a:gd name="connsiteX1219" fmla="*/ 7246710 w 7613003"/>
              <a:gd name="connsiteY1219" fmla="*/ 2099023 h 6367505"/>
              <a:gd name="connsiteX1220" fmla="*/ 7246710 w 7613003"/>
              <a:gd name="connsiteY1220" fmla="*/ 2113110 h 6367505"/>
              <a:gd name="connsiteX1221" fmla="*/ 7288974 w 7613003"/>
              <a:gd name="connsiteY1221" fmla="*/ 2169459 h 6367505"/>
              <a:gd name="connsiteX1222" fmla="*/ 7303063 w 7613003"/>
              <a:gd name="connsiteY1222" fmla="*/ 2225810 h 6367505"/>
              <a:gd name="connsiteX1223" fmla="*/ 7317151 w 7613003"/>
              <a:gd name="connsiteY1223" fmla="*/ 2225810 h 6367505"/>
              <a:gd name="connsiteX1224" fmla="*/ 7331240 w 7613003"/>
              <a:gd name="connsiteY1224" fmla="*/ 2268072 h 6367505"/>
              <a:gd name="connsiteX1225" fmla="*/ 7317151 w 7613003"/>
              <a:gd name="connsiteY1225" fmla="*/ 2282159 h 6367505"/>
              <a:gd name="connsiteX1226" fmla="*/ 7331240 w 7613003"/>
              <a:gd name="connsiteY1226" fmla="*/ 2296246 h 6367505"/>
              <a:gd name="connsiteX1227" fmla="*/ 7331240 w 7613003"/>
              <a:gd name="connsiteY1227" fmla="*/ 2310334 h 6367505"/>
              <a:gd name="connsiteX1228" fmla="*/ 7359416 w 7613003"/>
              <a:gd name="connsiteY1228" fmla="*/ 2408946 h 6367505"/>
              <a:gd name="connsiteX1229" fmla="*/ 7373504 w 7613003"/>
              <a:gd name="connsiteY1229" fmla="*/ 2408946 h 6367505"/>
              <a:gd name="connsiteX1230" fmla="*/ 7373504 w 7613003"/>
              <a:gd name="connsiteY1230" fmla="*/ 2437121 h 6367505"/>
              <a:gd name="connsiteX1231" fmla="*/ 7373504 w 7613003"/>
              <a:gd name="connsiteY1231" fmla="*/ 2465295 h 6367505"/>
              <a:gd name="connsiteX1232" fmla="*/ 7387591 w 7613003"/>
              <a:gd name="connsiteY1232" fmla="*/ 2521646 h 6367505"/>
              <a:gd name="connsiteX1233" fmla="*/ 7373504 w 7613003"/>
              <a:gd name="connsiteY1233" fmla="*/ 2479383 h 6367505"/>
              <a:gd name="connsiteX1234" fmla="*/ 7359416 w 7613003"/>
              <a:gd name="connsiteY1234" fmla="*/ 2451208 h 6367505"/>
              <a:gd name="connsiteX1235" fmla="*/ 7345327 w 7613003"/>
              <a:gd name="connsiteY1235" fmla="*/ 2423033 h 6367505"/>
              <a:gd name="connsiteX1236" fmla="*/ 7331240 w 7613003"/>
              <a:gd name="connsiteY1236" fmla="*/ 2380771 h 6367505"/>
              <a:gd name="connsiteX1237" fmla="*/ 7303063 w 7613003"/>
              <a:gd name="connsiteY1237" fmla="*/ 2310334 h 6367505"/>
              <a:gd name="connsiteX1238" fmla="*/ 7317151 w 7613003"/>
              <a:gd name="connsiteY1238" fmla="*/ 2352596 h 6367505"/>
              <a:gd name="connsiteX1239" fmla="*/ 7317151 w 7613003"/>
              <a:gd name="connsiteY1239" fmla="*/ 2366684 h 6367505"/>
              <a:gd name="connsiteX1240" fmla="*/ 7303063 w 7613003"/>
              <a:gd name="connsiteY1240" fmla="*/ 2352596 h 6367505"/>
              <a:gd name="connsiteX1241" fmla="*/ 7303063 w 7613003"/>
              <a:gd name="connsiteY1241" fmla="*/ 2338508 h 6367505"/>
              <a:gd name="connsiteX1242" fmla="*/ 7260798 w 7613003"/>
              <a:gd name="connsiteY1242" fmla="*/ 2225810 h 6367505"/>
              <a:gd name="connsiteX1243" fmla="*/ 7218534 w 7613003"/>
              <a:gd name="connsiteY1243" fmla="*/ 2155372 h 6367505"/>
              <a:gd name="connsiteX1244" fmla="*/ 7232621 w 7613003"/>
              <a:gd name="connsiteY1244" fmla="*/ 2211723 h 6367505"/>
              <a:gd name="connsiteX1245" fmla="*/ 7274887 w 7613003"/>
              <a:gd name="connsiteY1245" fmla="*/ 2296246 h 6367505"/>
              <a:gd name="connsiteX1246" fmla="*/ 7303063 w 7613003"/>
              <a:gd name="connsiteY1246" fmla="*/ 2352596 h 6367505"/>
              <a:gd name="connsiteX1247" fmla="*/ 7303063 w 7613003"/>
              <a:gd name="connsiteY1247" fmla="*/ 2380771 h 6367505"/>
              <a:gd name="connsiteX1248" fmla="*/ 7317151 w 7613003"/>
              <a:gd name="connsiteY1248" fmla="*/ 2394859 h 6367505"/>
              <a:gd name="connsiteX1249" fmla="*/ 7331240 w 7613003"/>
              <a:gd name="connsiteY1249" fmla="*/ 2451208 h 6367505"/>
              <a:gd name="connsiteX1250" fmla="*/ 7331240 w 7613003"/>
              <a:gd name="connsiteY1250" fmla="*/ 2465295 h 6367505"/>
              <a:gd name="connsiteX1251" fmla="*/ 7345327 w 7613003"/>
              <a:gd name="connsiteY1251" fmla="*/ 2479383 h 6367505"/>
              <a:gd name="connsiteX1252" fmla="*/ 7373504 w 7613003"/>
              <a:gd name="connsiteY1252" fmla="*/ 2549821 h 6367505"/>
              <a:gd name="connsiteX1253" fmla="*/ 7373504 w 7613003"/>
              <a:gd name="connsiteY1253" fmla="*/ 2563908 h 6367505"/>
              <a:gd name="connsiteX1254" fmla="*/ 7387591 w 7613003"/>
              <a:gd name="connsiteY1254" fmla="*/ 2563908 h 6367505"/>
              <a:gd name="connsiteX1255" fmla="*/ 7387591 w 7613003"/>
              <a:gd name="connsiteY1255" fmla="*/ 2577995 h 6367505"/>
              <a:gd name="connsiteX1256" fmla="*/ 7387591 w 7613003"/>
              <a:gd name="connsiteY1256" fmla="*/ 2592082 h 6367505"/>
              <a:gd name="connsiteX1257" fmla="*/ 7401680 w 7613003"/>
              <a:gd name="connsiteY1257" fmla="*/ 2620257 h 6367505"/>
              <a:gd name="connsiteX1258" fmla="*/ 7401680 w 7613003"/>
              <a:gd name="connsiteY1258" fmla="*/ 2634344 h 6367505"/>
              <a:gd name="connsiteX1259" fmla="*/ 7415769 w 7613003"/>
              <a:gd name="connsiteY1259" fmla="*/ 2676606 h 6367505"/>
              <a:gd name="connsiteX1260" fmla="*/ 7401680 w 7613003"/>
              <a:gd name="connsiteY1260" fmla="*/ 2662519 h 6367505"/>
              <a:gd name="connsiteX1261" fmla="*/ 7401680 w 7613003"/>
              <a:gd name="connsiteY1261" fmla="*/ 2690693 h 6367505"/>
              <a:gd name="connsiteX1262" fmla="*/ 7387591 w 7613003"/>
              <a:gd name="connsiteY1262" fmla="*/ 2662519 h 6367505"/>
              <a:gd name="connsiteX1263" fmla="*/ 7373504 w 7613003"/>
              <a:gd name="connsiteY1263" fmla="*/ 2620257 h 6367505"/>
              <a:gd name="connsiteX1264" fmla="*/ 7359416 w 7613003"/>
              <a:gd name="connsiteY1264" fmla="*/ 2577995 h 6367505"/>
              <a:gd name="connsiteX1265" fmla="*/ 7345327 w 7613003"/>
              <a:gd name="connsiteY1265" fmla="*/ 2535733 h 6367505"/>
              <a:gd name="connsiteX1266" fmla="*/ 7317151 w 7613003"/>
              <a:gd name="connsiteY1266" fmla="*/ 2451208 h 6367505"/>
              <a:gd name="connsiteX1267" fmla="*/ 7317151 w 7613003"/>
              <a:gd name="connsiteY1267" fmla="*/ 2423033 h 6367505"/>
              <a:gd name="connsiteX1268" fmla="*/ 7303063 w 7613003"/>
              <a:gd name="connsiteY1268" fmla="*/ 2423033 h 6367505"/>
              <a:gd name="connsiteX1269" fmla="*/ 7303063 w 7613003"/>
              <a:gd name="connsiteY1269" fmla="*/ 2394859 h 6367505"/>
              <a:gd name="connsiteX1270" fmla="*/ 7260798 w 7613003"/>
              <a:gd name="connsiteY1270" fmla="*/ 2324421 h 6367505"/>
              <a:gd name="connsiteX1271" fmla="*/ 7232621 w 7613003"/>
              <a:gd name="connsiteY1271" fmla="*/ 2239897 h 6367505"/>
              <a:gd name="connsiteX1272" fmla="*/ 7232621 w 7613003"/>
              <a:gd name="connsiteY1272" fmla="*/ 2253985 h 6367505"/>
              <a:gd name="connsiteX1273" fmla="*/ 7176268 w 7613003"/>
              <a:gd name="connsiteY1273" fmla="*/ 2169459 h 6367505"/>
              <a:gd name="connsiteX1274" fmla="*/ 7190357 w 7613003"/>
              <a:gd name="connsiteY1274" fmla="*/ 2197635 h 6367505"/>
              <a:gd name="connsiteX1275" fmla="*/ 7218534 w 7613003"/>
              <a:gd name="connsiteY1275" fmla="*/ 2253985 h 6367505"/>
              <a:gd name="connsiteX1276" fmla="*/ 7218534 w 7613003"/>
              <a:gd name="connsiteY1276" fmla="*/ 2268072 h 6367505"/>
              <a:gd name="connsiteX1277" fmla="*/ 7246710 w 7613003"/>
              <a:gd name="connsiteY1277" fmla="*/ 2324421 h 6367505"/>
              <a:gd name="connsiteX1278" fmla="*/ 7246710 w 7613003"/>
              <a:gd name="connsiteY1278" fmla="*/ 2352596 h 6367505"/>
              <a:gd name="connsiteX1279" fmla="*/ 7232621 w 7613003"/>
              <a:gd name="connsiteY1279" fmla="*/ 2324421 h 6367505"/>
              <a:gd name="connsiteX1280" fmla="*/ 7232621 w 7613003"/>
              <a:gd name="connsiteY1280" fmla="*/ 2338508 h 6367505"/>
              <a:gd name="connsiteX1281" fmla="*/ 7204445 w 7613003"/>
              <a:gd name="connsiteY1281" fmla="*/ 2282159 h 6367505"/>
              <a:gd name="connsiteX1282" fmla="*/ 7190357 w 7613003"/>
              <a:gd name="connsiteY1282" fmla="*/ 2239897 h 6367505"/>
              <a:gd name="connsiteX1283" fmla="*/ 7176268 w 7613003"/>
              <a:gd name="connsiteY1283" fmla="*/ 2197635 h 6367505"/>
              <a:gd name="connsiteX1284" fmla="*/ 7162181 w 7613003"/>
              <a:gd name="connsiteY1284" fmla="*/ 2183548 h 6367505"/>
              <a:gd name="connsiteX1285" fmla="*/ 7176268 w 7613003"/>
              <a:gd name="connsiteY1285" fmla="*/ 2225810 h 6367505"/>
              <a:gd name="connsiteX1286" fmla="*/ 7190357 w 7613003"/>
              <a:gd name="connsiteY1286" fmla="*/ 2296246 h 6367505"/>
              <a:gd name="connsiteX1287" fmla="*/ 7204445 w 7613003"/>
              <a:gd name="connsiteY1287" fmla="*/ 2310334 h 6367505"/>
              <a:gd name="connsiteX1288" fmla="*/ 7204445 w 7613003"/>
              <a:gd name="connsiteY1288" fmla="*/ 2324421 h 6367505"/>
              <a:gd name="connsiteX1289" fmla="*/ 7246710 w 7613003"/>
              <a:gd name="connsiteY1289" fmla="*/ 2408946 h 6367505"/>
              <a:gd name="connsiteX1290" fmla="*/ 7274887 w 7613003"/>
              <a:gd name="connsiteY1290" fmla="*/ 2479383 h 6367505"/>
              <a:gd name="connsiteX1291" fmla="*/ 7288974 w 7613003"/>
              <a:gd name="connsiteY1291" fmla="*/ 2493470 h 6367505"/>
              <a:gd name="connsiteX1292" fmla="*/ 7288974 w 7613003"/>
              <a:gd name="connsiteY1292" fmla="*/ 2521646 h 6367505"/>
              <a:gd name="connsiteX1293" fmla="*/ 7317151 w 7613003"/>
              <a:gd name="connsiteY1293" fmla="*/ 2606170 h 6367505"/>
              <a:gd name="connsiteX1294" fmla="*/ 7331240 w 7613003"/>
              <a:gd name="connsiteY1294" fmla="*/ 2648431 h 6367505"/>
              <a:gd name="connsiteX1295" fmla="*/ 7345327 w 7613003"/>
              <a:gd name="connsiteY1295" fmla="*/ 2690693 h 6367505"/>
              <a:gd name="connsiteX1296" fmla="*/ 7331240 w 7613003"/>
              <a:gd name="connsiteY1296" fmla="*/ 2662519 h 6367505"/>
              <a:gd name="connsiteX1297" fmla="*/ 7303063 w 7613003"/>
              <a:gd name="connsiteY1297" fmla="*/ 2620257 h 6367505"/>
              <a:gd name="connsiteX1298" fmla="*/ 7303063 w 7613003"/>
              <a:gd name="connsiteY1298" fmla="*/ 2606170 h 6367505"/>
              <a:gd name="connsiteX1299" fmla="*/ 7303063 w 7613003"/>
              <a:gd name="connsiteY1299" fmla="*/ 2592082 h 6367505"/>
              <a:gd name="connsiteX1300" fmla="*/ 7288974 w 7613003"/>
              <a:gd name="connsiteY1300" fmla="*/ 2577995 h 6367505"/>
              <a:gd name="connsiteX1301" fmla="*/ 7288974 w 7613003"/>
              <a:gd name="connsiteY1301" fmla="*/ 2563908 h 6367505"/>
              <a:gd name="connsiteX1302" fmla="*/ 7288974 w 7613003"/>
              <a:gd name="connsiteY1302" fmla="*/ 2549821 h 6367505"/>
              <a:gd name="connsiteX1303" fmla="*/ 7274887 w 7613003"/>
              <a:gd name="connsiteY1303" fmla="*/ 2549821 h 6367505"/>
              <a:gd name="connsiteX1304" fmla="*/ 7288974 w 7613003"/>
              <a:gd name="connsiteY1304" fmla="*/ 2606170 h 6367505"/>
              <a:gd name="connsiteX1305" fmla="*/ 7303063 w 7613003"/>
              <a:gd name="connsiteY1305" fmla="*/ 2634344 h 6367505"/>
              <a:gd name="connsiteX1306" fmla="*/ 7331240 w 7613003"/>
              <a:gd name="connsiteY1306" fmla="*/ 2704782 h 6367505"/>
              <a:gd name="connsiteX1307" fmla="*/ 7345327 w 7613003"/>
              <a:gd name="connsiteY1307" fmla="*/ 2761131 h 6367505"/>
              <a:gd name="connsiteX1308" fmla="*/ 7345327 w 7613003"/>
              <a:gd name="connsiteY1308" fmla="*/ 2775218 h 6367505"/>
              <a:gd name="connsiteX1309" fmla="*/ 7345327 w 7613003"/>
              <a:gd name="connsiteY1309" fmla="*/ 2789306 h 6367505"/>
              <a:gd name="connsiteX1310" fmla="*/ 7303063 w 7613003"/>
              <a:gd name="connsiteY1310" fmla="*/ 2690693 h 6367505"/>
              <a:gd name="connsiteX1311" fmla="*/ 7288974 w 7613003"/>
              <a:gd name="connsiteY1311" fmla="*/ 2648431 h 6367505"/>
              <a:gd name="connsiteX1312" fmla="*/ 7274887 w 7613003"/>
              <a:gd name="connsiteY1312" fmla="*/ 2592082 h 6367505"/>
              <a:gd name="connsiteX1313" fmla="*/ 7232621 w 7613003"/>
              <a:gd name="connsiteY1313" fmla="*/ 2479383 h 6367505"/>
              <a:gd name="connsiteX1314" fmla="*/ 7204445 w 7613003"/>
              <a:gd name="connsiteY1314" fmla="*/ 2408946 h 6367505"/>
              <a:gd name="connsiteX1315" fmla="*/ 7190357 w 7613003"/>
              <a:gd name="connsiteY1315" fmla="*/ 2394859 h 6367505"/>
              <a:gd name="connsiteX1316" fmla="*/ 7162181 w 7613003"/>
              <a:gd name="connsiteY1316" fmla="*/ 2352596 h 6367505"/>
              <a:gd name="connsiteX1317" fmla="*/ 7162181 w 7613003"/>
              <a:gd name="connsiteY1317" fmla="*/ 2324421 h 6367505"/>
              <a:gd name="connsiteX1318" fmla="*/ 7148092 w 7613003"/>
              <a:gd name="connsiteY1318" fmla="*/ 2324421 h 6367505"/>
              <a:gd name="connsiteX1319" fmla="*/ 7148092 w 7613003"/>
              <a:gd name="connsiteY1319" fmla="*/ 2310334 h 6367505"/>
              <a:gd name="connsiteX1320" fmla="*/ 7119917 w 7613003"/>
              <a:gd name="connsiteY1320" fmla="*/ 2253985 h 6367505"/>
              <a:gd name="connsiteX1321" fmla="*/ 7077651 w 7613003"/>
              <a:gd name="connsiteY1321" fmla="*/ 2183548 h 6367505"/>
              <a:gd name="connsiteX1322" fmla="*/ 7063564 w 7613003"/>
              <a:gd name="connsiteY1322" fmla="*/ 2169459 h 6367505"/>
              <a:gd name="connsiteX1323" fmla="*/ 7049475 w 7613003"/>
              <a:gd name="connsiteY1323" fmla="*/ 2127198 h 6367505"/>
              <a:gd name="connsiteX1324" fmla="*/ 7021298 w 7613003"/>
              <a:gd name="connsiteY1324" fmla="*/ 2099023 h 6367505"/>
              <a:gd name="connsiteX1325" fmla="*/ 6979034 w 7613003"/>
              <a:gd name="connsiteY1325" fmla="*/ 2042674 h 6367505"/>
              <a:gd name="connsiteX1326" fmla="*/ 6979034 w 7613003"/>
              <a:gd name="connsiteY1326" fmla="*/ 2028587 h 6367505"/>
              <a:gd name="connsiteX1327" fmla="*/ 6936769 w 7613003"/>
              <a:gd name="connsiteY1327" fmla="*/ 1986323 h 6367505"/>
              <a:gd name="connsiteX1328" fmla="*/ 6936769 w 7613003"/>
              <a:gd name="connsiteY1328" fmla="*/ 2000412 h 6367505"/>
              <a:gd name="connsiteX1329" fmla="*/ 6950858 w 7613003"/>
              <a:gd name="connsiteY1329" fmla="*/ 2014499 h 6367505"/>
              <a:gd name="connsiteX1330" fmla="*/ 6964945 w 7613003"/>
              <a:gd name="connsiteY1330" fmla="*/ 2042674 h 6367505"/>
              <a:gd name="connsiteX1331" fmla="*/ 6979034 w 7613003"/>
              <a:gd name="connsiteY1331" fmla="*/ 2056761 h 6367505"/>
              <a:gd name="connsiteX1332" fmla="*/ 7021298 w 7613003"/>
              <a:gd name="connsiteY1332" fmla="*/ 2127198 h 6367505"/>
              <a:gd name="connsiteX1333" fmla="*/ 7035386 w 7613003"/>
              <a:gd name="connsiteY1333" fmla="*/ 2155372 h 6367505"/>
              <a:gd name="connsiteX1334" fmla="*/ 7091739 w 7613003"/>
              <a:gd name="connsiteY1334" fmla="*/ 2253985 h 6367505"/>
              <a:gd name="connsiteX1335" fmla="*/ 7077651 w 7613003"/>
              <a:gd name="connsiteY1335" fmla="*/ 2239897 h 6367505"/>
              <a:gd name="connsiteX1336" fmla="*/ 7021298 w 7613003"/>
              <a:gd name="connsiteY1336" fmla="*/ 2155372 h 6367505"/>
              <a:gd name="connsiteX1337" fmla="*/ 7007211 w 7613003"/>
              <a:gd name="connsiteY1337" fmla="*/ 2141285 h 6367505"/>
              <a:gd name="connsiteX1338" fmla="*/ 7007211 w 7613003"/>
              <a:gd name="connsiteY1338" fmla="*/ 2127198 h 6367505"/>
              <a:gd name="connsiteX1339" fmla="*/ 6993122 w 7613003"/>
              <a:gd name="connsiteY1339" fmla="*/ 2099023 h 6367505"/>
              <a:gd name="connsiteX1340" fmla="*/ 6979034 w 7613003"/>
              <a:gd name="connsiteY1340" fmla="*/ 2084936 h 6367505"/>
              <a:gd name="connsiteX1341" fmla="*/ 6979034 w 7613003"/>
              <a:gd name="connsiteY1341" fmla="*/ 2070849 h 6367505"/>
              <a:gd name="connsiteX1342" fmla="*/ 6964945 w 7613003"/>
              <a:gd name="connsiteY1342" fmla="*/ 2056761 h 6367505"/>
              <a:gd name="connsiteX1343" fmla="*/ 6950858 w 7613003"/>
              <a:gd name="connsiteY1343" fmla="*/ 2042674 h 6367505"/>
              <a:gd name="connsiteX1344" fmla="*/ 6936769 w 7613003"/>
              <a:gd name="connsiteY1344" fmla="*/ 2028587 h 6367505"/>
              <a:gd name="connsiteX1345" fmla="*/ 6936769 w 7613003"/>
              <a:gd name="connsiteY1345" fmla="*/ 2014499 h 6367505"/>
              <a:gd name="connsiteX1346" fmla="*/ 6908593 w 7613003"/>
              <a:gd name="connsiteY1346" fmla="*/ 2000412 h 6367505"/>
              <a:gd name="connsiteX1347" fmla="*/ 6908593 w 7613003"/>
              <a:gd name="connsiteY1347" fmla="*/ 1986323 h 6367505"/>
              <a:gd name="connsiteX1348" fmla="*/ 6866328 w 7613003"/>
              <a:gd name="connsiteY1348" fmla="*/ 1944061 h 6367505"/>
              <a:gd name="connsiteX1349" fmla="*/ 6866328 w 7613003"/>
              <a:gd name="connsiteY1349" fmla="*/ 1929974 h 6367505"/>
              <a:gd name="connsiteX1350" fmla="*/ 6852240 w 7613003"/>
              <a:gd name="connsiteY1350" fmla="*/ 1915887 h 6367505"/>
              <a:gd name="connsiteX1351" fmla="*/ 6809975 w 7613003"/>
              <a:gd name="connsiteY1351" fmla="*/ 1873625 h 6367505"/>
              <a:gd name="connsiteX1352" fmla="*/ 6781799 w 7613003"/>
              <a:gd name="connsiteY1352" fmla="*/ 1831363 h 6367505"/>
              <a:gd name="connsiteX1353" fmla="*/ 6767710 w 7613003"/>
              <a:gd name="connsiteY1353" fmla="*/ 1831363 h 6367505"/>
              <a:gd name="connsiteX1354" fmla="*/ 6753622 w 7613003"/>
              <a:gd name="connsiteY1354" fmla="*/ 1803188 h 6367505"/>
              <a:gd name="connsiteX1355" fmla="*/ 6711357 w 7613003"/>
              <a:gd name="connsiteY1355" fmla="*/ 1760925 h 6367505"/>
              <a:gd name="connsiteX1356" fmla="*/ 6697269 w 7613003"/>
              <a:gd name="connsiteY1356" fmla="*/ 1760925 h 6367505"/>
              <a:gd name="connsiteX1357" fmla="*/ 6697269 w 7613003"/>
              <a:gd name="connsiteY1357" fmla="*/ 1746838 h 6367505"/>
              <a:gd name="connsiteX1358" fmla="*/ 6683181 w 7613003"/>
              <a:gd name="connsiteY1358" fmla="*/ 1732751 h 6367505"/>
              <a:gd name="connsiteX1359" fmla="*/ 6655004 w 7613003"/>
              <a:gd name="connsiteY1359" fmla="*/ 1704576 h 6367505"/>
              <a:gd name="connsiteX1360" fmla="*/ 6640916 w 7613003"/>
              <a:gd name="connsiteY1360" fmla="*/ 1690489 h 6367505"/>
              <a:gd name="connsiteX1361" fmla="*/ 6612740 w 7613003"/>
              <a:gd name="connsiteY1361" fmla="*/ 1676401 h 6367505"/>
              <a:gd name="connsiteX1362" fmla="*/ 6598651 w 7613003"/>
              <a:gd name="connsiteY1362" fmla="*/ 1662314 h 6367505"/>
              <a:gd name="connsiteX1363" fmla="*/ 6598651 w 7613003"/>
              <a:gd name="connsiteY1363" fmla="*/ 1648227 h 6367505"/>
              <a:gd name="connsiteX1364" fmla="*/ 6584563 w 7613003"/>
              <a:gd name="connsiteY1364" fmla="*/ 1648227 h 6367505"/>
              <a:gd name="connsiteX1365" fmla="*/ 6570476 w 7613003"/>
              <a:gd name="connsiteY1365" fmla="*/ 1634138 h 6367505"/>
              <a:gd name="connsiteX1366" fmla="*/ 6556387 w 7613003"/>
              <a:gd name="connsiteY1366" fmla="*/ 1620051 h 6367505"/>
              <a:gd name="connsiteX1367" fmla="*/ 6542298 w 7613003"/>
              <a:gd name="connsiteY1367" fmla="*/ 1605964 h 6367505"/>
              <a:gd name="connsiteX1368" fmla="*/ 6485946 w 7613003"/>
              <a:gd name="connsiteY1368" fmla="*/ 1563702 h 6367505"/>
              <a:gd name="connsiteX1369" fmla="*/ 6457770 w 7613003"/>
              <a:gd name="connsiteY1369" fmla="*/ 1535527 h 6367505"/>
              <a:gd name="connsiteX1370" fmla="*/ 6443681 w 7613003"/>
              <a:gd name="connsiteY1370" fmla="*/ 1535527 h 6367505"/>
              <a:gd name="connsiteX1371" fmla="*/ 6471858 w 7613003"/>
              <a:gd name="connsiteY1371" fmla="*/ 1563702 h 6367505"/>
              <a:gd name="connsiteX1372" fmla="*/ 6471858 w 7613003"/>
              <a:gd name="connsiteY1372" fmla="*/ 1577789 h 6367505"/>
              <a:gd name="connsiteX1373" fmla="*/ 6485946 w 7613003"/>
              <a:gd name="connsiteY1373" fmla="*/ 1591876 h 6367505"/>
              <a:gd name="connsiteX1374" fmla="*/ 6500034 w 7613003"/>
              <a:gd name="connsiteY1374" fmla="*/ 1605964 h 6367505"/>
              <a:gd name="connsiteX1375" fmla="*/ 6514123 w 7613003"/>
              <a:gd name="connsiteY1375" fmla="*/ 1620051 h 6367505"/>
              <a:gd name="connsiteX1376" fmla="*/ 6485946 w 7613003"/>
              <a:gd name="connsiteY1376" fmla="*/ 1605964 h 6367505"/>
              <a:gd name="connsiteX1377" fmla="*/ 6471858 w 7613003"/>
              <a:gd name="connsiteY1377" fmla="*/ 1591876 h 6367505"/>
              <a:gd name="connsiteX1378" fmla="*/ 6457770 w 7613003"/>
              <a:gd name="connsiteY1378" fmla="*/ 1591876 h 6367505"/>
              <a:gd name="connsiteX1379" fmla="*/ 6443681 w 7613003"/>
              <a:gd name="connsiteY1379" fmla="*/ 1563702 h 6367505"/>
              <a:gd name="connsiteX1380" fmla="*/ 6427832 w 7613003"/>
              <a:gd name="connsiteY1380" fmla="*/ 1542571 h 6367505"/>
              <a:gd name="connsiteX1381" fmla="*/ 6414624 w 7613003"/>
              <a:gd name="connsiteY1381" fmla="*/ 1532005 h 6367505"/>
              <a:gd name="connsiteX1382" fmla="*/ 6413744 w 7613003"/>
              <a:gd name="connsiteY1382" fmla="*/ 1528484 h 6367505"/>
              <a:gd name="connsiteX1383" fmla="*/ 6401417 w 7613003"/>
              <a:gd name="connsiteY1383" fmla="*/ 1521440 h 6367505"/>
              <a:gd name="connsiteX1384" fmla="*/ 6387328 w 7613003"/>
              <a:gd name="connsiteY1384" fmla="*/ 1507353 h 6367505"/>
              <a:gd name="connsiteX1385" fmla="*/ 6373240 w 7613003"/>
              <a:gd name="connsiteY1385" fmla="*/ 1507353 h 6367505"/>
              <a:gd name="connsiteX1386" fmla="*/ 6415505 w 7613003"/>
              <a:gd name="connsiteY1386" fmla="*/ 1549614 h 6367505"/>
              <a:gd name="connsiteX1387" fmla="*/ 6330975 w 7613003"/>
              <a:gd name="connsiteY1387" fmla="*/ 1479178 h 6367505"/>
              <a:gd name="connsiteX1388" fmla="*/ 6330975 w 7613003"/>
              <a:gd name="connsiteY1388" fmla="*/ 1465089 h 6367505"/>
              <a:gd name="connsiteX1389" fmla="*/ 6330975 w 7613003"/>
              <a:gd name="connsiteY1389" fmla="*/ 1465089 h 6367505"/>
              <a:gd name="connsiteX1390" fmla="*/ 6316888 w 7613003"/>
              <a:gd name="connsiteY1390" fmla="*/ 1465089 h 6367505"/>
              <a:gd name="connsiteX1391" fmla="*/ 6302799 w 7613003"/>
              <a:gd name="connsiteY1391" fmla="*/ 1451002 h 6367505"/>
              <a:gd name="connsiteX1392" fmla="*/ 6246446 w 7613003"/>
              <a:gd name="connsiteY1392" fmla="*/ 1408740 h 6367505"/>
              <a:gd name="connsiteX1393" fmla="*/ 6239403 w 7613003"/>
              <a:gd name="connsiteY1393" fmla="*/ 1408740 h 6367505"/>
              <a:gd name="connsiteX1394" fmla="*/ 6237641 w 7613003"/>
              <a:gd name="connsiteY1394" fmla="*/ 1408740 h 6367505"/>
              <a:gd name="connsiteX1395" fmla="*/ 6232358 w 7613003"/>
              <a:gd name="connsiteY1395" fmla="*/ 1408740 h 6367505"/>
              <a:gd name="connsiteX1396" fmla="*/ 6204182 w 7613003"/>
              <a:gd name="connsiteY1396" fmla="*/ 1394653 h 6367505"/>
              <a:gd name="connsiteX1397" fmla="*/ 6190093 w 7613003"/>
              <a:gd name="connsiteY1397" fmla="*/ 1380566 h 6367505"/>
              <a:gd name="connsiteX1398" fmla="*/ 6119652 w 7613003"/>
              <a:gd name="connsiteY1398" fmla="*/ 1352391 h 6367505"/>
              <a:gd name="connsiteX1399" fmla="*/ 6105565 w 7613003"/>
              <a:gd name="connsiteY1399" fmla="*/ 1338304 h 6367505"/>
              <a:gd name="connsiteX1400" fmla="*/ 6091476 w 7613003"/>
              <a:gd name="connsiteY1400" fmla="*/ 1324216 h 6367505"/>
              <a:gd name="connsiteX1401" fmla="*/ 6077388 w 7613003"/>
              <a:gd name="connsiteY1401" fmla="*/ 1324216 h 6367505"/>
              <a:gd name="connsiteX1402" fmla="*/ 6077388 w 7613003"/>
              <a:gd name="connsiteY1402" fmla="*/ 1324216 h 6367505"/>
              <a:gd name="connsiteX1403" fmla="*/ 6119652 w 7613003"/>
              <a:gd name="connsiteY1403" fmla="*/ 1366478 h 6367505"/>
              <a:gd name="connsiteX1404" fmla="*/ 6147829 w 7613003"/>
              <a:gd name="connsiteY1404" fmla="*/ 1375282 h 6367505"/>
              <a:gd name="connsiteX1405" fmla="*/ 6155514 w 7613003"/>
              <a:gd name="connsiteY1405" fmla="*/ 1380566 h 6367505"/>
              <a:gd name="connsiteX1406" fmla="*/ 6154873 w 7613003"/>
              <a:gd name="connsiteY1406" fmla="*/ 1380566 h 6367505"/>
              <a:gd name="connsiteX1407" fmla="*/ 6147829 w 7613003"/>
              <a:gd name="connsiteY1407" fmla="*/ 1380566 h 6367505"/>
              <a:gd name="connsiteX1408" fmla="*/ 6161916 w 7613003"/>
              <a:gd name="connsiteY1408" fmla="*/ 1394653 h 6367505"/>
              <a:gd name="connsiteX1409" fmla="*/ 6190093 w 7613003"/>
              <a:gd name="connsiteY1409" fmla="*/ 1422828 h 6367505"/>
              <a:gd name="connsiteX1410" fmla="*/ 6204182 w 7613003"/>
              <a:gd name="connsiteY1410" fmla="*/ 1422828 h 6367505"/>
              <a:gd name="connsiteX1411" fmla="*/ 6260535 w 7613003"/>
              <a:gd name="connsiteY1411" fmla="*/ 1465089 h 6367505"/>
              <a:gd name="connsiteX1412" fmla="*/ 6302799 w 7613003"/>
              <a:gd name="connsiteY1412" fmla="*/ 1493265 h 6367505"/>
              <a:gd name="connsiteX1413" fmla="*/ 6373240 w 7613003"/>
              <a:gd name="connsiteY1413" fmla="*/ 1535527 h 6367505"/>
              <a:gd name="connsiteX1414" fmla="*/ 6387328 w 7613003"/>
              <a:gd name="connsiteY1414" fmla="*/ 1549614 h 6367505"/>
              <a:gd name="connsiteX1415" fmla="*/ 6401417 w 7613003"/>
              <a:gd name="connsiteY1415" fmla="*/ 1563702 h 6367505"/>
              <a:gd name="connsiteX1416" fmla="*/ 6415505 w 7613003"/>
              <a:gd name="connsiteY1416" fmla="*/ 1577789 h 6367505"/>
              <a:gd name="connsiteX1417" fmla="*/ 6401417 w 7613003"/>
              <a:gd name="connsiteY1417" fmla="*/ 1577789 h 6367505"/>
              <a:gd name="connsiteX1418" fmla="*/ 6429593 w 7613003"/>
              <a:gd name="connsiteY1418" fmla="*/ 1605964 h 6367505"/>
              <a:gd name="connsiteX1419" fmla="*/ 6443681 w 7613003"/>
              <a:gd name="connsiteY1419" fmla="*/ 1620051 h 6367505"/>
              <a:gd name="connsiteX1420" fmla="*/ 6457770 w 7613003"/>
              <a:gd name="connsiteY1420" fmla="*/ 1620051 h 6367505"/>
              <a:gd name="connsiteX1421" fmla="*/ 6485946 w 7613003"/>
              <a:gd name="connsiteY1421" fmla="*/ 1648227 h 6367505"/>
              <a:gd name="connsiteX1422" fmla="*/ 6528211 w 7613003"/>
              <a:gd name="connsiteY1422" fmla="*/ 1690489 h 6367505"/>
              <a:gd name="connsiteX1423" fmla="*/ 6528211 w 7613003"/>
              <a:gd name="connsiteY1423" fmla="*/ 1704576 h 6367505"/>
              <a:gd name="connsiteX1424" fmla="*/ 6471858 w 7613003"/>
              <a:gd name="connsiteY1424" fmla="*/ 1648227 h 6367505"/>
              <a:gd name="connsiteX1425" fmla="*/ 6500034 w 7613003"/>
              <a:gd name="connsiteY1425" fmla="*/ 1690489 h 6367505"/>
              <a:gd name="connsiteX1426" fmla="*/ 6514123 w 7613003"/>
              <a:gd name="connsiteY1426" fmla="*/ 1704576 h 6367505"/>
              <a:gd name="connsiteX1427" fmla="*/ 6500034 w 7613003"/>
              <a:gd name="connsiteY1427" fmla="*/ 1704576 h 6367505"/>
              <a:gd name="connsiteX1428" fmla="*/ 6542298 w 7613003"/>
              <a:gd name="connsiteY1428" fmla="*/ 1732751 h 6367505"/>
              <a:gd name="connsiteX1429" fmla="*/ 6598651 w 7613003"/>
              <a:gd name="connsiteY1429" fmla="*/ 1803188 h 6367505"/>
              <a:gd name="connsiteX1430" fmla="*/ 6612740 w 7613003"/>
              <a:gd name="connsiteY1430" fmla="*/ 1803188 h 6367505"/>
              <a:gd name="connsiteX1431" fmla="*/ 6612740 w 7613003"/>
              <a:gd name="connsiteY1431" fmla="*/ 1817276 h 6367505"/>
              <a:gd name="connsiteX1432" fmla="*/ 6626829 w 7613003"/>
              <a:gd name="connsiteY1432" fmla="*/ 1817276 h 6367505"/>
              <a:gd name="connsiteX1433" fmla="*/ 6640916 w 7613003"/>
              <a:gd name="connsiteY1433" fmla="*/ 1859538 h 6367505"/>
              <a:gd name="connsiteX1434" fmla="*/ 6640916 w 7613003"/>
              <a:gd name="connsiteY1434" fmla="*/ 1873625 h 6367505"/>
              <a:gd name="connsiteX1435" fmla="*/ 6655004 w 7613003"/>
              <a:gd name="connsiteY1435" fmla="*/ 1915887 h 6367505"/>
              <a:gd name="connsiteX1436" fmla="*/ 6683181 w 7613003"/>
              <a:gd name="connsiteY1436" fmla="*/ 1958149 h 6367505"/>
              <a:gd name="connsiteX1437" fmla="*/ 6697269 w 7613003"/>
              <a:gd name="connsiteY1437" fmla="*/ 1972236 h 6367505"/>
              <a:gd name="connsiteX1438" fmla="*/ 6697269 w 7613003"/>
              <a:gd name="connsiteY1438" fmla="*/ 1986323 h 6367505"/>
              <a:gd name="connsiteX1439" fmla="*/ 6655004 w 7613003"/>
              <a:gd name="connsiteY1439" fmla="*/ 1944061 h 6367505"/>
              <a:gd name="connsiteX1440" fmla="*/ 6626829 w 7613003"/>
              <a:gd name="connsiteY1440" fmla="*/ 1929974 h 6367505"/>
              <a:gd name="connsiteX1441" fmla="*/ 6598651 w 7613003"/>
              <a:gd name="connsiteY1441" fmla="*/ 1887712 h 6367505"/>
              <a:gd name="connsiteX1442" fmla="*/ 6584563 w 7613003"/>
              <a:gd name="connsiteY1442" fmla="*/ 1873625 h 6367505"/>
              <a:gd name="connsiteX1443" fmla="*/ 6570476 w 7613003"/>
              <a:gd name="connsiteY1443" fmla="*/ 1859538 h 6367505"/>
              <a:gd name="connsiteX1444" fmla="*/ 6528211 w 7613003"/>
              <a:gd name="connsiteY1444" fmla="*/ 1831363 h 6367505"/>
              <a:gd name="connsiteX1445" fmla="*/ 6500034 w 7613003"/>
              <a:gd name="connsiteY1445" fmla="*/ 1803188 h 6367505"/>
              <a:gd name="connsiteX1446" fmla="*/ 6471858 w 7613003"/>
              <a:gd name="connsiteY1446" fmla="*/ 1775013 h 6367505"/>
              <a:gd name="connsiteX1447" fmla="*/ 6401417 w 7613003"/>
              <a:gd name="connsiteY1447" fmla="*/ 1704576 h 6367505"/>
              <a:gd name="connsiteX1448" fmla="*/ 6316888 w 7613003"/>
              <a:gd name="connsiteY1448" fmla="*/ 1634138 h 6367505"/>
              <a:gd name="connsiteX1449" fmla="*/ 6288711 w 7613003"/>
              <a:gd name="connsiteY1449" fmla="*/ 1620051 h 6367505"/>
              <a:gd name="connsiteX1450" fmla="*/ 6274622 w 7613003"/>
              <a:gd name="connsiteY1450" fmla="*/ 1605964 h 6367505"/>
              <a:gd name="connsiteX1451" fmla="*/ 6232358 w 7613003"/>
              <a:gd name="connsiteY1451" fmla="*/ 1577789 h 6367505"/>
              <a:gd name="connsiteX1452" fmla="*/ 6161916 w 7613003"/>
              <a:gd name="connsiteY1452" fmla="*/ 1535527 h 6367505"/>
              <a:gd name="connsiteX1453" fmla="*/ 6119652 w 7613003"/>
              <a:gd name="connsiteY1453" fmla="*/ 1507353 h 6367505"/>
              <a:gd name="connsiteX1454" fmla="*/ 6091476 w 7613003"/>
              <a:gd name="connsiteY1454" fmla="*/ 1493265 h 6367505"/>
              <a:gd name="connsiteX1455" fmla="*/ 6035123 w 7613003"/>
              <a:gd name="connsiteY1455" fmla="*/ 1465089 h 6367505"/>
              <a:gd name="connsiteX1456" fmla="*/ 6021035 w 7613003"/>
              <a:gd name="connsiteY1456" fmla="*/ 1451002 h 6367505"/>
              <a:gd name="connsiteX1457" fmla="*/ 5992859 w 7613003"/>
              <a:gd name="connsiteY1457" fmla="*/ 1436915 h 6367505"/>
              <a:gd name="connsiteX1458" fmla="*/ 6006946 w 7613003"/>
              <a:gd name="connsiteY1458" fmla="*/ 1451002 h 6367505"/>
              <a:gd name="connsiteX1459" fmla="*/ 5964682 w 7613003"/>
              <a:gd name="connsiteY1459" fmla="*/ 1436915 h 6367505"/>
              <a:gd name="connsiteX1460" fmla="*/ 5950593 w 7613003"/>
              <a:gd name="connsiteY1460" fmla="*/ 1422828 h 6367505"/>
              <a:gd name="connsiteX1461" fmla="*/ 5936506 w 7613003"/>
              <a:gd name="connsiteY1461" fmla="*/ 1408740 h 6367505"/>
              <a:gd name="connsiteX1462" fmla="*/ 5922417 w 7613003"/>
              <a:gd name="connsiteY1462" fmla="*/ 1408740 h 6367505"/>
              <a:gd name="connsiteX1463" fmla="*/ 5908329 w 7613003"/>
              <a:gd name="connsiteY1463" fmla="*/ 1394653 h 6367505"/>
              <a:gd name="connsiteX1464" fmla="*/ 5894240 w 7613003"/>
              <a:gd name="connsiteY1464" fmla="*/ 1394653 h 6367505"/>
              <a:gd name="connsiteX1465" fmla="*/ 5866064 w 7613003"/>
              <a:gd name="connsiteY1465" fmla="*/ 1380566 h 6367505"/>
              <a:gd name="connsiteX1466" fmla="*/ 5851976 w 7613003"/>
              <a:gd name="connsiteY1466" fmla="*/ 1366478 h 6367505"/>
              <a:gd name="connsiteX1467" fmla="*/ 5781535 w 7613003"/>
              <a:gd name="connsiteY1467" fmla="*/ 1352391 h 6367505"/>
              <a:gd name="connsiteX1468" fmla="*/ 5781535 w 7613003"/>
              <a:gd name="connsiteY1468" fmla="*/ 1338304 h 6367505"/>
              <a:gd name="connsiteX1469" fmla="*/ 5776252 w 7613003"/>
              <a:gd name="connsiteY1469" fmla="*/ 1338304 h 6367505"/>
              <a:gd name="connsiteX1470" fmla="*/ 5775592 w 7613003"/>
              <a:gd name="connsiteY1470" fmla="*/ 1338304 h 6367505"/>
              <a:gd name="connsiteX1471" fmla="*/ 5774492 w 7613003"/>
              <a:gd name="connsiteY1471" fmla="*/ 1338304 h 6367505"/>
              <a:gd name="connsiteX1472" fmla="*/ 5767447 w 7613003"/>
              <a:gd name="connsiteY1472" fmla="*/ 1338304 h 6367505"/>
              <a:gd name="connsiteX1473" fmla="*/ 5725182 w 7613003"/>
              <a:gd name="connsiteY1473" fmla="*/ 1324216 h 6367505"/>
              <a:gd name="connsiteX1474" fmla="*/ 5697005 w 7613003"/>
              <a:gd name="connsiteY1474" fmla="*/ 1324216 h 6367505"/>
              <a:gd name="connsiteX1475" fmla="*/ 5668829 w 7613003"/>
              <a:gd name="connsiteY1475" fmla="*/ 1310129 h 6367505"/>
              <a:gd name="connsiteX1476" fmla="*/ 5640652 w 7613003"/>
              <a:gd name="connsiteY1476" fmla="*/ 1296041 h 6367505"/>
              <a:gd name="connsiteX1477" fmla="*/ 5612477 w 7613003"/>
              <a:gd name="connsiteY1477" fmla="*/ 1296041 h 6367505"/>
              <a:gd name="connsiteX1478" fmla="*/ 5556124 w 7613003"/>
              <a:gd name="connsiteY1478" fmla="*/ 1267866 h 6367505"/>
              <a:gd name="connsiteX1479" fmla="*/ 5542035 w 7613003"/>
              <a:gd name="connsiteY1479" fmla="*/ 1267866 h 6367505"/>
              <a:gd name="connsiteX1480" fmla="*/ 5527947 w 7613003"/>
              <a:gd name="connsiteY1480" fmla="*/ 1253779 h 6367505"/>
              <a:gd name="connsiteX1481" fmla="*/ 5513859 w 7613003"/>
              <a:gd name="connsiteY1481" fmla="*/ 1267866 h 6367505"/>
              <a:gd name="connsiteX1482" fmla="*/ 5513859 w 7613003"/>
              <a:gd name="connsiteY1482" fmla="*/ 1281953 h 6367505"/>
              <a:gd name="connsiteX1483" fmla="*/ 5527947 w 7613003"/>
              <a:gd name="connsiteY1483" fmla="*/ 1281953 h 6367505"/>
              <a:gd name="connsiteX1484" fmla="*/ 5542035 w 7613003"/>
              <a:gd name="connsiteY1484" fmla="*/ 1281953 h 6367505"/>
              <a:gd name="connsiteX1485" fmla="*/ 5584299 w 7613003"/>
              <a:gd name="connsiteY1485" fmla="*/ 1310129 h 6367505"/>
              <a:gd name="connsiteX1486" fmla="*/ 5570212 w 7613003"/>
              <a:gd name="connsiteY1486" fmla="*/ 1296041 h 6367505"/>
              <a:gd name="connsiteX1487" fmla="*/ 5612477 w 7613003"/>
              <a:gd name="connsiteY1487" fmla="*/ 1310129 h 6367505"/>
              <a:gd name="connsiteX1488" fmla="*/ 5612477 w 7613003"/>
              <a:gd name="connsiteY1488" fmla="*/ 1324216 h 6367505"/>
              <a:gd name="connsiteX1489" fmla="*/ 5640652 w 7613003"/>
              <a:gd name="connsiteY1489" fmla="*/ 1338304 h 6367505"/>
              <a:gd name="connsiteX1490" fmla="*/ 5612477 w 7613003"/>
              <a:gd name="connsiteY1490" fmla="*/ 1338304 h 6367505"/>
              <a:gd name="connsiteX1491" fmla="*/ 5570212 w 7613003"/>
              <a:gd name="connsiteY1491" fmla="*/ 1324216 h 6367505"/>
              <a:gd name="connsiteX1492" fmla="*/ 5542035 w 7613003"/>
              <a:gd name="connsiteY1492" fmla="*/ 1310129 h 6367505"/>
              <a:gd name="connsiteX1493" fmla="*/ 5513859 w 7613003"/>
              <a:gd name="connsiteY1493" fmla="*/ 1310129 h 6367505"/>
              <a:gd name="connsiteX1494" fmla="*/ 5499771 w 7613003"/>
              <a:gd name="connsiteY1494" fmla="*/ 1310129 h 6367505"/>
              <a:gd name="connsiteX1495" fmla="*/ 5443418 w 7613003"/>
              <a:gd name="connsiteY1495" fmla="*/ 1296041 h 6367505"/>
              <a:gd name="connsiteX1496" fmla="*/ 5429329 w 7613003"/>
              <a:gd name="connsiteY1496" fmla="*/ 1310129 h 6367505"/>
              <a:gd name="connsiteX1497" fmla="*/ 5401153 w 7613003"/>
              <a:gd name="connsiteY1497" fmla="*/ 1310129 h 6367505"/>
              <a:gd name="connsiteX1498" fmla="*/ 5387065 w 7613003"/>
              <a:gd name="connsiteY1498" fmla="*/ 1310129 h 6367505"/>
              <a:gd name="connsiteX1499" fmla="*/ 5415242 w 7613003"/>
              <a:gd name="connsiteY1499" fmla="*/ 1324216 h 6367505"/>
              <a:gd name="connsiteX1500" fmla="*/ 5422004 w 7613003"/>
              <a:gd name="connsiteY1500" fmla="*/ 1336050 h 6367505"/>
              <a:gd name="connsiteX1501" fmla="*/ 5406437 w 7613003"/>
              <a:gd name="connsiteY1501" fmla="*/ 1331260 h 6367505"/>
              <a:gd name="connsiteX1502" fmla="*/ 5372976 w 7613003"/>
              <a:gd name="connsiteY1502" fmla="*/ 1324216 h 6367505"/>
              <a:gd name="connsiteX1503" fmla="*/ 5358889 w 7613003"/>
              <a:gd name="connsiteY1503" fmla="*/ 1310129 h 6367505"/>
              <a:gd name="connsiteX1504" fmla="*/ 5302536 w 7613003"/>
              <a:gd name="connsiteY1504" fmla="*/ 1310129 h 6367505"/>
              <a:gd name="connsiteX1505" fmla="*/ 5260270 w 7613003"/>
              <a:gd name="connsiteY1505" fmla="*/ 1310129 h 6367505"/>
              <a:gd name="connsiteX1506" fmla="*/ 5246183 w 7613003"/>
              <a:gd name="connsiteY1506" fmla="*/ 1310129 h 6367505"/>
              <a:gd name="connsiteX1507" fmla="*/ 5232094 w 7613003"/>
              <a:gd name="connsiteY1507" fmla="*/ 1310129 h 6367505"/>
              <a:gd name="connsiteX1508" fmla="*/ 5218006 w 7613003"/>
              <a:gd name="connsiteY1508" fmla="*/ 1310129 h 6367505"/>
              <a:gd name="connsiteX1509" fmla="*/ 5203919 w 7613003"/>
              <a:gd name="connsiteY1509" fmla="*/ 1310129 h 6367505"/>
              <a:gd name="connsiteX1510" fmla="*/ 5175742 w 7613003"/>
              <a:gd name="connsiteY1510" fmla="*/ 1310129 h 6367505"/>
              <a:gd name="connsiteX1511" fmla="*/ 5147566 w 7613003"/>
              <a:gd name="connsiteY1511" fmla="*/ 1310129 h 6367505"/>
              <a:gd name="connsiteX1512" fmla="*/ 5119389 w 7613003"/>
              <a:gd name="connsiteY1512" fmla="*/ 1310129 h 6367505"/>
              <a:gd name="connsiteX1513" fmla="*/ 5102500 w 7613003"/>
              <a:gd name="connsiteY1513" fmla="*/ 1311428 h 6367505"/>
              <a:gd name="connsiteX1514" fmla="*/ 5106196 w 7613003"/>
              <a:gd name="connsiteY1514" fmla="*/ 1311890 h 6367505"/>
              <a:gd name="connsiteX1515" fmla="*/ 5120284 w 7613003"/>
              <a:gd name="connsiteY1515" fmla="*/ 1324216 h 6367505"/>
              <a:gd name="connsiteX1516" fmla="*/ 5146039 w 7613003"/>
              <a:gd name="connsiteY1516" fmla="*/ 1369780 h 6367505"/>
              <a:gd name="connsiteX1517" fmla="*/ 5153198 w 7613003"/>
              <a:gd name="connsiteY1517" fmla="*/ 1380566 h 6367505"/>
              <a:gd name="connsiteX1518" fmla="*/ 5175742 w 7613003"/>
              <a:gd name="connsiteY1518" fmla="*/ 1380566 h 6367505"/>
              <a:gd name="connsiteX1519" fmla="*/ 5218006 w 7613003"/>
              <a:gd name="connsiteY1519" fmla="*/ 1394653 h 6367505"/>
              <a:gd name="connsiteX1520" fmla="*/ 5260270 w 7613003"/>
              <a:gd name="connsiteY1520" fmla="*/ 1408740 h 6367505"/>
              <a:gd name="connsiteX1521" fmla="*/ 5232094 w 7613003"/>
              <a:gd name="connsiteY1521" fmla="*/ 1422828 h 6367505"/>
              <a:gd name="connsiteX1522" fmla="*/ 5203919 w 7613003"/>
              <a:gd name="connsiteY1522" fmla="*/ 1422828 h 6367505"/>
              <a:gd name="connsiteX1523" fmla="*/ 5193573 w 7613003"/>
              <a:gd name="connsiteY1523" fmla="*/ 1416884 h 6367505"/>
              <a:gd name="connsiteX1524" fmla="*/ 5190611 w 7613003"/>
              <a:gd name="connsiteY1524" fmla="*/ 1417101 h 6367505"/>
              <a:gd name="connsiteX1525" fmla="*/ 5192266 w 7613003"/>
              <a:gd name="connsiteY1525" fmla="*/ 1418425 h 6367505"/>
              <a:gd name="connsiteX1526" fmla="*/ 5232990 w 7613003"/>
              <a:gd name="connsiteY1526" fmla="*/ 1451002 h 6367505"/>
              <a:gd name="connsiteX1527" fmla="*/ 5261166 w 7613003"/>
              <a:gd name="connsiteY1527" fmla="*/ 1493265 h 6367505"/>
              <a:gd name="connsiteX1528" fmla="*/ 5275255 w 7613003"/>
              <a:gd name="connsiteY1528" fmla="*/ 1507353 h 6367505"/>
              <a:gd name="connsiteX1529" fmla="*/ 5303431 w 7613003"/>
              <a:gd name="connsiteY1529" fmla="*/ 1535527 h 6367505"/>
              <a:gd name="connsiteX1530" fmla="*/ 5247078 w 7613003"/>
              <a:gd name="connsiteY1530" fmla="*/ 1493265 h 6367505"/>
              <a:gd name="connsiteX1531" fmla="*/ 5275255 w 7613003"/>
              <a:gd name="connsiteY1531" fmla="*/ 1535527 h 6367505"/>
              <a:gd name="connsiteX1532" fmla="*/ 5289343 w 7613003"/>
              <a:gd name="connsiteY1532" fmla="*/ 1549614 h 6367505"/>
              <a:gd name="connsiteX1533" fmla="*/ 5282298 w 7613003"/>
              <a:gd name="connsiteY1533" fmla="*/ 1549614 h 6367505"/>
              <a:gd name="connsiteX1534" fmla="*/ 5275255 w 7613003"/>
              <a:gd name="connsiteY1534" fmla="*/ 1549614 h 6367505"/>
              <a:gd name="connsiteX1535" fmla="*/ 5261166 w 7613003"/>
              <a:gd name="connsiteY1535" fmla="*/ 1535527 h 6367505"/>
              <a:gd name="connsiteX1536" fmla="*/ 5190725 w 7613003"/>
              <a:gd name="connsiteY1536" fmla="*/ 1451002 h 6367505"/>
              <a:gd name="connsiteX1537" fmla="*/ 5176637 w 7613003"/>
              <a:gd name="connsiteY1537" fmla="*/ 1451002 h 6367505"/>
              <a:gd name="connsiteX1538" fmla="*/ 5148460 w 7613003"/>
              <a:gd name="connsiteY1538" fmla="*/ 1422828 h 6367505"/>
              <a:gd name="connsiteX1539" fmla="*/ 5146699 w 7613003"/>
              <a:gd name="connsiteY1539" fmla="*/ 1421067 h 6367505"/>
              <a:gd name="connsiteX1540" fmla="*/ 5145312 w 7613003"/>
              <a:gd name="connsiteY1540" fmla="*/ 1419680 h 6367505"/>
              <a:gd name="connsiteX1541" fmla="*/ 5128139 w 7613003"/>
              <a:gd name="connsiteY1541" fmla="*/ 1417903 h 6367505"/>
              <a:gd name="connsiteX1542" fmla="*/ 5162549 w 7613003"/>
              <a:gd name="connsiteY1542" fmla="*/ 1458047 h 6367505"/>
              <a:gd name="connsiteX1543" fmla="*/ 5204813 w 7613003"/>
              <a:gd name="connsiteY1543" fmla="*/ 1507353 h 6367505"/>
              <a:gd name="connsiteX1544" fmla="*/ 5218902 w 7613003"/>
              <a:gd name="connsiteY1544" fmla="*/ 1521440 h 6367505"/>
              <a:gd name="connsiteX1545" fmla="*/ 5247078 w 7613003"/>
              <a:gd name="connsiteY1545" fmla="*/ 1535527 h 6367505"/>
              <a:gd name="connsiteX1546" fmla="*/ 5261166 w 7613003"/>
              <a:gd name="connsiteY1546" fmla="*/ 1563702 h 6367505"/>
              <a:gd name="connsiteX1547" fmla="*/ 5317519 w 7613003"/>
              <a:gd name="connsiteY1547" fmla="*/ 1605964 h 6367505"/>
              <a:gd name="connsiteX1548" fmla="*/ 5359784 w 7613003"/>
              <a:gd name="connsiteY1548" fmla="*/ 1676401 h 6367505"/>
              <a:gd name="connsiteX1549" fmla="*/ 5387961 w 7613003"/>
              <a:gd name="connsiteY1549" fmla="*/ 1704576 h 6367505"/>
              <a:gd name="connsiteX1550" fmla="*/ 5402048 w 7613003"/>
              <a:gd name="connsiteY1550" fmla="*/ 1718663 h 6367505"/>
              <a:gd name="connsiteX1551" fmla="*/ 5416136 w 7613003"/>
              <a:gd name="connsiteY1551" fmla="*/ 1732751 h 6367505"/>
              <a:gd name="connsiteX1552" fmla="*/ 5416136 w 7613003"/>
              <a:gd name="connsiteY1552" fmla="*/ 1746838 h 6367505"/>
              <a:gd name="connsiteX1553" fmla="*/ 5430225 w 7613003"/>
              <a:gd name="connsiteY1553" fmla="*/ 1760925 h 6367505"/>
              <a:gd name="connsiteX1554" fmla="*/ 5472489 w 7613003"/>
              <a:gd name="connsiteY1554" fmla="*/ 1817276 h 6367505"/>
              <a:gd name="connsiteX1555" fmla="*/ 5486578 w 7613003"/>
              <a:gd name="connsiteY1555" fmla="*/ 1845450 h 6367505"/>
              <a:gd name="connsiteX1556" fmla="*/ 5514754 w 7613003"/>
              <a:gd name="connsiteY1556" fmla="*/ 1887712 h 6367505"/>
              <a:gd name="connsiteX1557" fmla="*/ 5514754 w 7613003"/>
              <a:gd name="connsiteY1557" fmla="*/ 1901800 h 6367505"/>
              <a:gd name="connsiteX1558" fmla="*/ 5571107 w 7613003"/>
              <a:gd name="connsiteY1558" fmla="*/ 1986323 h 6367505"/>
              <a:gd name="connsiteX1559" fmla="*/ 5599284 w 7613003"/>
              <a:gd name="connsiteY1559" fmla="*/ 2042674 h 6367505"/>
              <a:gd name="connsiteX1560" fmla="*/ 5613371 w 7613003"/>
              <a:gd name="connsiteY1560" fmla="*/ 2056761 h 6367505"/>
              <a:gd name="connsiteX1561" fmla="*/ 5613371 w 7613003"/>
              <a:gd name="connsiteY1561" fmla="*/ 2070849 h 6367505"/>
              <a:gd name="connsiteX1562" fmla="*/ 5613371 w 7613003"/>
              <a:gd name="connsiteY1562" fmla="*/ 2084936 h 6367505"/>
              <a:gd name="connsiteX1563" fmla="*/ 5627460 w 7613003"/>
              <a:gd name="connsiteY1563" fmla="*/ 2099023 h 6367505"/>
              <a:gd name="connsiteX1564" fmla="*/ 5627460 w 7613003"/>
              <a:gd name="connsiteY1564" fmla="*/ 2113110 h 6367505"/>
              <a:gd name="connsiteX1565" fmla="*/ 5669724 w 7613003"/>
              <a:gd name="connsiteY1565" fmla="*/ 2169459 h 6367505"/>
              <a:gd name="connsiteX1566" fmla="*/ 5683813 w 7613003"/>
              <a:gd name="connsiteY1566" fmla="*/ 2225810 h 6367505"/>
              <a:gd name="connsiteX1567" fmla="*/ 5697901 w 7613003"/>
              <a:gd name="connsiteY1567" fmla="*/ 2225810 h 6367505"/>
              <a:gd name="connsiteX1568" fmla="*/ 5711990 w 7613003"/>
              <a:gd name="connsiteY1568" fmla="*/ 2268072 h 6367505"/>
              <a:gd name="connsiteX1569" fmla="*/ 5697901 w 7613003"/>
              <a:gd name="connsiteY1569" fmla="*/ 2282159 h 6367505"/>
              <a:gd name="connsiteX1570" fmla="*/ 5711990 w 7613003"/>
              <a:gd name="connsiteY1570" fmla="*/ 2296246 h 6367505"/>
              <a:gd name="connsiteX1571" fmla="*/ 5711990 w 7613003"/>
              <a:gd name="connsiteY1571" fmla="*/ 2310334 h 6367505"/>
              <a:gd name="connsiteX1572" fmla="*/ 5740166 w 7613003"/>
              <a:gd name="connsiteY1572" fmla="*/ 2408946 h 6367505"/>
              <a:gd name="connsiteX1573" fmla="*/ 5754254 w 7613003"/>
              <a:gd name="connsiteY1573" fmla="*/ 2408946 h 6367505"/>
              <a:gd name="connsiteX1574" fmla="*/ 5754254 w 7613003"/>
              <a:gd name="connsiteY1574" fmla="*/ 2437121 h 6367505"/>
              <a:gd name="connsiteX1575" fmla="*/ 5754254 w 7613003"/>
              <a:gd name="connsiteY1575" fmla="*/ 2465295 h 6367505"/>
              <a:gd name="connsiteX1576" fmla="*/ 5768341 w 7613003"/>
              <a:gd name="connsiteY1576" fmla="*/ 2521646 h 6367505"/>
              <a:gd name="connsiteX1577" fmla="*/ 5754254 w 7613003"/>
              <a:gd name="connsiteY1577" fmla="*/ 2479383 h 6367505"/>
              <a:gd name="connsiteX1578" fmla="*/ 5740166 w 7613003"/>
              <a:gd name="connsiteY1578" fmla="*/ 2451208 h 6367505"/>
              <a:gd name="connsiteX1579" fmla="*/ 5726077 w 7613003"/>
              <a:gd name="connsiteY1579" fmla="*/ 2423033 h 6367505"/>
              <a:gd name="connsiteX1580" fmla="*/ 5711990 w 7613003"/>
              <a:gd name="connsiteY1580" fmla="*/ 2380771 h 6367505"/>
              <a:gd name="connsiteX1581" fmla="*/ 5683813 w 7613003"/>
              <a:gd name="connsiteY1581" fmla="*/ 2310334 h 6367505"/>
              <a:gd name="connsiteX1582" fmla="*/ 5697901 w 7613003"/>
              <a:gd name="connsiteY1582" fmla="*/ 2352596 h 6367505"/>
              <a:gd name="connsiteX1583" fmla="*/ 5697901 w 7613003"/>
              <a:gd name="connsiteY1583" fmla="*/ 2366684 h 6367505"/>
              <a:gd name="connsiteX1584" fmla="*/ 5683813 w 7613003"/>
              <a:gd name="connsiteY1584" fmla="*/ 2352596 h 6367505"/>
              <a:gd name="connsiteX1585" fmla="*/ 5683813 w 7613003"/>
              <a:gd name="connsiteY1585" fmla="*/ 2338508 h 6367505"/>
              <a:gd name="connsiteX1586" fmla="*/ 5641548 w 7613003"/>
              <a:gd name="connsiteY1586" fmla="*/ 2225810 h 6367505"/>
              <a:gd name="connsiteX1587" fmla="*/ 5599284 w 7613003"/>
              <a:gd name="connsiteY1587" fmla="*/ 2155372 h 6367505"/>
              <a:gd name="connsiteX1588" fmla="*/ 5613371 w 7613003"/>
              <a:gd name="connsiteY1588" fmla="*/ 2211723 h 6367505"/>
              <a:gd name="connsiteX1589" fmla="*/ 5655637 w 7613003"/>
              <a:gd name="connsiteY1589" fmla="*/ 2296246 h 6367505"/>
              <a:gd name="connsiteX1590" fmla="*/ 5683813 w 7613003"/>
              <a:gd name="connsiteY1590" fmla="*/ 2352596 h 6367505"/>
              <a:gd name="connsiteX1591" fmla="*/ 5683813 w 7613003"/>
              <a:gd name="connsiteY1591" fmla="*/ 2380771 h 6367505"/>
              <a:gd name="connsiteX1592" fmla="*/ 5697901 w 7613003"/>
              <a:gd name="connsiteY1592" fmla="*/ 2394859 h 6367505"/>
              <a:gd name="connsiteX1593" fmla="*/ 5711990 w 7613003"/>
              <a:gd name="connsiteY1593" fmla="*/ 2451208 h 6367505"/>
              <a:gd name="connsiteX1594" fmla="*/ 5711990 w 7613003"/>
              <a:gd name="connsiteY1594" fmla="*/ 2465295 h 6367505"/>
              <a:gd name="connsiteX1595" fmla="*/ 5726077 w 7613003"/>
              <a:gd name="connsiteY1595" fmla="*/ 2479383 h 6367505"/>
              <a:gd name="connsiteX1596" fmla="*/ 5754254 w 7613003"/>
              <a:gd name="connsiteY1596" fmla="*/ 2549821 h 6367505"/>
              <a:gd name="connsiteX1597" fmla="*/ 5754254 w 7613003"/>
              <a:gd name="connsiteY1597" fmla="*/ 2563908 h 6367505"/>
              <a:gd name="connsiteX1598" fmla="*/ 5768341 w 7613003"/>
              <a:gd name="connsiteY1598" fmla="*/ 2563908 h 6367505"/>
              <a:gd name="connsiteX1599" fmla="*/ 5768341 w 7613003"/>
              <a:gd name="connsiteY1599" fmla="*/ 2577995 h 6367505"/>
              <a:gd name="connsiteX1600" fmla="*/ 5768341 w 7613003"/>
              <a:gd name="connsiteY1600" fmla="*/ 2592082 h 6367505"/>
              <a:gd name="connsiteX1601" fmla="*/ 5782430 w 7613003"/>
              <a:gd name="connsiteY1601" fmla="*/ 2620257 h 6367505"/>
              <a:gd name="connsiteX1602" fmla="*/ 5782430 w 7613003"/>
              <a:gd name="connsiteY1602" fmla="*/ 2634344 h 6367505"/>
              <a:gd name="connsiteX1603" fmla="*/ 5796519 w 7613003"/>
              <a:gd name="connsiteY1603" fmla="*/ 2676606 h 6367505"/>
              <a:gd name="connsiteX1604" fmla="*/ 5782430 w 7613003"/>
              <a:gd name="connsiteY1604" fmla="*/ 2662519 h 6367505"/>
              <a:gd name="connsiteX1605" fmla="*/ 5782430 w 7613003"/>
              <a:gd name="connsiteY1605" fmla="*/ 2690693 h 6367505"/>
              <a:gd name="connsiteX1606" fmla="*/ 5768341 w 7613003"/>
              <a:gd name="connsiteY1606" fmla="*/ 2662519 h 6367505"/>
              <a:gd name="connsiteX1607" fmla="*/ 5754254 w 7613003"/>
              <a:gd name="connsiteY1607" fmla="*/ 2620257 h 6367505"/>
              <a:gd name="connsiteX1608" fmla="*/ 5740166 w 7613003"/>
              <a:gd name="connsiteY1608" fmla="*/ 2577995 h 6367505"/>
              <a:gd name="connsiteX1609" fmla="*/ 5726077 w 7613003"/>
              <a:gd name="connsiteY1609" fmla="*/ 2535733 h 6367505"/>
              <a:gd name="connsiteX1610" fmla="*/ 5697901 w 7613003"/>
              <a:gd name="connsiteY1610" fmla="*/ 2451208 h 6367505"/>
              <a:gd name="connsiteX1611" fmla="*/ 5697901 w 7613003"/>
              <a:gd name="connsiteY1611" fmla="*/ 2423033 h 6367505"/>
              <a:gd name="connsiteX1612" fmla="*/ 5683813 w 7613003"/>
              <a:gd name="connsiteY1612" fmla="*/ 2423033 h 6367505"/>
              <a:gd name="connsiteX1613" fmla="*/ 5683813 w 7613003"/>
              <a:gd name="connsiteY1613" fmla="*/ 2394859 h 6367505"/>
              <a:gd name="connsiteX1614" fmla="*/ 5641548 w 7613003"/>
              <a:gd name="connsiteY1614" fmla="*/ 2324421 h 6367505"/>
              <a:gd name="connsiteX1615" fmla="*/ 5613371 w 7613003"/>
              <a:gd name="connsiteY1615" fmla="*/ 2239897 h 6367505"/>
              <a:gd name="connsiteX1616" fmla="*/ 5613371 w 7613003"/>
              <a:gd name="connsiteY1616" fmla="*/ 2253985 h 6367505"/>
              <a:gd name="connsiteX1617" fmla="*/ 5557018 w 7613003"/>
              <a:gd name="connsiteY1617" fmla="*/ 2169459 h 6367505"/>
              <a:gd name="connsiteX1618" fmla="*/ 5571107 w 7613003"/>
              <a:gd name="connsiteY1618" fmla="*/ 2197635 h 6367505"/>
              <a:gd name="connsiteX1619" fmla="*/ 5599284 w 7613003"/>
              <a:gd name="connsiteY1619" fmla="*/ 2253985 h 6367505"/>
              <a:gd name="connsiteX1620" fmla="*/ 5599284 w 7613003"/>
              <a:gd name="connsiteY1620" fmla="*/ 2268072 h 6367505"/>
              <a:gd name="connsiteX1621" fmla="*/ 5627460 w 7613003"/>
              <a:gd name="connsiteY1621" fmla="*/ 2324421 h 6367505"/>
              <a:gd name="connsiteX1622" fmla="*/ 5627460 w 7613003"/>
              <a:gd name="connsiteY1622" fmla="*/ 2352596 h 6367505"/>
              <a:gd name="connsiteX1623" fmla="*/ 5613371 w 7613003"/>
              <a:gd name="connsiteY1623" fmla="*/ 2324421 h 6367505"/>
              <a:gd name="connsiteX1624" fmla="*/ 5613371 w 7613003"/>
              <a:gd name="connsiteY1624" fmla="*/ 2338508 h 6367505"/>
              <a:gd name="connsiteX1625" fmla="*/ 5585195 w 7613003"/>
              <a:gd name="connsiteY1625" fmla="*/ 2282159 h 6367505"/>
              <a:gd name="connsiteX1626" fmla="*/ 5571107 w 7613003"/>
              <a:gd name="connsiteY1626" fmla="*/ 2239897 h 6367505"/>
              <a:gd name="connsiteX1627" fmla="*/ 5557018 w 7613003"/>
              <a:gd name="connsiteY1627" fmla="*/ 2197635 h 6367505"/>
              <a:gd name="connsiteX1628" fmla="*/ 5542931 w 7613003"/>
              <a:gd name="connsiteY1628" fmla="*/ 2183548 h 6367505"/>
              <a:gd name="connsiteX1629" fmla="*/ 5557018 w 7613003"/>
              <a:gd name="connsiteY1629" fmla="*/ 2225810 h 6367505"/>
              <a:gd name="connsiteX1630" fmla="*/ 5571107 w 7613003"/>
              <a:gd name="connsiteY1630" fmla="*/ 2296246 h 6367505"/>
              <a:gd name="connsiteX1631" fmla="*/ 5585195 w 7613003"/>
              <a:gd name="connsiteY1631" fmla="*/ 2310334 h 6367505"/>
              <a:gd name="connsiteX1632" fmla="*/ 5585195 w 7613003"/>
              <a:gd name="connsiteY1632" fmla="*/ 2324421 h 6367505"/>
              <a:gd name="connsiteX1633" fmla="*/ 5627460 w 7613003"/>
              <a:gd name="connsiteY1633" fmla="*/ 2408946 h 6367505"/>
              <a:gd name="connsiteX1634" fmla="*/ 5655637 w 7613003"/>
              <a:gd name="connsiteY1634" fmla="*/ 2479383 h 6367505"/>
              <a:gd name="connsiteX1635" fmla="*/ 5669724 w 7613003"/>
              <a:gd name="connsiteY1635" fmla="*/ 2493470 h 6367505"/>
              <a:gd name="connsiteX1636" fmla="*/ 5669724 w 7613003"/>
              <a:gd name="connsiteY1636" fmla="*/ 2521646 h 6367505"/>
              <a:gd name="connsiteX1637" fmla="*/ 5697901 w 7613003"/>
              <a:gd name="connsiteY1637" fmla="*/ 2606170 h 6367505"/>
              <a:gd name="connsiteX1638" fmla="*/ 5711990 w 7613003"/>
              <a:gd name="connsiteY1638" fmla="*/ 2648431 h 6367505"/>
              <a:gd name="connsiteX1639" fmla="*/ 5726077 w 7613003"/>
              <a:gd name="connsiteY1639" fmla="*/ 2690693 h 6367505"/>
              <a:gd name="connsiteX1640" fmla="*/ 5711990 w 7613003"/>
              <a:gd name="connsiteY1640" fmla="*/ 2662519 h 6367505"/>
              <a:gd name="connsiteX1641" fmla="*/ 5683813 w 7613003"/>
              <a:gd name="connsiteY1641" fmla="*/ 2620257 h 6367505"/>
              <a:gd name="connsiteX1642" fmla="*/ 5683813 w 7613003"/>
              <a:gd name="connsiteY1642" fmla="*/ 2606170 h 6367505"/>
              <a:gd name="connsiteX1643" fmla="*/ 5683813 w 7613003"/>
              <a:gd name="connsiteY1643" fmla="*/ 2592082 h 6367505"/>
              <a:gd name="connsiteX1644" fmla="*/ 5669724 w 7613003"/>
              <a:gd name="connsiteY1644" fmla="*/ 2577995 h 6367505"/>
              <a:gd name="connsiteX1645" fmla="*/ 5669724 w 7613003"/>
              <a:gd name="connsiteY1645" fmla="*/ 2563908 h 6367505"/>
              <a:gd name="connsiteX1646" fmla="*/ 5669724 w 7613003"/>
              <a:gd name="connsiteY1646" fmla="*/ 2549821 h 6367505"/>
              <a:gd name="connsiteX1647" fmla="*/ 5655637 w 7613003"/>
              <a:gd name="connsiteY1647" fmla="*/ 2549821 h 6367505"/>
              <a:gd name="connsiteX1648" fmla="*/ 5669724 w 7613003"/>
              <a:gd name="connsiteY1648" fmla="*/ 2606170 h 6367505"/>
              <a:gd name="connsiteX1649" fmla="*/ 5683813 w 7613003"/>
              <a:gd name="connsiteY1649" fmla="*/ 2634344 h 6367505"/>
              <a:gd name="connsiteX1650" fmla="*/ 5711990 w 7613003"/>
              <a:gd name="connsiteY1650" fmla="*/ 2704782 h 6367505"/>
              <a:gd name="connsiteX1651" fmla="*/ 5726077 w 7613003"/>
              <a:gd name="connsiteY1651" fmla="*/ 2761131 h 6367505"/>
              <a:gd name="connsiteX1652" fmla="*/ 5726077 w 7613003"/>
              <a:gd name="connsiteY1652" fmla="*/ 2775218 h 6367505"/>
              <a:gd name="connsiteX1653" fmla="*/ 5726077 w 7613003"/>
              <a:gd name="connsiteY1653" fmla="*/ 2789306 h 6367505"/>
              <a:gd name="connsiteX1654" fmla="*/ 5683813 w 7613003"/>
              <a:gd name="connsiteY1654" fmla="*/ 2690693 h 6367505"/>
              <a:gd name="connsiteX1655" fmla="*/ 5669724 w 7613003"/>
              <a:gd name="connsiteY1655" fmla="*/ 2648431 h 6367505"/>
              <a:gd name="connsiteX1656" fmla="*/ 5655637 w 7613003"/>
              <a:gd name="connsiteY1656" fmla="*/ 2592082 h 6367505"/>
              <a:gd name="connsiteX1657" fmla="*/ 5613371 w 7613003"/>
              <a:gd name="connsiteY1657" fmla="*/ 2479383 h 6367505"/>
              <a:gd name="connsiteX1658" fmla="*/ 5585195 w 7613003"/>
              <a:gd name="connsiteY1658" fmla="*/ 2408946 h 6367505"/>
              <a:gd name="connsiteX1659" fmla="*/ 5571107 w 7613003"/>
              <a:gd name="connsiteY1659" fmla="*/ 2394859 h 6367505"/>
              <a:gd name="connsiteX1660" fmla="*/ 5542931 w 7613003"/>
              <a:gd name="connsiteY1660" fmla="*/ 2352596 h 6367505"/>
              <a:gd name="connsiteX1661" fmla="*/ 5542931 w 7613003"/>
              <a:gd name="connsiteY1661" fmla="*/ 2324421 h 6367505"/>
              <a:gd name="connsiteX1662" fmla="*/ 5528842 w 7613003"/>
              <a:gd name="connsiteY1662" fmla="*/ 2324421 h 6367505"/>
              <a:gd name="connsiteX1663" fmla="*/ 5528842 w 7613003"/>
              <a:gd name="connsiteY1663" fmla="*/ 2310334 h 6367505"/>
              <a:gd name="connsiteX1664" fmla="*/ 5500667 w 7613003"/>
              <a:gd name="connsiteY1664" fmla="*/ 2253985 h 6367505"/>
              <a:gd name="connsiteX1665" fmla="*/ 5458401 w 7613003"/>
              <a:gd name="connsiteY1665" fmla="*/ 2183548 h 6367505"/>
              <a:gd name="connsiteX1666" fmla="*/ 5444314 w 7613003"/>
              <a:gd name="connsiteY1666" fmla="*/ 2169459 h 6367505"/>
              <a:gd name="connsiteX1667" fmla="*/ 5430225 w 7613003"/>
              <a:gd name="connsiteY1667" fmla="*/ 2127198 h 6367505"/>
              <a:gd name="connsiteX1668" fmla="*/ 5402048 w 7613003"/>
              <a:gd name="connsiteY1668" fmla="*/ 2099023 h 6367505"/>
              <a:gd name="connsiteX1669" fmla="*/ 5359784 w 7613003"/>
              <a:gd name="connsiteY1669" fmla="*/ 2042674 h 6367505"/>
              <a:gd name="connsiteX1670" fmla="*/ 5359784 w 7613003"/>
              <a:gd name="connsiteY1670" fmla="*/ 2028587 h 6367505"/>
              <a:gd name="connsiteX1671" fmla="*/ 5317519 w 7613003"/>
              <a:gd name="connsiteY1671" fmla="*/ 1986323 h 6367505"/>
              <a:gd name="connsiteX1672" fmla="*/ 5317519 w 7613003"/>
              <a:gd name="connsiteY1672" fmla="*/ 2000412 h 6367505"/>
              <a:gd name="connsiteX1673" fmla="*/ 5331608 w 7613003"/>
              <a:gd name="connsiteY1673" fmla="*/ 2014499 h 6367505"/>
              <a:gd name="connsiteX1674" fmla="*/ 5345695 w 7613003"/>
              <a:gd name="connsiteY1674" fmla="*/ 2042674 h 6367505"/>
              <a:gd name="connsiteX1675" fmla="*/ 5359784 w 7613003"/>
              <a:gd name="connsiteY1675" fmla="*/ 2056761 h 6367505"/>
              <a:gd name="connsiteX1676" fmla="*/ 5402048 w 7613003"/>
              <a:gd name="connsiteY1676" fmla="*/ 2127198 h 6367505"/>
              <a:gd name="connsiteX1677" fmla="*/ 5416136 w 7613003"/>
              <a:gd name="connsiteY1677" fmla="*/ 2155372 h 6367505"/>
              <a:gd name="connsiteX1678" fmla="*/ 5472489 w 7613003"/>
              <a:gd name="connsiteY1678" fmla="*/ 2253985 h 6367505"/>
              <a:gd name="connsiteX1679" fmla="*/ 5458401 w 7613003"/>
              <a:gd name="connsiteY1679" fmla="*/ 2239897 h 6367505"/>
              <a:gd name="connsiteX1680" fmla="*/ 5402048 w 7613003"/>
              <a:gd name="connsiteY1680" fmla="*/ 2155372 h 6367505"/>
              <a:gd name="connsiteX1681" fmla="*/ 5387961 w 7613003"/>
              <a:gd name="connsiteY1681" fmla="*/ 2141285 h 6367505"/>
              <a:gd name="connsiteX1682" fmla="*/ 5387961 w 7613003"/>
              <a:gd name="connsiteY1682" fmla="*/ 2127198 h 6367505"/>
              <a:gd name="connsiteX1683" fmla="*/ 5373872 w 7613003"/>
              <a:gd name="connsiteY1683" fmla="*/ 2099023 h 6367505"/>
              <a:gd name="connsiteX1684" fmla="*/ 5359784 w 7613003"/>
              <a:gd name="connsiteY1684" fmla="*/ 2084936 h 6367505"/>
              <a:gd name="connsiteX1685" fmla="*/ 5359784 w 7613003"/>
              <a:gd name="connsiteY1685" fmla="*/ 2070849 h 6367505"/>
              <a:gd name="connsiteX1686" fmla="*/ 5345695 w 7613003"/>
              <a:gd name="connsiteY1686" fmla="*/ 2056761 h 6367505"/>
              <a:gd name="connsiteX1687" fmla="*/ 5331608 w 7613003"/>
              <a:gd name="connsiteY1687" fmla="*/ 2042674 h 6367505"/>
              <a:gd name="connsiteX1688" fmla="*/ 5317519 w 7613003"/>
              <a:gd name="connsiteY1688" fmla="*/ 2028587 h 6367505"/>
              <a:gd name="connsiteX1689" fmla="*/ 5317519 w 7613003"/>
              <a:gd name="connsiteY1689" fmla="*/ 2014499 h 6367505"/>
              <a:gd name="connsiteX1690" fmla="*/ 5289343 w 7613003"/>
              <a:gd name="connsiteY1690" fmla="*/ 2000412 h 6367505"/>
              <a:gd name="connsiteX1691" fmla="*/ 5289343 w 7613003"/>
              <a:gd name="connsiteY1691" fmla="*/ 1986323 h 6367505"/>
              <a:gd name="connsiteX1692" fmla="*/ 5247078 w 7613003"/>
              <a:gd name="connsiteY1692" fmla="*/ 1944061 h 6367505"/>
              <a:gd name="connsiteX1693" fmla="*/ 5247078 w 7613003"/>
              <a:gd name="connsiteY1693" fmla="*/ 1929974 h 6367505"/>
              <a:gd name="connsiteX1694" fmla="*/ 5232990 w 7613003"/>
              <a:gd name="connsiteY1694" fmla="*/ 1915887 h 6367505"/>
              <a:gd name="connsiteX1695" fmla="*/ 5190725 w 7613003"/>
              <a:gd name="connsiteY1695" fmla="*/ 1873625 h 6367505"/>
              <a:gd name="connsiteX1696" fmla="*/ 5162549 w 7613003"/>
              <a:gd name="connsiteY1696" fmla="*/ 1831363 h 6367505"/>
              <a:gd name="connsiteX1697" fmla="*/ 5148460 w 7613003"/>
              <a:gd name="connsiteY1697" fmla="*/ 1831363 h 6367505"/>
              <a:gd name="connsiteX1698" fmla="*/ 5134372 w 7613003"/>
              <a:gd name="connsiteY1698" fmla="*/ 1803188 h 6367505"/>
              <a:gd name="connsiteX1699" fmla="*/ 5092107 w 7613003"/>
              <a:gd name="connsiteY1699" fmla="*/ 1760925 h 6367505"/>
              <a:gd name="connsiteX1700" fmla="*/ 5078019 w 7613003"/>
              <a:gd name="connsiteY1700" fmla="*/ 1760925 h 6367505"/>
              <a:gd name="connsiteX1701" fmla="*/ 5078019 w 7613003"/>
              <a:gd name="connsiteY1701" fmla="*/ 1746838 h 6367505"/>
              <a:gd name="connsiteX1702" fmla="*/ 5063931 w 7613003"/>
              <a:gd name="connsiteY1702" fmla="*/ 1732751 h 6367505"/>
              <a:gd name="connsiteX1703" fmla="*/ 5035754 w 7613003"/>
              <a:gd name="connsiteY1703" fmla="*/ 1704576 h 6367505"/>
              <a:gd name="connsiteX1704" fmla="*/ 5021666 w 7613003"/>
              <a:gd name="connsiteY1704" fmla="*/ 1690489 h 6367505"/>
              <a:gd name="connsiteX1705" fmla="*/ 4993490 w 7613003"/>
              <a:gd name="connsiteY1705" fmla="*/ 1676401 h 6367505"/>
              <a:gd name="connsiteX1706" fmla="*/ 4979401 w 7613003"/>
              <a:gd name="connsiteY1706" fmla="*/ 1662314 h 6367505"/>
              <a:gd name="connsiteX1707" fmla="*/ 4979401 w 7613003"/>
              <a:gd name="connsiteY1707" fmla="*/ 1648227 h 6367505"/>
              <a:gd name="connsiteX1708" fmla="*/ 4965313 w 7613003"/>
              <a:gd name="connsiteY1708" fmla="*/ 1648227 h 6367505"/>
              <a:gd name="connsiteX1709" fmla="*/ 4951226 w 7613003"/>
              <a:gd name="connsiteY1709" fmla="*/ 1634138 h 6367505"/>
              <a:gd name="connsiteX1710" fmla="*/ 4937137 w 7613003"/>
              <a:gd name="connsiteY1710" fmla="*/ 1620051 h 6367505"/>
              <a:gd name="connsiteX1711" fmla="*/ 4923048 w 7613003"/>
              <a:gd name="connsiteY1711" fmla="*/ 1605964 h 6367505"/>
              <a:gd name="connsiteX1712" fmla="*/ 4866696 w 7613003"/>
              <a:gd name="connsiteY1712" fmla="*/ 1563702 h 6367505"/>
              <a:gd name="connsiteX1713" fmla="*/ 4838520 w 7613003"/>
              <a:gd name="connsiteY1713" fmla="*/ 1535527 h 6367505"/>
              <a:gd name="connsiteX1714" fmla="*/ 4824431 w 7613003"/>
              <a:gd name="connsiteY1714" fmla="*/ 1535527 h 6367505"/>
              <a:gd name="connsiteX1715" fmla="*/ 4852608 w 7613003"/>
              <a:gd name="connsiteY1715" fmla="*/ 1563702 h 6367505"/>
              <a:gd name="connsiteX1716" fmla="*/ 4852608 w 7613003"/>
              <a:gd name="connsiteY1716" fmla="*/ 1577789 h 6367505"/>
              <a:gd name="connsiteX1717" fmla="*/ 4866696 w 7613003"/>
              <a:gd name="connsiteY1717" fmla="*/ 1591876 h 6367505"/>
              <a:gd name="connsiteX1718" fmla="*/ 4880784 w 7613003"/>
              <a:gd name="connsiteY1718" fmla="*/ 1605964 h 6367505"/>
              <a:gd name="connsiteX1719" fmla="*/ 4894873 w 7613003"/>
              <a:gd name="connsiteY1719" fmla="*/ 1620051 h 6367505"/>
              <a:gd name="connsiteX1720" fmla="*/ 4866696 w 7613003"/>
              <a:gd name="connsiteY1720" fmla="*/ 1605964 h 6367505"/>
              <a:gd name="connsiteX1721" fmla="*/ 4852608 w 7613003"/>
              <a:gd name="connsiteY1721" fmla="*/ 1591876 h 6367505"/>
              <a:gd name="connsiteX1722" fmla="*/ 4838520 w 7613003"/>
              <a:gd name="connsiteY1722" fmla="*/ 1591876 h 6367505"/>
              <a:gd name="connsiteX1723" fmla="*/ 4824431 w 7613003"/>
              <a:gd name="connsiteY1723" fmla="*/ 1563702 h 6367505"/>
              <a:gd name="connsiteX1724" fmla="*/ 4808582 w 7613003"/>
              <a:gd name="connsiteY1724" fmla="*/ 1542571 h 6367505"/>
              <a:gd name="connsiteX1725" fmla="*/ 4795374 w 7613003"/>
              <a:gd name="connsiteY1725" fmla="*/ 1532005 h 6367505"/>
              <a:gd name="connsiteX1726" fmla="*/ 4794494 w 7613003"/>
              <a:gd name="connsiteY1726" fmla="*/ 1528484 h 6367505"/>
              <a:gd name="connsiteX1727" fmla="*/ 4782167 w 7613003"/>
              <a:gd name="connsiteY1727" fmla="*/ 1521440 h 6367505"/>
              <a:gd name="connsiteX1728" fmla="*/ 4768078 w 7613003"/>
              <a:gd name="connsiteY1728" fmla="*/ 1507353 h 6367505"/>
              <a:gd name="connsiteX1729" fmla="*/ 4753990 w 7613003"/>
              <a:gd name="connsiteY1729" fmla="*/ 1507353 h 6367505"/>
              <a:gd name="connsiteX1730" fmla="*/ 4796255 w 7613003"/>
              <a:gd name="connsiteY1730" fmla="*/ 1549614 h 6367505"/>
              <a:gd name="connsiteX1731" fmla="*/ 4711725 w 7613003"/>
              <a:gd name="connsiteY1731" fmla="*/ 1479178 h 6367505"/>
              <a:gd name="connsiteX1732" fmla="*/ 4711725 w 7613003"/>
              <a:gd name="connsiteY1732" fmla="*/ 1465089 h 6367505"/>
              <a:gd name="connsiteX1733" fmla="*/ 4711725 w 7613003"/>
              <a:gd name="connsiteY1733" fmla="*/ 1465089 h 6367505"/>
              <a:gd name="connsiteX1734" fmla="*/ 4710831 w 7613003"/>
              <a:gd name="connsiteY1734" fmla="*/ 1465089 h 6367505"/>
              <a:gd name="connsiteX1735" fmla="*/ 4675611 w 7613003"/>
              <a:gd name="connsiteY1735" fmla="*/ 1466851 h 6367505"/>
              <a:gd name="connsiteX1736" fmla="*/ 4654834 w 7613003"/>
              <a:gd name="connsiteY1736" fmla="*/ 1474122 h 6367505"/>
              <a:gd name="connsiteX1737" fmla="*/ 4662417 w 7613003"/>
              <a:gd name="connsiteY1737" fmla="*/ 1479178 h 6367505"/>
              <a:gd name="connsiteX1738" fmla="*/ 4683549 w 7613003"/>
              <a:gd name="connsiteY1738" fmla="*/ 1493265 h 6367505"/>
              <a:gd name="connsiteX1739" fmla="*/ 4753990 w 7613003"/>
              <a:gd name="connsiteY1739" fmla="*/ 1535527 h 6367505"/>
              <a:gd name="connsiteX1740" fmla="*/ 4768078 w 7613003"/>
              <a:gd name="connsiteY1740" fmla="*/ 1549614 h 6367505"/>
              <a:gd name="connsiteX1741" fmla="*/ 4782167 w 7613003"/>
              <a:gd name="connsiteY1741" fmla="*/ 1563702 h 6367505"/>
              <a:gd name="connsiteX1742" fmla="*/ 4796255 w 7613003"/>
              <a:gd name="connsiteY1742" fmla="*/ 1577789 h 6367505"/>
              <a:gd name="connsiteX1743" fmla="*/ 4782167 w 7613003"/>
              <a:gd name="connsiteY1743" fmla="*/ 1577789 h 6367505"/>
              <a:gd name="connsiteX1744" fmla="*/ 4810343 w 7613003"/>
              <a:gd name="connsiteY1744" fmla="*/ 1605964 h 6367505"/>
              <a:gd name="connsiteX1745" fmla="*/ 4824431 w 7613003"/>
              <a:gd name="connsiteY1745" fmla="*/ 1620051 h 6367505"/>
              <a:gd name="connsiteX1746" fmla="*/ 4838520 w 7613003"/>
              <a:gd name="connsiteY1746" fmla="*/ 1620051 h 6367505"/>
              <a:gd name="connsiteX1747" fmla="*/ 4866696 w 7613003"/>
              <a:gd name="connsiteY1747" fmla="*/ 1648227 h 6367505"/>
              <a:gd name="connsiteX1748" fmla="*/ 4908961 w 7613003"/>
              <a:gd name="connsiteY1748" fmla="*/ 1690489 h 6367505"/>
              <a:gd name="connsiteX1749" fmla="*/ 4908961 w 7613003"/>
              <a:gd name="connsiteY1749" fmla="*/ 1704576 h 6367505"/>
              <a:gd name="connsiteX1750" fmla="*/ 4852608 w 7613003"/>
              <a:gd name="connsiteY1750" fmla="*/ 1648227 h 6367505"/>
              <a:gd name="connsiteX1751" fmla="*/ 4880784 w 7613003"/>
              <a:gd name="connsiteY1751" fmla="*/ 1690489 h 6367505"/>
              <a:gd name="connsiteX1752" fmla="*/ 4894873 w 7613003"/>
              <a:gd name="connsiteY1752" fmla="*/ 1704576 h 6367505"/>
              <a:gd name="connsiteX1753" fmla="*/ 4880784 w 7613003"/>
              <a:gd name="connsiteY1753" fmla="*/ 1704576 h 6367505"/>
              <a:gd name="connsiteX1754" fmla="*/ 4923048 w 7613003"/>
              <a:gd name="connsiteY1754" fmla="*/ 1732751 h 6367505"/>
              <a:gd name="connsiteX1755" fmla="*/ 4979401 w 7613003"/>
              <a:gd name="connsiteY1755" fmla="*/ 1803188 h 6367505"/>
              <a:gd name="connsiteX1756" fmla="*/ 4993490 w 7613003"/>
              <a:gd name="connsiteY1756" fmla="*/ 1803188 h 6367505"/>
              <a:gd name="connsiteX1757" fmla="*/ 4993490 w 7613003"/>
              <a:gd name="connsiteY1757" fmla="*/ 1817276 h 6367505"/>
              <a:gd name="connsiteX1758" fmla="*/ 5007579 w 7613003"/>
              <a:gd name="connsiteY1758" fmla="*/ 1817276 h 6367505"/>
              <a:gd name="connsiteX1759" fmla="*/ 5021666 w 7613003"/>
              <a:gd name="connsiteY1759" fmla="*/ 1859538 h 6367505"/>
              <a:gd name="connsiteX1760" fmla="*/ 5021666 w 7613003"/>
              <a:gd name="connsiteY1760" fmla="*/ 1873625 h 6367505"/>
              <a:gd name="connsiteX1761" fmla="*/ 5035754 w 7613003"/>
              <a:gd name="connsiteY1761" fmla="*/ 1915887 h 6367505"/>
              <a:gd name="connsiteX1762" fmla="*/ 5063931 w 7613003"/>
              <a:gd name="connsiteY1762" fmla="*/ 1958149 h 6367505"/>
              <a:gd name="connsiteX1763" fmla="*/ 5078019 w 7613003"/>
              <a:gd name="connsiteY1763" fmla="*/ 1972236 h 6367505"/>
              <a:gd name="connsiteX1764" fmla="*/ 5078019 w 7613003"/>
              <a:gd name="connsiteY1764" fmla="*/ 1986323 h 6367505"/>
              <a:gd name="connsiteX1765" fmla="*/ 5035754 w 7613003"/>
              <a:gd name="connsiteY1765" fmla="*/ 1944061 h 6367505"/>
              <a:gd name="connsiteX1766" fmla="*/ 5007579 w 7613003"/>
              <a:gd name="connsiteY1766" fmla="*/ 1929974 h 6367505"/>
              <a:gd name="connsiteX1767" fmla="*/ 4979401 w 7613003"/>
              <a:gd name="connsiteY1767" fmla="*/ 1887712 h 6367505"/>
              <a:gd name="connsiteX1768" fmla="*/ 4965313 w 7613003"/>
              <a:gd name="connsiteY1768" fmla="*/ 1873625 h 6367505"/>
              <a:gd name="connsiteX1769" fmla="*/ 4951226 w 7613003"/>
              <a:gd name="connsiteY1769" fmla="*/ 1859538 h 6367505"/>
              <a:gd name="connsiteX1770" fmla="*/ 4908961 w 7613003"/>
              <a:gd name="connsiteY1770" fmla="*/ 1831363 h 6367505"/>
              <a:gd name="connsiteX1771" fmla="*/ 4880784 w 7613003"/>
              <a:gd name="connsiteY1771" fmla="*/ 1803188 h 6367505"/>
              <a:gd name="connsiteX1772" fmla="*/ 4852608 w 7613003"/>
              <a:gd name="connsiteY1772" fmla="*/ 1775013 h 6367505"/>
              <a:gd name="connsiteX1773" fmla="*/ 4782167 w 7613003"/>
              <a:gd name="connsiteY1773" fmla="*/ 1704576 h 6367505"/>
              <a:gd name="connsiteX1774" fmla="*/ 4697638 w 7613003"/>
              <a:gd name="connsiteY1774" fmla="*/ 1634138 h 6367505"/>
              <a:gd name="connsiteX1775" fmla="*/ 4669461 w 7613003"/>
              <a:gd name="connsiteY1775" fmla="*/ 1620051 h 6367505"/>
              <a:gd name="connsiteX1776" fmla="*/ 4655372 w 7613003"/>
              <a:gd name="connsiteY1776" fmla="*/ 1605964 h 6367505"/>
              <a:gd name="connsiteX1777" fmla="*/ 4613108 w 7613003"/>
              <a:gd name="connsiteY1777" fmla="*/ 1577789 h 6367505"/>
              <a:gd name="connsiteX1778" fmla="*/ 4542666 w 7613003"/>
              <a:gd name="connsiteY1778" fmla="*/ 1535527 h 6367505"/>
              <a:gd name="connsiteX1779" fmla="*/ 4521535 w 7613003"/>
              <a:gd name="connsiteY1779" fmla="*/ 1521440 h 6367505"/>
              <a:gd name="connsiteX1780" fmla="*/ 4513274 w 7613003"/>
              <a:gd name="connsiteY1780" fmla="*/ 1515933 h 6367505"/>
              <a:gd name="connsiteX1781" fmla="*/ 4499507 w 7613003"/>
              <a:gd name="connsiteY1781" fmla="*/ 1521440 h 6367505"/>
              <a:gd name="connsiteX1782" fmla="*/ 4485419 w 7613003"/>
              <a:gd name="connsiteY1782" fmla="*/ 1521440 h 6367505"/>
              <a:gd name="connsiteX1783" fmla="*/ 4471330 w 7613003"/>
              <a:gd name="connsiteY1783" fmla="*/ 1535527 h 6367505"/>
              <a:gd name="connsiteX1784" fmla="*/ 4414979 w 7613003"/>
              <a:gd name="connsiteY1784" fmla="*/ 1549614 h 6367505"/>
              <a:gd name="connsiteX1785" fmla="*/ 4400890 w 7613003"/>
              <a:gd name="connsiteY1785" fmla="*/ 1563702 h 6367505"/>
              <a:gd name="connsiteX1786" fmla="*/ 4316360 w 7613003"/>
              <a:gd name="connsiteY1786" fmla="*/ 1605964 h 6367505"/>
              <a:gd name="connsiteX1787" fmla="*/ 4288184 w 7613003"/>
              <a:gd name="connsiteY1787" fmla="*/ 1620051 h 6367505"/>
              <a:gd name="connsiteX1788" fmla="*/ 4260008 w 7613003"/>
              <a:gd name="connsiteY1788" fmla="*/ 1634138 h 6367505"/>
              <a:gd name="connsiteX1789" fmla="*/ 4245920 w 7613003"/>
              <a:gd name="connsiteY1789" fmla="*/ 1648227 h 6367505"/>
              <a:gd name="connsiteX1790" fmla="*/ 4217743 w 7613003"/>
              <a:gd name="connsiteY1790" fmla="*/ 1676401 h 6367505"/>
              <a:gd name="connsiteX1791" fmla="*/ 4203655 w 7613003"/>
              <a:gd name="connsiteY1791" fmla="*/ 1676401 h 6367505"/>
              <a:gd name="connsiteX1792" fmla="*/ 4175478 w 7613003"/>
              <a:gd name="connsiteY1792" fmla="*/ 1704576 h 6367505"/>
              <a:gd name="connsiteX1793" fmla="*/ 4161390 w 7613003"/>
              <a:gd name="connsiteY1793" fmla="*/ 1704576 h 6367505"/>
              <a:gd name="connsiteX1794" fmla="*/ 4147302 w 7613003"/>
              <a:gd name="connsiteY1794" fmla="*/ 1718663 h 6367505"/>
              <a:gd name="connsiteX1795" fmla="*/ 4133214 w 7613003"/>
              <a:gd name="connsiteY1795" fmla="*/ 1732751 h 6367505"/>
              <a:gd name="connsiteX1796" fmla="*/ 4119125 w 7613003"/>
              <a:gd name="connsiteY1796" fmla="*/ 1746838 h 6367505"/>
              <a:gd name="connsiteX1797" fmla="*/ 4105037 w 7613003"/>
              <a:gd name="connsiteY1797" fmla="*/ 1760925 h 6367505"/>
              <a:gd name="connsiteX1798" fmla="*/ 4090949 w 7613003"/>
              <a:gd name="connsiteY1798" fmla="*/ 1760925 h 6367505"/>
              <a:gd name="connsiteX1799" fmla="*/ 4062772 w 7613003"/>
              <a:gd name="connsiteY1799" fmla="*/ 1789100 h 6367505"/>
              <a:gd name="connsiteX1800" fmla="*/ 4048684 w 7613003"/>
              <a:gd name="connsiteY1800" fmla="*/ 1789100 h 6367505"/>
              <a:gd name="connsiteX1801" fmla="*/ 4034596 w 7613003"/>
              <a:gd name="connsiteY1801" fmla="*/ 1817276 h 6367505"/>
              <a:gd name="connsiteX1802" fmla="*/ 4020508 w 7613003"/>
              <a:gd name="connsiteY1802" fmla="*/ 1817276 h 6367505"/>
              <a:gd name="connsiteX1803" fmla="*/ 4006419 w 7613003"/>
              <a:gd name="connsiteY1803" fmla="*/ 1831363 h 6367505"/>
              <a:gd name="connsiteX1804" fmla="*/ 3992331 w 7613003"/>
              <a:gd name="connsiteY1804" fmla="*/ 1845450 h 6367505"/>
              <a:gd name="connsiteX1805" fmla="*/ 3978244 w 7613003"/>
              <a:gd name="connsiteY1805" fmla="*/ 1859538 h 6367505"/>
              <a:gd name="connsiteX1806" fmla="*/ 3950066 w 7613003"/>
              <a:gd name="connsiteY1806" fmla="*/ 1887712 h 6367505"/>
              <a:gd name="connsiteX1807" fmla="*/ 3935979 w 7613003"/>
              <a:gd name="connsiteY1807" fmla="*/ 1915887 h 6367505"/>
              <a:gd name="connsiteX1808" fmla="*/ 3907802 w 7613003"/>
              <a:gd name="connsiteY1808" fmla="*/ 1929974 h 6367505"/>
              <a:gd name="connsiteX1809" fmla="*/ 3851449 w 7613003"/>
              <a:gd name="connsiteY1809" fmla="*/ 1986323 h 6367505"/>
              <a:gd name="connsiteX1810" fmla="*/ 3823273 w 7613003"/>
              <a:gd name="connsiteY1810" fmla="*/ 2014499 h 6367505"/>
              <a:gd name="connsiteX1811" fmla="*/ 3809185 w 7613003"/>
              <a:gd name="connsiteY1811" fmla="*/ 2028587 h 6367505"/>
              <a:gd name="connsiteX1812" fmla="*/ 3766920 w 7613003"/>
              <a:gd name="connsiteY1812" fmla="*/ 2070849 h 6367505"/>
              <a:gd name="connsiteX1813" fmla="*/ 3752832 w 7613003"/>
              <a:gd name="connsiteY1813" fmla="*/ 2084936 h 6367505"/>
              <a:gd name="connsiteX1814" fmla="*/ 3724655 w 7613003"/>
              <a:gd name="connsiteY1814" fmla="*/ 2127198 h 6367505"/>
              <a:gd name="connsiteX1815" fmla="*/ 3715851 w 7613003"/>
              <a:gd name="connsiteY1815" fmla="*/ 2141285 h 6367505"/>
              <a:gd name="connsiteX1816" fmla="*/ 3713698 w 7613003"/>
              <a:gd name="connsiteY1816" fmla="*/ 2142850 h 6367505"/>
              <a:gd name="connsiteX1817" fmla="*/ 3712328 w 7613003"/>
              <a:gd name="connsiteY1817" fmla="*/ 2143046 h 6367505"/>
              <a:gd name="connsiteX1818" fmla="*/ 3712200 w 7613003"/>
              <a:gd name="connsiteY1818" fmla="*/ 2143940 h 6367505"/>
              <a:gd name="connsiteX1819" fmla="*/ 3696479 w 7613003"/>
              <a:gd name="connsiteY1819" fmla="*/ 2155372 h 6367505"/>
              <a:gd name="connsiteX1820" fmla="*/ 3710567 w 7613003"/>
              <a:gd name="connsiteY1820" fmla="*/ 2155372 h 6367505"/>
              <a:gd name="connsiteX1821" fmla="*/ 3712200 w 7613003"/>
              <a:gd name="connsiteY1821" fmla="*/ 2143940 h 6367505"/>
              <a:gd name="connsiteX1822" fmla="*/ 3713698 w 7613003"/>
              <a:gd name="connsiteY1822" fmla="*/ 2142850 h 6367505"/>
              <a:gd name="connsiteX1823" fmla="*/ 3724655 w 7613003"/>
              <a:gd name="connsiteY1823" fmla="*/ 2141285 h 6367505"/>
              <a:gd name="connsiteX1824" fmla="*/ 3668303 w 7613003"/>
              <a:gd name="connsiteY1824" fmla="*/ 2211723 h 6367505"/>
              <a:gd name="connsiteX1825" fmla="*/ 3654214 w 7613003"/>
              <a:gd name="connsiteY1825" fmla="*/ 2225810 h 6367505"/>
              <a:gd name="connsiteX1826" fmla="*/ 3597862 w 7613003"/>
              <a:gd name="connsiteY1826" fmla="*/ 2296246 h 6367505"/>
              <a:gd name="connsiteX1827" fmla="*/ 3589056 w 7613003"/>
              <a:gd name="connsiteY1827" fmla="*/ 2317377 h 6367505"/>
              <a:gd name="connsiteX1828" fmla="*/ 3582600 w 7613003"/>
              <a:gd name="connsiteY1828" fmla="*/ 2324421 h 6367505"/>
              <a:gd name="connsiteX1829" fmla="*/ 3582013 w 7613003"/>
              <a:gd name="connsiteY1829" fmla="*/ 2324421 h 6367505"/>
              <a:gd name="connsiteX1830" fmla="*/ 3569684 w 7613003"/>
              <a:gd name="connsiteY1830" fmla="*/ 2324421 h 6367505"/>
              <a:gd name="connsiteX1831" fmla="*/ 3569684 w 7613003"/>
              <a:gd name="connsiteY1831" fmla="*/ 2338508 h 6367505"/>
              <a:gd name="connsiteX1832" fmla="*/ 3555597 w 7613003"/>
              <a:gd name="connsiteY1832" fmla="*/ 2352596 h 6367505"/>
              <a:gd name="connsiteX1833" fmla="*/ 3541509 w 7613003"/>
              <a:gd name="connsiteY1833" fmla="*/ 2373728 h 6367505"/>
              <a:gd name="connsiteX1834" fmla="*/ 3527420 w 7613003"/>
              <a:gd name="connsiteY1834" fmla="*/ 2380771 h 6367505"/>
              <a:gd name="connsiteX1835" fmla="*/ 3527420 w 7613003"/>
              <a:gd name="connsiteY1835" fmla="*/ 2394859 h 6367505"/>
              <a:gd name="connsiteX1836" fmla="*/ 3515093 w 7613003"/>
              <a:gd name="connsiteY1836" fmla="*/ 2408946 h 6367505"/>
              <a:gd name="connsiteX1837" fmla="*/ 3513333 w 7613003"/>
              <a:gd name="connsiteY1837" fmla="*/ 2408946 h 6367505"/>
              <a:gd name="connsiteX1838" fmla="*/ 3513333 w 7613003"/>
              <a:gd name="connsiteY1838" fmla="*/ 2423033 h 6367505"/>
              <a:gd name="connsiteX1839" fmla="*/ 3499244 w 7613003"/>
              <a:gd name="connsiteY1839" fmla="*/ 2437121 h 6367505"/>
              <a:gd name="connsiteX1840" fmla="*/ 3491417 w 7613003"/>
              <a:gd name="connsiteY1840" fmla="*/ 2455904 h 6367505"/>
              <a:gd name="connsiteX1841" fmla="*/ 3488287 w 7613003"/>
              <a:gd name="connsiteY1841" fmla="*/ 2460599 h 6367505"/>
              <a:gd name="connsiteX1842" fmla="*/ 3471067 w 7613003"/>
              <a:gd name="connsiteY1842" fmla="*/ 2479383 h 6367505"/>
              <a:gd name="connsiteX1843" fmla="*/ 3456980 w 7613003"/>
              <a:gd name="connsiteY1843" fmla="*/ 2507557 h 6367505"/>
              <a:gd name="connsiteX1844" fmla="*/ 3471067 w 7613003"/>
              <a:gd name="connsiteY1844" fmla="*/ 2493470 h 6367505"/>
              <a:gd name="connsiteX1845" fmla="*/ 3485156 w 7613003"/>
              <a:gd name="connsiteY1845" fmla="*/ 2479383 h 6367505"/>
              <a:gd name="connsiteX1846" fmla="*/ 3485156 w 7613003"/>
              <a:gd name="connsiteY1846" fmla="*/ 2493470 h 6367505"/>
              <a:gd name="connsiteX1847" fmla="*/ 3471067 w 7613003"/>
              <a:gd name="connsiteY1847" fmla="*/ 2521646 h 6367505"/>
              <a:gd name="connsiteX1848" fmla="*/ 3442891 w 7613003"/>
              <a:gd name="connsiteY1848" fmla="*/ 2563908 h 6367505"/>
              <a:gd name="connsiteX1849" fmla="*/ 3428803 w 7613003"/>
              <a:gd name="connsiteY1849" fmla="*/ 2577995 h 6367505"/>
              <a:gd name="connsiteX1850" fmla="*/ 3428803 w 7613003"/>
              <a:gd name="connsiteY1850" fmla="*/ 2606170 h 6367505"/>
              <a:gd name="connsiteX1851" fmla="*/ 3414714 w 7613003"/>
              <a:gd name="connsiteY1851" fmla="*/ 2634344 h 6367505"/>
              <a:gd name="connsiteX1852" fmla="*/ 3372450 w 7613003"/>
              <a:gd name="connsiteY1852" fmla="*/ 2718869 h 6367505"/>
              <a:gd name="connsiteX1853" fmla="*/ 3372450 w 7613003"/>
              <a:gd name="connsiteY1853" fmla="*/ 2732957 h 6367505"/>
              <a:gd name="connsiteX1854" fmla="*/ 3372450 w 7613003"/>
              <a:gd name="connsiteY1854" fmla="*/ 2747044 h 6367505"/>
              <a:gd name="connsiteX1855" fmla="*/ 3372450 w 7613003"/>
              <a:gd name="connsiteY1855" fmla="*/ 2789306 h 6367505"/>
              <a:gd name="connsiteX1856" fmla="*/ 3358361 w 7613003"/>
              <a:gd name="connsiteY1856" fmla="*/ 2831568 h 6367505"/>
              <a:gd name="connsiteX1857" fmla="*/ 3344274 w 7613003"/>
              <a:gd name="connsiteY1857" fmla="*/ 2916093 h 6367505"/>
              <a:gd name="connsiteX1858" fmla="*/ 3330185 w 7613003"/>
              <a:gd name="connsiteY1858" fmla="*/ 2944268 h 6367505"/>
              <a:gd name="connsiteX1859" fmla="*/ 3330185 w 7613003"/>
              <a:gd name="connsiteY1859" fmla="*/ 2986529 h 6367505"/>
              <a:gd name="connsiteX1860" fmla="*/ 3316097 w 7613003"/>
              <a:gd name="connsiteY1860" fmla="*/ 3056966 h 6367505"/>
              <a:gd name="connsiteX1861" fmla="*/ 3316097 w 7613003"/>
              <a:gd name="connsiteY1861" fmla="*/ 3071053 h 6367505"/>
              <a:gd name="connsiteX1862" fmla="*/ 3316097 w 7613003"/>
              <a:gd name="connsiteY1862" fmla="*/ 3099229 h 6367505"/>
              <a:gd name="connsiteX1863" fmla="*/ 3302008 w 7613003"/>
              <a:gd name="connsiteY1863" fmla="*/ 3183753 h 6367505"/>
              <a:gd name="connsiteX1864" fmla="*/ 3302008 w 7613003"/>
              <a:gd name="connsiteY1864" fmla="*/ 3282365 h 6367505"/>
              <a:gd name="connsiteX1865" fmla="*/ 3316097 w 7613003"/>
              <a:gd name="connsiteY1865" fmla="*/ 3352801 h 6367505"/>
              <a:gd name="connsiteX1866" fmla="*/ 3316097 w 7613003"/>
              <a:gd name="connsiteY1866" fmla="*/ 3380976 h 6367505"/>
              <a:gd name="connsiteX1867" fmla="*/ 3330185 w 7613003"/>
              <a:gd name="connsiteY1867" fmla="*/ 3423238 h 6367505"/>
              <a:gd name="connsiteX1868" fmla="*/ 3330185 w 7613003"/>
              <a:gd name="connsiteY1868" fmla="*/ 3437327 h 6367505"/>
              <a:gd name="connsiteX1869" fmla="*/ 3344274 w 7613003"/>
              <a:gd name="connsiteY1869" fmla="*/ 3521850 h 6367505"/>
              <a:gd name="connsiteX1870" fmla="*/ 3372450 w 7613003"/>
              <a:gd name="connsiteY1870" fmla="*/ 3592287 h 6367505"/>
              <a:gd name="connsiteX1871" fmla="*/ 3386538 w 7613003"/>
              <a:gd name="connsiteY1871" fmla="*/ 3634550 h 6367505"/>
              <a:gd name="connsiteX1872" fmla="*/ 3386538 w 7613003"/>
              <a:gd name="connsiteY1872" fmla="*/ 3648637 h 6367505"/>
              <a:gd name="connsiteX1873" fmla="*/ 3414714 w 7613003"/>
              <a:gd name="connsiteY1873" fmla="*/ 3690899 h 6367505"/>
              <a:gd name="connsiteX1874" fmla="*/ 3414714 w 7613003"/>
              <a:gd name="connsiteY1874" fmla="*/ 3704987 h 6367505"/>
              <a:gd name="connsiteX1875" fmla="*/ 3414714 w 7613003"/>
              <a:gd name="connsiteY1875" fmla="*/ 3719074 h 6367505"/>
              <a:gd name="connsiteX1876" fmla="*/ 3428803 w 7613003"/>
              <a:gd name="connsiteY1876" fmla="*/ 3733161 h 6367505"/>
              <a:gd name="connsiteX1877" fmla="*/ 3442891 w 7613003"/>
              <a:gd name="connsiteY1877" fmla="*/ 3789512 h 6367505"/>
              <a:gd name="connsiteX1878" fmla="*/ 3471067 w 7613003"/>
              <a:gd name="connsiteY1878" fmla="*/ 3831773 h 6367505"/>
              <a:gd name="connsiteX1879" fmla="*/ 3527420 w 7613003"/>
              <a:gd name="connsiteY1879" fmla="*/ 3958560 h 6367505"/>
              <a:gd name="connsiteX1880" fmla="*/ 3555597 w 7613003"/>
              <a:gd name="connsiteY1880" fmla="*/ 4028997 h 6367505"/>
              <a:gd name="connsiteX1881" fmla="*/ 3583773 w 7613003"/>
              <a:gd name="connsiteY1881" fmla="*/ 4071259 h 6367505"/>
              <a:gd name="connsiteX1882" fmla="*/ 3611950 w 7613003"/>
              <a:gd name="connsiteY1882" fmla="*/ 4113521 h 6367505"/>
              <a:gd name="connsiteX1883" fmla="*/ 3724655 w 7613003"/>
              <a:gd name="connsiteY1883" fmla="*/ 4254395 h 6367505"/>
              <a:gd name="connsiteX1884" fmla="*/ 3752832 w 7613003"/>
              <a:gd name="connsiteY1884" fmla="*/ 4282570 h 6367505"/>
              <a:gd name="connsiteX1885" fmla="*/ 3766920 w 7613003"/>
              <a:gd name="connsiteY1885" fmla="*/ 4282570 h 6367505"/>
              <a:gd name="connsiteX1886" fmla="*/ 3851449 w 7613003"/>
              <a:gd name="connsiteY1886" fmla="*/ 4381182 h 6367505"/>
              <a:gd name="connsiteX1887" fmla="*/ 3921891 w 7613003"/>
              <a:gd name="connsiteY1887" fmla="*/ 4437531 h 6367505"/>
              <a:gd name="connsiteX1888" fmla="*/ 3964155 w 7613003"/>
              <a:gd name="connsiteY1888" fmla="*/ 4465706 h 6367505"/>
              <a:gd name="connsiteX1889" fmla="*/ 4006419 w 7613003"/>
              <a:gd name="connsiteY1889" fmla="*/ 4507969 h 6367505"/>
              <a:gd name="connsiteX1890" fmla="*/ 4020508 w 7613003"/>
              <a:gd name="connsiteY1890" fmla="*/ 4507969 h 6367505"/>
              <a:gd name="connsiteX1891" fmla="*/ 4048684 w 7613003"/>
              <a:gd name="connsiteY1891" fmla="*/ 4536144 h 6367505"/>
              <a:gd name="connsiteX1892" fmla="*/ 4062772 w 7613003"/>
              <a:gd name="connsiteY1892" fmla="*/ 4536144 h 6367505"/>
              <a:gd name="connsiteX1893" fmla="*/ 4048684 w 7613003"/>
              <a:gd name="connsiteY1893" fmla="*/ 4550231 h 6367505"/>
              <a:gd name="connsiteX1894" fmla="*/ 4034596 w 7613003"/>
              <a:gd name="connsiteY1894" fmla="*/ 4550231 h 6367505"/>
              <a:gd name="connsiteX1895" fmla="*/ 4062772 w 7613003"/>
              <a:gd name="connsiteY1895" fmla="*/ 4578406 h 6367505"/>
              <a:gd name="connsiteX1896" fmla="*/ 4119125 w 7613003"/>
              <a:gd name="connsiteY1896" fmla="*/ 4606580 h 6367505"/>
              <a:gd name="connsiteX1897" fmla="*/ 4183518 w 7613003"/>
              <a:gd name="connsiteY1897" fmla="*/ 4638774 h 6367505"/>
              <a:gd name="connsiteX1898" fmla="*/ 4190461 w 7613003"/>
              <a:gd name="connsiteY1898" fmla="*/ 4634755 h 6367505"/>
              <a:gd name="connsiteX1899" fmla="*/ 4232726 w 7613003"/>
              <a:gd name="connsiteY1899" fmla="*/ 4634755 h 6367505"/>
              <a:gd name="connsiteX1900" fmla="*/ 4232726 w 7613003"/>
              <a:gd name="connsiteY1900" fmla="*/ 4648842 h 6367505"/>
              <a:gd name="connsiteX1901" fmla="*/ 4226826 w 7613003"/>
              <a:gd name="connsiteY1901" fmla="*/ 4658430 h 6367505"/>
              <a:gd name="connsiteX1902" fmla="*/ 4254724 w 7613003"/>
              <a:gd name="connsiteY1902" fmla="*/ 4669974 h 6367505"/>
              <a:gd name="connsiteX1903" fmla="*/ 4316360 w 7613003"/>
              <a:gd name="connsiteY1903" fmla="*/ 4691105 h 6367505"/>
              <a:gd name="connsiteX1904" fmla="*/ 4337493 w 7613003"/>
              <a:gd name="connsiteY1904" fmla="*/ 4692866 h 6367505"/>
              <a:gd name="connsiteX1905" fmla="*/ 4353845 w 7613003"/>
              <a:gd name="connsiteY1905" fmla="*/ 4702405 h 6367505"/>
              <a:gd name="connsiteX1906" fmla="*/ 4355117 w 7613003"/>
              <a:gd name="connsiteY1906" fmla="*/ 4701450 h 6367505"/>
              <a:gd name="connsiteX1907" fmla="*/ 4387696 w 7613003"/>
              <a:gd name="connsiteY1907" fmla="*/ 4677018 h 6367505"/>
              <a:gd name="connsiteX1908" fmla="*/ 4444049 w 7613003"/>
              <a:gd name="connsiteY1908" fmla="*/ 4648842 h 6367505"/>
              <a:gd name="connsiteX1909" fmla="*/ 4472226 w 7613003"/>
              <a:gd name="connsiteY1909" fmla="*/ 4634755 h 6367505"/>
              <a:gd name="connsiteX1910" fmla="*/ 4500402 w 7613003"/>
              <a:gd name="connsiteY1910" fmla="*/ 4620667 h 6367505"/>
              <a:gd name="connsiteX1911" fmla="*/ 4542666 w 7613003"/>
              <a:gd name="connsiteY1911" fmla="*/ 4592493 h 6367505"/>
              <a:gd name="connsiteX1912" fmla="*/ 4556755 w 7613003"/>
              <a:gd name="connsiteY1912" fmla="*/ 4578406 h 6367505"/>
              <a:gd name="connsiteX1913" fmla="*/ 4613108 w 7613003"/>
              <a:gd name="connsiteY1913" fmla="*/ 4522056 h 6367505"/>
              <a:gd name="connsiteX1914" fmla="*/ 4641285 w 7613003"/>
              <a:gd name="connsiteY1914" fmla="*/ 4493882 h 6367505"/>
              <a:gd name="connsiteX1915" fmla="*/ 4697638 w 7613003"/>
              <a:gd name="connsiteY1915" fmla="*/ 4451619 h 6367505"/>
              <a:gd name="connsiteX1916" fmla="*/ 4711725 w 7613003"/>
              <a:gd name="connsiteY1916" fmla="*/ 4437531 h 6367505"/>
              <a:gd name="connsiteX1917" fmla="*/ 4768078 w 7613003"/>
              <a:gd name="connsiteY1917" fmla="*/ 4353007 h 6367505"/>
              <a:gd name="connsiteX1918" fmla="*/ 4782167 w 7613003"/>
              <a:gd name="connsiteY1918" fmla="*/ 4338920 h 6367505"/>
              <a:gd name="connsiteX1919" fmla="*/ 4824431 w 7613003"/>
              <a:gd name="connsiteY1919" fmla="*/ 4296657 h 6367505"/>
              <a:gd name="connsiteX1920" fmla="*/ 4838520 w 7613003"/>
              <a:gd name="connsiteY1920" fmla="*/ 4282570 h 6367505"/>
              <a:gd name="connsiteX1921" fmla="*/ 4838520 w 7613003"/>
              <a:gd name="connsiteY1921" fmla="*/ 4268482 h 6367505"/>
              <a:gd name="connsiteX1922" fmla="*/ 4894873 w 7613003"/>
              <a:gd name="connsiteY1922" fmla="*/ 4226221 h 6367505"/>
              <a:gd name="connsiteX1923" fmla="*/ 4894873 w 7613003"/>
              <a:gd name="connsiteY1923" fmla="*/ 4212133 h 6367505"/>
              <a:gd name="connsiteX1924" fmla="*/ 4923048 w 7613003"/>
              <a:gd name="connsiteY1924" fmla="*/ 4183958 h 6367505"/>
              <a:gd name="connsiteX1925" fmla="*/ 4937137 w 7613003"/>
              <a:gd name="connsiteY1925" fmla="*/ 4169871 h 6367505"/>
              <a:gd name="connsiteX1926" fmla="*/ 4979401 w 7613003"/>
              <a:gd name="connsiteY1926" fmla="*/ 4113521 h 6367505"/>
              <a:gd name="connsiteX1927" fmla="*/ 4993490 w 7613003"/>
              <a:gd name="connsiteY1927" fmla="*/ 4099433 h 6367505"/>
              <a:gd name="connsiteX1928" fmla="*/ 5021666 w 7613003"/>
              <a:gd name="connsiteY1928" fmla="*/ 4028997 h 6367505"/>
              <a:gd name="connsiteX1929" fmla="*/ 5063931 w 7613003"/>
              <a:gd name="connsiteY1929" fmla="*/ 3958560 h 6367505"/>
              <a:gd name="connsiteX1930" fmla="*/ 5078019 w 7613003"/>
              <a:gd name="connsiteY1930" fmla="*/ 3986735 h 6367505"/>
              <a:gd name="connsiteX1931" fmla="*/ 5063931 w 7613003"/>
              <a:gd name="connsiteY1931" fmla="*/ 4043084 h 6367505"/>
              <a:gd name="connsiteX1932" fmla="*/ 5063931 w 7613003"/>
              <a:gd name="connsiteY1932" fmla="*/ 4085346 h 6367505"/>
              <a:gd name="connsiteX1933" fmla="*/ 5063931 w 7613003"/>
              <a:gd name="connsiteY1933" fmla="*/ 4113521 h 6367505"/>
              <a:gd name="connsiteX1934" fmla="*/ 5021666 w 7613003"/>
              <a:gd name="connsiteY1934" fmla="*/ 4198046 h 6367505"/>
              <a:gd name="connsiteX1935" fmla="*/ 5021666 w 7613003"/>
              <a:gd name="connsiteY1935" fmla="*/ 4212133 h 6367505"/>
              <a:gd name="connsiteX1936" fmla="*/ 4993490 w 7613003"/>
              <a:gd name="connsiteY1936" fmla="*/ 4268482 h 6367505"/>
              <a:gd name="connsiteX1937" fmla="*/ 4965313 w 7613003"/>
              <a:gd name="connsiteY1937" fmla="*/ 4353007 h 6367505"/>
              <a:gd name="connsiteX1938" fmla="*/ 4908961 w 7613003"/>
              <a:gd name="connsiteY1938" fmla="*/ 4423444 h 6367505"/>
              <a:gd name="connsiteX1939" fmla="*/ 4852608 w 7613003"/>
              <a:gd name="connsiteY1939" fmla="*/ 4522056 h 6367505"/>
              <a:gd name="connsiteX1940" fmla="*/ 4824431 w 7613003"/>
              <a:gd name="connsiteY1940" fmla="*/ 4564318 h 6367505"/>
              <a:gd name="connsiteX1941" fmla="*/ 4782167 w 7613003"/>
              <a:gd name="connsiteY1941" fmla="*/ 4634755 h 6367505"/>
              <a:gd name="connsiteX1942" fmla="*/ 4753990 w 7613003"/>
              <a:gd name="connsiteY1942" fmla="*/ 4705192 h 6367505"/>
              <a:gd name="connsiteX1943" fmla="*/ 4711725 w 7613003"/>
              <a:gd name="connsiteY1943" fmla="*/ 4775629 h 6367505"/>
              <a:gd name="connsiteX1944" fmla="*/ 4690593 w 7613003"/>
              <a:gd name="connsiteY1944" fmla="*/ 4809086 h 6367505"/>
              <a:gd name="connsiteX1945" fmla="*/ 4674017 w 7613003"/>
              <a:gd name="connsiteY1945" fmla="*/ 4827043 h 6367505"/>
              <a:gd name="connsiteX1946" fmla="*/ 4682655 w 7613003"/>
              <a:gd name="connsiteY1946" fmla="*/ 4831978 h 6367505"/>
              <a:gd name="connsiteX1947" fmla="*/ 4696742 w 7613003"/>
              <a:gd name="connsiteY1947" fmla="*/ 4831978 h 6367505"/>
              <a:gd name="connsiteX1948" fmla="*/ 4730202 w 7613003"/>
              <a:gd name="connsiteY1948" fmla="*/ 4844306 h 6367505"/>
              <a:gd name="connsiteX1949" fmla="*/ 4741867 w 7613003"/>
              <a:gd name="connsiteY1949" fmla="*/ 4845203 h 6367505"/>
              <a:gd name="connsiteX1950" fmla="*/ 4753990 w 7613003"/>
              <a:gd name="connsiteY1950" fmla="*/ 4831978 h 6367505"/>
              <a:gd name="connsiteX1951" fmla="*/ 4796255 w 7613003"/>
              <a:gd name="connsiteY1951" fmla="*/ 4789716 h 6367505"/>
              <a:gd name="connsiteX1952" fmla="*/ 4838520 w 7613003"/>
              <a:gd name="connsiteY1952" fmla="*/ 4747454 h 6367505"/>
              <a:gd name="connsiteX1953" fmla="*/ 4894873 w 7613003"/>
              <a:gd name="connsiteY1953" fmla="*/ 4691105 h 6367505"/>
              <a:gd name="connsiteX1954" fmla="*/ 4908961 w 7613003"/>
              <a:gd name="connsiteY1954" fmla="*/ 4691105 h 6367505"/>
              <a:gd name="connsiteX1955" fmla="*/ 4965313 w 7613003"/>
              <a:gd name="connsiteY1955" fmla="*/ 4634755 h 6367505"/>
              <a:gd name="connsiteX1956" fmla="*/ 5035754 w 7613003"/>
              <a:gd name="connsiteY1956" fmla="*/ 4550231 h 6367505"/>
              <a:gd name="connsiteX1957" fmla="*/ 5063931 w 7613003"/>
              <a:gd name="connsiteY1957" fmla="*/ 4522056 h 6367505"/>
              <a:gd name="connsiteX1958" fmla="*/ 5063931 w 7613003"/>
              <a:gd name="connsiteY1958" fmla="*/ 4536144 h 6367505"/>
              <a:gd name="connsiteX1959" fmla="*/ 5049843 w 7613003"/>
              <a:gd name="connsiteY1959" fmla="*/ 4592493 h 6367505"/>
              <a:gd name="connsiteX1960" fmla="*/ 5049843 w 7613003"/>
              <a:gd name="connsiteY1960" fmla="*/ 4606580 h 6367505"/>
              <a:gd name="connsiteX1961" fmla="*/ 5021666 w 7613003"/>
              <a:gd name="connsiteY1961" fmla="*/ 4677018 h 6367505"/>
              <a:gd name="connsiteX1962" fmla="*/ 4894873 w 7613003"/>
              <a:gd name="connsiteY1962" fmla="*/ 4860154 h 6367505"/>
              <a:gd name="connsiteX1963" fmla="*/ 4902783 w 7613003"/>
              <a:gd name="connsiteY1963" fmla="*/ 4860154 h 6367505"/>
              <a:gd name="connsiteX1964" fmla="*/ 4922154 w 7613003"/>
              <a:gd name="connsiteY1964" fmla="*/ 4860154 h 6367505"/>
              <a:gd name="connsiteX1965" fmla="*/ 4936242 w 7613003"/>
              <a:gd name="connsiteY1965" fmla="*/ 4860154 h 6367505"/>
              <a:gd name="connsiteX1966" fmla="*/ 4950331 w 7613003"/>
              <a:gd name="connsiteY1966" fmla="*/ 4860154 h 6367505"/>
              <a:gd name="connsiteX1967" fmla="*/ 4964418 w 7613003"/>
              <a:gd name="connsiteY1967" fmla="*/ 4846067 h 6367505"/>
              <a:gd name="connsiteX1968" fmla="*/ 5034860 w 7613003"/>
              <a:gd name="connsiteY1968" fmla="*/ 4846067 h 6367505"/>
              <a:gd name="connsiteX1969" fmla="*/ 5119389 w 7613003"/>
              <a:gd name="connsiteY1969" fmla="*/ 4846067 h 6367505"/>
              <a:gd name="connsiteX1970" fmla="*/ 5128194 w 7613003"/>
              <a:gd name="connsiteY1970" fmla="*/ 4846067 h 6367505"/>
              <a:gd name="connsiteX1971" fmla="*/ 5136626 w 7613003"/>
              <a:gd name="connsiteY1971" fmla="*/ 4846067 h 6367505"/>
              <a:gd name="connsiteX1972" fmla="*/ 5153743 w 7613003"/>
              <a:gd name="connsiteY1972" fmla="*/ 4830218 h 6367505"/>
              <a:gd name="connsiteX1973" fmla="*/ 5190725 w 7613003"/>
              <a:gd name="connsiteY1973" fmla="*/ 4775629 h 6367505"/>
              <a:gd name="connsiteX1974" fmla="*/ 5204813 w 7613003"/>
              <a:gd name="connsiteY1974" fmla="*/ 4761542 h 6367505"/>
              <a:gd name="connsiteX1975" fmla="*/ 5190725 w 7613003"/>
              <a:gd name="connsiteY1975" fmla="*/ 4761542 h 6367505"/>
              <a:gd name="connsiteX1976" fmla="*/ 5218902 w 7613003"/>
              <a:gd name="connsiteY1976" fmla="*/ 4747454 h 6367505"/>
              <a:gd name="connsiteX1977" fmla="*/ 5289343 w 7613003"/>
              <a:gd name="connsiteY1977" fmla="*/ 4634755 h 6367505"/>
              <a:gd name="connsiteX1978" fmla="*/ 5303431 w 7613003"/>
              <a:gd name="connsiteY1978" fmla="*/ 4620667 h 6367505"/>
              <a:gd name="connsiteX1979" fmla="*/ 5317519 w 7613003"/>
              <a:gd name="connsiteY1979" fmla="*/ 4606580 h 6367505"/>
              <a:gd name="connsiteX1980" fmla="*/ 5331608 w 7613003"/>
              <a:gd name="connsiteY1980" fmla="*/ 4592493 h 6367505"/>
              <a:gd name="connsiteX1981" fmla="*/ 5345695 w 7613003"/>
              <a:gd name="connsiteY1981" fmla="*/ 4564318 h 6367505"/>
              <a:gd name="connsiteX1982" fmla="*/ 5373872 w 7613003"/>
              <a:gd name="connsiteY1982" fmla="*/ 4536144 h 6367505"/>
              <a:gd name="connsiteX1983" fmla="*/ 5373872 w 7613003"/>
              <a:gd name="connsiteY1983" fmla="*/ 4522056 h 6367505"/>
              <a:gd name="connsiteX1984" fmla="*/ 5387961 w 7613003"/>
              <a:gd name="connsiteY1984" fmla="*/ 4507969 h 6367505"/>
              <a:gd name="connsiteX1985" fmla="*/ 5416136 w 7613003"/>
              <a:gd name="connsiteY1985" fmla="*/ 4479793 h 6367505"/>
              <a:gd name="connsiteX1986" fmla="*/ 5444314 w 7613003"/>
              <a:gd name="connsiteY1986" fmla="*/ 4437531 h 6367505"/>
              <a:gd name="connsiteX1987" fmla="*/ 5472489 w 7613003"/>
              <a:gd name="connsiteY1987" fmla="*/ 4381182 h 6367505"/>
              <a:gd name="connsiteX1988" fmla="*/ 5472489 w 7613003"/>
              <a:gd name="connsiteY1988" fmla="*/ 4367095 h 6367505"/>
              <a:gd name="connsiteX1989" fmla="*/ 5528842 w 7613003"/>
              <a:gd name="connsiteY1989" fmla="*/ 4268482 h 6367505"/>
              <a:gd name="connsiteX1990" fmla="*/ 5528842 w 7613003"/>
              <a:gd name="connsiteY1990" fmla="*/ 4254395 h 6367505"/>
              <a:gd name="connsiteX1991" fmla="*/ 5542931 w 7613003"/>
              <a:gd name="connsiteY1991" fmla="*/ 4226221 h 6367505"/>
              <a:gd name="connsiteX1992" fmla="*/ 5585195 w 7613003"/>
              <a:gd name="connsiteY1992" fmla="*/ 4141697 h 6367505"/>
              <a:gd name="connsiteX1993" fmla="*/ 5599284 w 7613003"/>
              <a:gd name="connsiteY1993" fmla="*/ 4099433 h 6367505"/>
              <a:gd name="connsiteX1994" fmla="*/ 5641548 w 7613003"/>
              <a:gd name="connsiteY1994" fmla="*/ 3958560 h 6367505"/>
              <a:gd name="connsiteX1995" fmla="*/ 5655637 w 7613003"/>
              <a:gd name="connsiteY1995" fmla="*/ 3916297 h 6367505"/>
              <a:gd name="connsiteX1996" fmla="*/ 5669724 w 7613003"/>
              <a:gd name="connsiteY1996" fmla="*/ 3888123 h 6367505"/>
              <a:gd name="connsiteX1997" fmla="*/ 5697901 w 7613003"/>
              <a:gd name="connsiteY1997" fmla="*/ 3775423 h 6367505"/>
              <a:gd name="connsiteX1998" fmla="*/ 5726077 w 7613003"/>
              <a:gd name="connsiteY1998" fmla="*/ 3690899 h 6367505"/>
              <a:gd name="connsiteX1999" fmla="*/ 5740166 w 7613003"/>
              <a:gd name="connsiteY1999" fmla="*/ 3592287 h 6367505"/>
              <a:gd name="connsiteX2000" fmla="*/ 5754254 w 7613003"/>
              <a:gd name="connsiteY2000" fmla="*/ 3564112 h 6367505"/>
              <a:gd name="connsiteX2001" fmla="*/ 5768341 w 7613003"/>
              <a:gd name="connsiteY2001" fmla="*/ 3521850 h 6367505"/>
              <a:gd name="connsiteX2002" fmla="*/ 5768341 w 7613003"/>
              <a:gd name="connsiteY2002" fmla="*/ 3479588 h 6367505"/>
              <a:gd name="connsiteX2003" fmla="*/ 5782430 w 7613003"/>
              <a:gd name="connsiteY2003" fmla="*/ 3366889 h 6367505"/>
              <a:gd name="connsiteX2004" fmla="*/ 5782430 w 7613003"/>
              <a:gd name="connsiteY2004" fmla="*/ 3310540 h 6367505"/>
              <a:gd name="connsiteX2005" fmla="*/ 5796519 w 7613003"/>
              <a:gd name="connsiteY2005" fmla="*/ 3240102 h 6367505"/>
              <a:gd name="connsiteX2006" fmla="*/ 5810607 w 7613003"/>
              <a:gd name="connsiteY2006" fmla="*/ 3211927 h 6367505"/>
              <a:gd name="connsiteX2007" fmla="*/ 5824694 w 7613003"/>
              <a:gd name="connsiteY2007" fmla="*/ 3226015 h 6367505"/>
              <a:gd name="connsiteX2008" fmla="*/ 5824694 w 7613003"/>
              <a:gd name="connsiteY2008" fmla="*/ 3282365 h 6367505"/>
              <a:gd name="connsiteX2009" fmla="*/ 5824694 w 7613003"/>
              <a:gd name="connsiteY2009" fmla="*/ 3324627 h 6367505"/>
              <a:gd name="connsiteX2010" fmla="*/ 5824694 w 7613003"/>
              <a:gd name="connsiteY2010" fmla="*/ 3352801 h 6367505"/>
              <a:gd name="connsiteX2011" fmla="*/ 5838783 w 7613003"/>
              <a:gd name="connsiteY2011" fmla="*/ 3352801 h 6367505"/>
              <a:gd name="connsiteX2012" fmla="*/ 5852872 w 7613003"/>
              <a:gd name="connsiteY2012" fmla="*/ 3338714 h 6367505"/>
              <a:gd name="connsiteX2013" fmla="*/ 5881047 w 7613003"/>
              <a:gd name="connsiteY2013" fmla="*/ 3282365 h 6367505"/>
              <a:gd name="connsiteX2014" fmla="*/ 5895136 w 7613003"/>
              <a:gd name="connsiteY2014" fmla="*/ 3254190 h 6367505"/>
              <a:gd name="connsiteX2015" fmla="*/ 5895136 w 7613003"/>
              <a:gd name="connsiteY2015" fmla="*/ 3268278 h 6367505"/>
              <a:gd name="connsiteX2016" fmla="*/ 5895136 w 7613003"/>
              <a:gd name="connsiteY2016" fmla="*/ 3282365 h 6367505"/>
              <a:gd name="connsiteX2017" fmla="*/ 5923313 w 7613003"/>
              <a:gd name="connsiteY2017" fmla="*/ 3296452 h 6367505"/>
              <a:gd name="connsiteX2018" fmla="*/ 5951489 w 7613003"/>
              <a:gd name="connsiteY2018" fmla="*/ 3395063 h 6367505"/>
              <a:gd name="connsiteX2019" fmla="*/ 5965577 w 7613003"/>
              <a:gd name="connsiteY2019" fmla="*/ 3395063 h 6367505"/>
              <a:gd name="connsiteX2020" fmla="*/ 5979666 w 7613003"/>
              <a:gd name="connsiteY2020" fmla="*/ 3409151 h 6367505"/>
              <a:gd name="connsiteX2021" fmla="*/ 5979666 w 7613003"/>
              <a:gd name="connsiteY2021" fmla="*/ 3465501 h 6367505"/>
              <a:gd name="connsiteX2022" fmla="*/ 5993753 w 7613003"/>
              <a:gd name="connsiteY2022" fmla="*/ 3493676 h 6367505"/>
              <a:gd name="connsiteX2023" fmla="*/ 5993753 w 7613003"/>
              <a:gd name="connsiteY2023" fmla="*/ 3578200 h 6367505"/>
              <a:gd name="connsiteX2024" fmla="*/ 5993753 w 7613003"/>
              <a:gd name="connsiteY2024" fmla="*/ 3690899 h 6367505"/>
              <a:gd name="connsiteX2025" fmla="*/ 5993753 w 7613003"/>
              <a:gd name="connsiteY2025" fmla="*/ 3775423 h 6367505"/>
              <a:gd name="connsiteX2026" fmla="*/ 5993753 w 7613003"/>
              <a:gd name="connsiteY2026" fmla="*/ 3817686 h 6367505"/>
              <a:gd name="connsiteX2027" fmla="*/ 5979666 w 7613003"/>
              <a:gd name="connsiteY2027" fmla="*/ 3859948 h 6367505"/>
              <a:gd name="connsiteX2028" fmla="*/ 5979666 w 7613003"/>
              <a:gd name="connsiteY2028" fmla="*/ 3902210 h 6367505"/>
              <a:gd name="connsiteX2029" fmla="*/ 5979666 w 7613003"/>
              <a:gd name="connsiteY2029" fmla="*/ 3916297 h 6367505"/>
              <a:gd name="connsiteX2030" fmla="*/ 5979666 w 7613003"/>
              <a:gd name="connsiteY2030" fmla="*/ 3944472 h 6367505"/>
              <a:gd name="connsiteX2031" fmla="*/ 5965577 w 7613003"/>
              <a:gd name="connsiteY2031" fmla="*/ 4000822 h 6367505"/>
              <a:gd name="connsiteX2032" fmla="*/ 5923313 w 7613003"/>
              <a:gd name="connsiteY2032" fmla="*/ 4155784 h 6367505"/>
              <a:gd name="connsiteX2033" fmla="*/ 5895136 w 7613003"/>
              <a:gd name="connsiteY2033" fmla="*/ 4254395 h 6367505"/>
              <a:gd name="connsiteX2034" fmla="*/ 5895136 w 7613003"/>
              <a:gd name="connsiteY2034" fmla="*/ 4310744 h 6367505"/>
              <a:gd name="connsiteX2035" fmla="*/ 5881047 w 7613003"/>
              <a:gd name="connsiteY2035" fmla="*/ 4324833 h 6367505"/>
              <a:gd name="connsiteX2036" fmla="*/ 5895136 w 7613003"/>
              <a:gd name="connsiteY2036" fmla="*/ 4338920 h 6367505"/>
              <a:gd name="connsiteX2037" fmla="*/ 5866960 w 7613003"/>
              <a:gd name="connsiteY2037" fmla="*/ 4423444 h 6367505"/>
              <a:gd name="connsiteX2038" fmla="*/ 5824694 w 7613003"/>
              <a:gd name="connsiteY2038" fmla="*/ 4507969 h 6367505"/>
              <a:gd name="connsiteX2039" fmla="*/ 5810607 w 7613003"/>
              <a:gd name="connsiteY2039" fmla="*/ 4564318 h 6367505"/>
              <a:gd name="connsiteX2040" fmla="*/ 5787714 w 7613003"/>
              <a:gd name="connsiteY2040" fmla="*/ 4615385 h 6367505"/>
              <a:gd name="connsiteX2041" fmla="*/ 5764157 w 7613003"/>
              <a:gd name="connsiteY2041" fmla="*/ 4658776 h 6367505"/>
              <a:gd name="connsiteX2042" fmla="*/ 5776252 w 7613003"/>
              <a:gd name="connsiteY2042" fmla="*/ 4654125 h 6367505"/>
              <a:gd name="connsiteX2043" fmla="*/ 5809711 w 7613003"/>
              <a:gd name="connsiteY2043" fmla="*/ 4634755 h 6367505"/>
              <a:gd name="connsiteX2044" fmla="*/ 5851976 w 7613003"/>
              <a:gd name="connsiteY2044" fmla="*/ 4634755 h 6367505"/>
              <a:gd name="connsiteX2045" fmla="*/ 5851976 w 7613003"/>
              <a:gd name="connsiteY2045" fmla="*/ 4648842 h 6367505"/>
              <a:gd name="connsiteX2046" fmla="*/ 5823800 w 7613003"/>
              <a:gd name="connsiteY2046" fmla="*/ 4705192 h 6367505"/>
              <a:gd name="connsiteX2047" fmla="*/ 5809711 w 7613003"/>
              <a:gd name="connsiteY2047" fmla="*/ 4719280 h 6367505"/>
              <a:gd name="connsiteX2048" fmla="*/ 5809711 w 7613003"/>
              <a:gd name="connsiteY2048" fmla="*/ 4733367 h 6367505"/>
              <a:gd name="connsiteX2049" fmla="*/ 5795623 w 7613003"/>
              <a:gd name="connsiteY2049" fmla="*/ 4761542 h 6367505"/>
              <a:gd name="connsiteX2050" fmla="*/ 5739270 w 7613003"/>
              <a:gd name="connsiteY2050" fmla="*/ 4789716 h 6367505"/>
              <a:gd name="connsiteX2051" fmla="*/ 5738497 w 7613003"/>
              <a:gd name="connsiteY2051" fmla="*/ 4795901 h 6367505"/>
              <a:gd name="connsiteX2052" fmla="*/ 5745449 w 7613003"/>
              <a:gd name="connsiteY2052" fmla="*/ 4791477 h 6367505"/>
              <a:gd name="connsiteX2053" fmla="*/ 5754254 w 7613003"/>
              <a:gd name="connsiteY2053" fmla="*/ 4789716 h 6367505"/>
              <a:gd name="connsiteX2054" fmla="*/ 5726077 w 7613003"/>
              <a:gd name="connsiteY2054" fmla="*/ 4831978 h 6367505"/>
              <a:gd name="connsiteX2055" fmla="*/ 5712487 w 7613003"/>
              <a:gd name="connsiteY2055" fmla="*/ 4850666 h 6367505"/>
              <a:gd name="connsiteX2056" fmla="*/ 5751597 w 7613003"/>
              <a:gd name="connsiteY2056" fmla="*/ 4826696 h 6367505"/>
              <a:gd name="connsiteX2057" fmla="*/ 5795623 w 7613003"/>
              <a:gd name="connsiteY2057" fmla="*/ 4803804 h 6367505"/>
              <a:gd name="connsiteX2058" fmla="*/ 5908329 w 7613003"/>
              <a:gd name="connsiteY2058" fmla="*/ 4747454 h 6367505"/>
              <a:gd name="connsiteX2059" fmla="*/ 5950593 w 7613003"/>
              <a:gd name="connsiteY2059" fmla="*/ 4719280 h 6367505"/>
              <a:gd name="connsiteX2060" fmla="*/ 6006946 w 7613003"/>
              <a:gd name="connsiteY2060" fmla="*/ 4677018 h 6367505"/>
              <a:gd name="connsiteX2061" fmla="*/ 6063299 w 7613003"/>
              <a:gd name="connsiteY2061" fmla="*/ 4648842 h 6367505"/>
              <a:gd name="connsiteX2062" fmla="*/ 6091476 w 7613003"/>
              <a:gd name="connsiteY2062" fmla="*/ 4634755 h 6367505"/>
              <a:gd name="connsiteX2063" fmla="*/ 6119652 w 7613003"/>
              <a:gd name="connsiteY2063" fmla="*/ 4620667 h 6367505"/>
              <a:gd name="connsiteX2064" fmla="*/ 6161916 w 7613003"/>
              <a:gd name="connsiteY2064" fmla="*/ 4592493 h 6367505"/>
              <a:gd name="connsiteX2065" fmla="*/ 6176005 w 7613003"/>
              <a:gd name="connsiteY2065" fmla="*/ 4578406 h 6367505"/>
              <a:gd name="connsiteX2066" fmla="*/ 6232358 w 7613003"/>
              <a:gd name="connsiteY2066" fmla="*/ 4522056 h 6367505"/>
              <a:gd name="connsiteX2067" fmla="*/ 6260535 w 7613003"/>
              <a:gd name="connsiteY2067" fmla="*/ 4493882 h 6367505"/>
              <a:gd name="connsiteX2068" fmla="*/ 6316888 w 7613003"/>
              <a:gd name="connsiteY2068" fmla="*/ 4451619 h 6367505"/>
              <a:gd name="connsiteX2069" fmla="*/ 6330975 w 7613003"/>
              <a:gd name="connsiteY2069" fmla="*/ 4437531 h 6367505"/>
              <a:gd name="connsiteX2070" fmla="*/ 6387328 w 7613003"/>
              <a:gd name="connsiteY2070" fmla="*/ 4353007 h 6367505"/>
              <a:gd name="connsiteX2071" fmla="*/ 6401417 w 7613003"/>
              <a:gd name="connsiteY2071" fmla="*/ 4338920 h 6367505"/>
              <a:gd name="connsiteX2072" fmla="*/ 6443681 w 7613003"/>
              <a:gd name="connsiteY2072" fmla="*/ 4296657 h 6367505"/>
              <a:gd name="connsiteX2073" fmla="*/ 6457770 w 7613003"/>
              <a:gd name="connsiteY2073" fmla="*/ 4282570 h 6367505"/>
              <a:gd name="connsiteX2074" fmla="*/ 6457770 w 7613003"/>
              <a:gd name="connsiteY2074" fmla="*/ 4268482 h 6367505"/>
              <a:gd name="connsiteX2075" fmla="*/ 6514123 w 7613003"/>
              <a:gd name="connsiteY2075" fmla="*/ 4226221 h 6367505"/>
              <a:gd name="connsiteX2076" fmla="*/ 6514123 w 7613003"/>
              <a:gd name="connsiteY2076" fmla="*/ 4212133 h 6367505"/>
              <a:gd name="connsiteX2077" fmla="*/ 6542298 w 7613003"/>
              <a:gd name="connsiteY2077" fmla="*/ 4183958 h 6367505"/>
              <a:gd name="connsiteX2078" fmla="*/ 6556387 w 7613003"/>
              <a:gd name="connsiteY2078" fmla="*/ 4169871 h 6367505"/>
              <a:gd name="connsiteX2079" fmla="*/ 6598651 w 7613003"/>
              <a:gd name="connsiteY2079" fmla="*/ 4113521 h 6367505"/>
              <a:gd name="connsiteX2080" fmla="*/ 6612740 w 7613003"/>
              <a:gd name="connsiteY2080" fmla="*/ 4099433 h 6367505"/>
              <a:gd name="connsiteX2081" fmla="*/ 6640916 w 7613003"/>
              <a:gd name="connsiteY2081" fmla="*/ 4028997 h 6367505"/>
              <a:gd name="connsiteX2082" fmla="*/ 6683181 w 7613003"/>
              <a:gd name="connsiteY2082" fmla="*/ 3958560 h 6367505"/>
              <a:gd name="connsiteX2083" fmla="*/ 6697269 w 7613003"/>
              <a:gd name="connsiteY2083" fmla="*/ 3986735 h 6367505"/>
              <a:gd name="connsiteX2084" fmla="*/ 6683181 w 7613003"/>
              <a:gd name="connsiteY2084" fmla="*/ 4043084 h 6367505"/>
              <a:gd name="connsiteX2085" fmla="*/ 6683181 w 7613003"/>
              <a:gd name="connsiteY2085" fmla="*/ 4085346 h 6367505"/>
              <a:gd name="connsiteX2086" fmla="*/ 6683181 w 7613003"/>
              <a:gd name="connsiteY2086" fmla="*/ 4113521 h 6367505"/>
              <a:gd name="connsiteX2087" fmla="*/ 6640916 w 7613003"/>
              <a:gd name="connsiteY2087" fmla="*/ 4198046 h 6367505"/>
              <a:gd name="connsiteX2088" fmla="*/ 6640916 w 7613003"/>
              <a:gd name="connsiteY2088" fmla="*/ 4212133 h 6367505"/>
              <a:gd name="connsiteX2089" fmla="*/ 6612740 w 7613003"/>
              <a:gd name="connsiteY2089" fmla="*/ 4268482 h 6367505"/>
              <a:gd name="connsiteX2090" fmla="*/ 6584563 w 7613003"/>
              <a:gd name="connsiteY2090" fmla="*/ 4353007 h 6367505"/>
              <a:gd name="connsiteX2091" fmla="*/ 6528211 w 7613003"/>
              <a:gd name="connsiteY2091" fmla="*/ 4423444 h 6367505"/>
              <a:gd name="connsiteX2092" fmla="*/ 6471858 w 7613003"/>
              <a:gd name="connsiteY2092" fmla="*/ 4522056 h 6367505"/>
              <a:gd name="connsiteX2093" fmla="*/ 6443681 w 7613003"/>
              <a:gd name="connsiteY2093" fmla="*/ 4564318 h 6367505"/>
              <a:gd name="connsiteX2094" fmla="*/ 6401417 w 7613003"/>
              <a:gd name="connsiteY2094" fmla="*/ 4634755 h 6367505"/>
              <a:gd name="connsiteX2095" fmla="*/ 6373240 w 7613003"/>
              <a:gd name="connsiteY2095" fmla="*/ 4705192 h 6367505"/>
              <a:gd name="connsiteX2096" fmla="*/ 6330975 w 7613003"/>
              <a:gd name="connsiteY2096" fmla="*/ 4775629 h 6367505"/>
              <a:gd name="connsiteX2097" fmla="*/ 6288711 w 7613003"/>
              <a:gd name="connsiteY2097" fmla="*/ 4831978 h 6367505"/>
              <a:gd name="connsiteX2098" fmla="*/ 6274622 w 7613003"/>
              <a:gd name="connsiteY2098" fmla="*/ 4846067 h 6367505"/>
              <a:gd name="connsiteX2099" fmla="*/ 6246446 w 7613003"/>
              <a:gd name="connsiteY2099" fmla="*/ 4888329 h 6367505"/>
              <a:gd name="connsiteX2100" fmla="*/ 6232358 w 7613003"/>
              <a:gd name="connsiteY2100" fmla="*/ 4888329 h 6367505"/>
              <a:gd name="connsiteX2101" fmla="*/ 6232358 w 7613003"/>
              <a:gd name="connsiteY2101" fmla="*/ 4902416 h 6367505"/>
              <a:gd name="connsiteX2102" fmla="*/ 6218269 w 7613003"/>
              <a:gd name="connsiteY2102" fmla="*/ 4902416 h 6367505"/>
              <a:gd name="connsiteX2103" fmla="*/ 6161916 w 7613003"/>
              <a:gd name="connsiteY2103" fmla="*/ 4958765 h 6367505"/>
              <a:gd name="connsiteX2104" fmla="*/ 6147829 w 7613003"/>
              <a:gd name="connsiteY2104" fmla="*/ 4972852 h 6367505"/>
              <a:gd name="connsiteX2105" fmla="*/ 6119652 w 7613003"/>
              <a:gd name="connsiteY2105" fmla="*/ 4986940 h 6367505"/>
              <a:gd name="connsiteX2106" fmla="*/ 6077388 w 7613003"/>
              <a:gd name="connsiteY2106" fmla="*/ 5029203 h 6367505"/>
              <a:gd name="connsiteX2107" fmla="*/ 6035123 w 7613003"/>
              <a:gd name="connsiteY2107" fmla="*/ 5071465 h 6367505"/>
              <a:gd name="connsiteX2108" fmla="*/ 6049212 w 7613003"/>
              <a:gd name="connsiteY2108" fmla="*/ 5057378 h 6367505"/>
              <a:gd name="connsiteX2109" fmla="*/ 6063299 w 7613003"/>
              <a:gd name="connsiteY2109" fmla="*/ 5057378 h 6367505"/>
              <a:gd name="connsiteX2110" fmla="*/ 6119652 w 7613003"/>
              <a:gd name="connsiteY2110" fmla="*/ 5029203 h 6367505"/>
              <a:gd name="connsiteX2111" fmla="*/ 6133741 w 7613003"/>
              <a:gd name="connsiteY2111" fmla="*/ 5015114 h 6367505"/>
              <a:gd name="connsiteX2112" fmla="*/ 6161916 w 7613003"/>
              <a:gd name="connsiteY2112" fmla="*/ 4986940 h 6367505"/>
              <a:gd name="connsiteX2113" fmla="*/ 6204182 w 7613003"/>
              <a:gd name="connsiteY2113" fmla="*/ 4958765 h 6367505"/>
              <a:gd name="connsiteX2114" fmla="*/ 6218266 w 7613003"/>
              <a:gd name="connsiteY2114" fmla="*/ 4944683 h 6367505"/>
              <a:gd name="connsiteX2115" fmla="*/ 6191855 w 7613003"/>
              <a:gd name="connsiteY2115" fmla="*/ 4972852 h 6367505"/>
              <a:gd name="connsiteX2116" fmla="*/ 6176005 w 7613003"/>
              <a:gd name="connsiteY2116" fmla="*/ 5001027 h 6367505"/>
              <a:gd name="connsiteX2117" fmla="*/ 6190093 w 7613003"/>
              <a:gd name="connsiteY2117" fmla="*/ 4986940 h 6367505"/>
              <a:gd name="connsiteX2118" fmla="*/ 6204182 w 7613003"/>
              <a:gd name="connsiteY2118" fmla="*/ 4986940 h 6367505"/>
              <a:gd name="connsiteX2119" fmla="*/ 6218269 w 7613003"/>
              <a:gd name="connsiteY2119" fmla="*/ 4958765 h 6367505"/>
              <a:gd name="connsiteX2120" fmla="*/ 6302799 w 7613003"/>
              <a:gd name="connsiteY2120" fmla="*/ 4902416 h 6367505"/>
              <a:gd name="connsiteX2121" fmla="*/ 6345064 w 7613003"/>
              <a:gd name="connsiteY2121" fmla="*/ 4874241 h 6367505"/>
              <a:gd name="connsiteX2122" fmla="*/ 6373240 w 7613003"/>
              <a:gd name="connsiteY2122" fmla="*/ 4831978 h 6367505"/>
              <a:gd name="connsiteX2123" fmla="*/ 6415505 w 7613003"/>
              <a:gd name="connsiteY2123" fmla="*/ 4789716 h 6367505"/>
              <a:gd name="connsiteX2124" fmla="*/ 6457770 w 7613003"/>
              <a:gd name="connsiteY2124" fmla="*/ 4747454 h 6367505"/>
              <a:gd name="connsiteX2125" fmla="*/ 6514123 w 7613003"/>
              <a:gd name="connsiteY2125" fmla="*/ 4691105 h 6367505"/>
              <a:gd name="connsiteX2126" fmla="*/ 6528211 w 7613003"/>
              <a:gd name="connsiteY2126" fmla="*/ 4691105 h 6367505"/>
              <a:gd name="connsiteX2127" fmla="*/ 6584563 w 7613003"/>
              <a:gd name="connsiteY2127" fmla="*/ 4634755 h 6367505"/>
              <a:gd name="connsiteX2128" fmla="*/ 6655004 w 7613003"/>
              <a:gd name="connsiteY2128" fmla="*/ 4550231 h 6367505"/>
              <a:gd name="connsiteX2129" fmla="*/ 6683181 w 7613003"/>
              <a:gd name="connsiteY2129" fmla="*/ 4522056 h 6367505"/>
              <a:gd name="connsiteX2130" fmla="*/ 6683181 w 7613003"/>
              <a:gd name="connsiteY2130" fmla="*/ 4536144 h 6367505"/>
              <a:gd name="connsiteX2131" fmla="*/ 6669093 w 7613003"/>
              <a:gd name="connsiteY2131" fmla="*/ 4592493 h 6367505"/>
              <a:gd name="connsiteX2132" fmla="*/ 6669093 w 7613003"/>
              <a:gd name="connsiteY2132" fmla="*/ 4606580 h 6367505"/>
              <a:gd name="connsiteX2133" fmla="*/ 6640916 w 7613003"/>
              <a:gd name="connsiteY2133" fmla="*/ 4677018 h 6367505"/>
              <a:gd name="connsiteX2134" fmla="*/ 6514123 w 7613003"/>
              <a:gd name="connsiteY2134" fmla="*/ 4860154 h 6367505"/>
              <a:gd name="connsiteX2135" fmla="*/ 6401417 w 7613003"/>
              <a:gd name="connsiteY2135" fmla="*/ 4986940 h 6367505"/>
              <a:gd name="connsiteX2136" fmla="*/ 6359152 w 7613003"/>
              <a:gd name="connsiteY2136" fmla="*/ 5015114 h 6367505"/>
              <a:gd name="connsiteX2137" fmla="*/ 6330975 w 7613003"/>
              <a:gd name="connsiteY2137" fmla="*/ 5057378 h 6367505"/>
              <a:gd name="connsiteX2138" fmla="*/ 6274622 w 7613003"/>
              <a:gd name="connsiteY2138" fmla="*/ 5113727 h 6367505"/>
              <a:gd name="connsiteX2139" fmla="*/ 6147829 w 7613003"/>
              <a:gd name="connsiteY2139" fmla="*/ 5212339 h 6367505"/>
              <a:gd name="connsiteX2140" fmla="*/ 6063299 w 7613003"/>
              <a:gd name="connsiteY2140" fmla="*/ 5282776 h 6367505"/>
              <a:gd name="connsiteX2141" fmla="*/ 6063299 w 7613003"/>
              <a:gd name="connsiteY2141" fmla="*/ 5296863 h 6367505"/>
              <a:gd name="connsiteX2142" fmla="*/ 6190093 w 7613003"/>
              <a:gd name="connsiteY2142" fmla="*/ 5226426 h 6367505"/>
              <a:gd name="connsiteX2143" fmla="*/ 6218269 w 7613003"/>
              <a:gd name="connsiteY2143" fmla="*/ 5198252 h 6367505"/>
              <a:gd name="connsiteX2144" fmla="*/ 6220031 w 7613003"/>
              <a:gd name="connsiteY2144" fmla="*/ 5198252 h 6367505"/>
              <a:gd name="connsiteX2145" fmla="*/ 6228836 w 7613003"/>
              <a:gd name="connsiteY2145" fmla="*/ 5198252 h 6367505"/>
              <a:gd name="connsiteX2146" fmla="*/ 6232358 w 7613003"/>
              <a:gd name="connsiteY2146" fmla="*/ 5198252 h 6367505"/>
              <a:gd name="connsiteX2147" fmla="*/ 6330975 w 7613003"/>
              <a:gd name="connsiteY2147" fmla="*/ 5127814 h 6367505"/>
              <a:gd name="connsiteX2148" fmla="*/ 6429593 w 7613003"/>
              <a:gd name="connsiteY2148" fmla="*/ 5071465 h 6367505"/>
              <a:gd name="connsiteX2149" fmla="*/ 6443681 w 7613003"/>
              <a:gd name="connsiteY2149" fmla="*/ 5057378 h 6367505"/>
              <a:gd name="connsiteX2150" fmla="*/ 6500034 w 7613003"/>
              <a:gd name="connsiteY2150" fmla="*/ 5015114 h 6367505"/>
              <a:gd name="connsiteX2151" fmla="*/ 6556387 w 7613003"/>
              <a:gd name="connsiteY2151" fmla="*/ 5001027 h 6367505"/>
              <a:gd name="connsiteX2152" fmla="*/ 6542298 w 7613003"/>
              <a:gd name="connsiteY2152" fmla="*/ 5043290 h 6367505"/>
              <a:gd name="connsiteX2153" fmla="*/ 6500034 w 7613003"/>
              <a:gd name="connsiteY2153" fmla="*/ 5099639 h 6367505"/>
              <a:gd name="connsiteX2154" fmla="*/ 6514123 w 7613003"/>
              <a:gd name="connsiteY2154" fmla="*/ 5099639 h 6367505"/>
              <a:gd name="connsiteX2155" fmla="*/ 6514123 w 7613003"/>
              <a:gd name="connsiteY2155" fmla="*/ 5085552 h 6367505"/>
              <a:gd name="connsiteX2156" fmla="*/ 6528211 w 7613003"/>
              <a:gd name="connsiteY2156" fmla="*/ 5085552 h 6367505"/>
              <a:gd name="connsiteX2157" fmla="*/ 6542298 w 7613003"/>
              <a:gd name="connsiteY2157" fmla="*/ 5071465 h 6367505"/>
              <a:gd name="connsiteX2158" fmla="*/ 6584563 w 7613003"/>
              <a:gd name="connsiteY2158" fmla="*/ 5015114 h 6367505"/>
              <a:gd name="connsiteX2159" fmla="*/ 6598651 w 7613003"/>
              <a:gd name="connsiteY2159" fmla="*/ 5001027 h 6367505"/>
              <a:gd name="connsiteX2160" fmla="*/ 6598651 w 7613003"/>
              <a:gd name="connsiteY2160" fmla="*/ 4986940 h 6367505"/>
              <a:gd name="connsiteX2161" fmla="*/ 6612740 w 7613003"/>
              <a:gd name="connsiteY2161" fmla="*/ 4986940 h 6367505"/>
              <a:gd name="connsiteX2162" fmla="*/ 6612740 w 7613003"/>
              <a:gd name="connsiteY2162" fmla="*/ 4972852 h 6367505"/>
              <a:gd name="connsiteX2163" fmla="*/ 6626829 w 7613003"/>
              <a:gd name="connsiteY2163" fmla="*/ 4972852 h 6367505"/>
              <a:gd name="connsiteX2164" fmla="*/ 6626829 w 7613003"/>
              <a:gd name="connsiteY2164" fmla="*/ 4958765 h 6367505"/>
              <a:gd name="connsiteX2165" fmla="*/ 6626829 w 7613003"/>
              <a:gd name="connsiteY2165" fmla="*/ 4944678 h 6367505"/>
              <a:gd name="connsiteX2166" fmla="*/ 6630350 w 7613003"/>
              <a:gd name="connsiteY2166" fmla="*/ 4944678 h 6367505"/>
              <a:gd name="connsiteX2167" fmla="*/ 6633872 w 7613003"/>
              <a:gd name="connsiteY2167" fmla="*/ 4944678 h 6367505"/>
              <a:gd name="connsiteX2168" fmla="*/ 6640916 w 7613003"/>
              <a:gd name="connsiteY2168" fmla="*/ 4944678 h 6367505"/>
              <a:gd name="connsiteX2169" fmla="*/ 6640916 w 7613003"/>
              <a:gd name="connsiteY2169" fmla="*/ 4930591 h 6367505"/>
              <a:gd name="connsiteX2170" fmla="*/ 6655004 w 7613003"/>
              <a:gd name="connsiteY2170" fmla="*/ 4902416 h 6367505"/>
              <a:gd name="connsiteX2171" fmla="*/ 6669093 w 7613003"/>
              <a:gd name="connsiteY2171" fmla="*/ 4902416 h 6367505"/>
              <a:gd name="connsiteX2172" fmla="*/ 6683181 w 7613003"/>
              <a:gd name="connsiteY2172" fmla="*/ 4902416 h 6367505"/>
              <a:gd name="connsiteX2173" fmla="*/ 6711357 w 7613003"/>
              <a:gd name="connsiteY2173" fmla="*/ 4902416 h 6367505"/>
              <a:gd name="connsiteX2174" fmla="*/ 6725446 w 7613003"/>
              <a:gd name="connsiteY2174" fmla="*/ 4874241 h 6367505"/>
              <a:gd name="connsiteX2175" fmla="*/ 6809975 w 7613003"/>
              <a:gd name="connsiteY2175" fmla="*/ 4775629 h 6367505"/>
              <a:gd name="connsiteX2176" fmla="*/ 6824063 w 7613003"/>
              <a:gd name="connsiteY2176" fmla="*/ 4761542 h 6367505"/>
              <a:gd name="connsiteX2177" fmla="*/ 6809975 w 7613003"/>
              <a:gd name="connsiteY2177" fmla="*/ 4761542 h 6367505"/>
              <a:gd name="connsiteX2178" fmla="*/ 6838152 w 7613003"/>
              <a:gd name="connsiteY2178" fmla="*/ 4747454 h 6367505"/>
              <a:gd name="connsiteX2179" fmla="*/ 6908593 w 7613003"/>
              <a:gd name="connsiteY2179" fmla="*/ 4634755 h 6367505"/>
              <a:gd name="connsiteX2180" fmla="*/ 6922681 w 7613003"/>
              <a:gd name="connsiteY2180" fmla="*/ 4620667 h 6367505"/>
              <a:gd name="connsiteX2181" fmla="*/ 6936769 w 7613003"/>
              <a:gd name="connsiteY2181" fmla="*/ 4606580 h 6367505"/>
              <a:gd name="connsiteX2182" fmla="*/ 6950858 w 7613003"/>
              <a:gd name="connsiteY2182" fmla="*/ 4592493 h 6367505"/>
              <a:gd name="connsiteX2183" fmla="*/ 6964945 w 7613003"/>
              <a:gd name="connsiteY2183" fmla="*/ 4564318 h 6367505"/>
              <a:gd name="connsiteX2184" fmla="*/ 6993122 w 7613003"/>
              <a:gd name="connsiteY2184" fmla="*/ 4536144 h 6367505"/>
              <a:gd name="connsiteX2185" fmla="*/ 6993122 w 7613003"/>
              <a:gd name="connsiteY2185" fmla="*/ 4522056 h 6367505"/>
              <a:gd name="connsiteX2186" fmla="*/ 7007211 w 7613003"/>
              <a:gd name="connsiteY2186" fmla="*/ 4507969 h 6367505"/>
              <a:gd name="connsiteX2187" fmla="*/ 7035386 w 7613003"/>
              <a:gd name="connsiteY2187" fmla="*/ 4479793 h 6367505"/>
              <a:gd name="connsiteX2188" fmla="*/ 7063564 w 7613003"/>
              <a:gd name="connsiteY2188" fmla="*/ 4437531 h 6367505"/>
              <a:gd name="connsiteX2189" fmla="*/ 7091739 w 7613003"/>
              <a:gd name="connsiteY2189" fmla="*/ 4381182 h 6367505"/>
              <a:gd name="connsiteX2190" fmla="*/ 7091739 w 7613003"/>
              <a:gd name="connsiteY2190" fmla="*/ 4367095 h 6367505"/>
              <a:gd name="connsiteX2191" fmla="*/ 7148092 w 7613003"/>
              <a:gd name="connsiteY2191" fmla="*/ 4268482 h 6367505"/>
              <a:gd name="connsiteX2192" fmla="*/ 7148092 w 7613003"/>
              <a:gd name="connsiteY2192" fmla="*/ 4254395 h 6367505"/>
              <a:gd name="connsiteX2193" fmla="*/ 7162181 w 7613003"/>
              <a:gd name="connsiteY2193" fmla="*/ 4226221 h 6367505"/>
              <a:gd name="connsiteX2194" fmla="*/ 7204445 w 7613003"/>
              <a:gd name="connsiteY2194" fmla="*/ 4141697 h 6367505"/>
              <a:gd name="connsiteX2195" fmla="*/ 7218534 w 7613003"/>
              <a:gd name="connsiteY2195" fmla="*/ 4099433 h 6367505"/>
              <a:gd name="connsiteX2196" fmla="*/ 7260798 w 7613003"/>
              <a:gd name="connsiteY2196" fmla="*/ 3958560 h 6367505"/>
              <a:gd name="connsiteX2197" fmla="*/ 7274887 w 7613003"/>
              <a:gd name="connsiteY2197" fmla="*/ 3916297 h 6367505"/>
              <a:gd name="connsiteX2198" fmla="*/ 7288974 w 7613003"/>
              <a:gd name="connsiteY2198" fmla="*/ 3888123 h 6367505"/>
              <a:gd name="connsiteX2199" fmla="*/ 7317151 w 7613003"/>
              <a:gd name="connsiteY2199" fmla="*/ 3775423 h 6367505"/>
              <a:gd name="connsiteX2200" fmla="*/ 7345327 w 7613003"/>
              <a:gd name="connsiteY2200" fmla="*/ 3690899 h 6367505"/>
              <a:gd name="connsiteX2201" fmla="*/ 7359416 w 7613003"/>
              <a:gd name="connsiteY2201" fmla="*/ 3592287 h 6367505"/>
              <a:gd name="connsiteX2202" fmla="*/ 7373504 w 7613003"/>
              <a:gd name="connsiteY2202" fmla="*/ 3564112 h 6367505"/>
              <a:gd name="connsiteX2203" fmla="*/ 7387591 w 7613003"/>
              <a:gd name="connsiteY2203" fmla="*/ 3521850 h 6367505"/>
              <a:gd name="connsiteX2204" fmla="*/ 7387591 w 7613003"/>
              <a:gd name="connsiteY2204" fmla="*/ 3479588 h 6367505"/>
              <a:gd name="connsiteX2205" fmla="*/ 7401680 w 7613003"/>
              <a:gd name="connsiteY2205" fmla="*/ 3366889 h 6367505"/>
              <a:gd name="connsiteX2206" fmla="*/ 7401680 w 7613003"/>
              <a:gd name="connsiteY2206" fmla="*/ 3310540 h 6367505"/>
              <a:gd name="connsiteX2207" fmla="*/ 7415769 w 7613003"/>
              <a:gd name="connsiteY2207" fmla="*/ 3240102 h 6367505"/>
              <a:gd name="connsiteX2208" fmla="*/ 7429857 w 7613003"/>
              <a:gd name="connsiteY2208" fmla="*/ 3211927 h 6367505"/>
              <a:gd name="connsiteX2209" fmla="*/ 7443944 w 7613003"/>
              <a:gd name="connsiteY2209" fmla="*/ 3226015 h 6367505"/>
              <a:gd name="connsiteX2210" fmla="*/ 7443944 w 7613003"/>
              <a:gd name="connsiteY2210" fmla="*/ 3282365 h 6367505"/>
              <a:gd name="connsiteX2211" fmla="*/ 7443944 w 7613003"/>
              <a:gd name="connsiteY2211" fmla="*/ 3324627 h 6367505"/>
              <a:gd name="connsiteX2212" fmla="*/ 7443944 w 7613003"/>
              <a:gd name="connsiteY2212" fmla="*/ 3352801 h 6367505"/>
              <a:gd name="connsiteX2213" fmla="*/ 7458033 w 7613003"/>
              <a:gd name="connsiteY2213" fmla="*/ 3352801 h 6367505"/>
              <a:gd name="connsiteX2214" fmla="*/ 7472122 w 7613003"/>
              <a:gd name="connsiteY2214" fmla="*/ 3338714 h 6367505"/>
              <a:gd name="connsiteX2215" fmla="*/ 7500297 w 7613003"/>
              <a:gd name="connsiteY2215" fmla="*/ 3282365 h 6367505"/>
              <a:gd name="connsiteX2216" fmla="*/ 7514386 w 7613003"/>
              <a:gd name="connsiteY2216" fmla="*/ 3254190 h 6367505"/>
              <a:gd name="connsiteX2217" fmla="*/ 7514386 w 7613003"/>
              <a:gd name="connsiteY2217" fmla="*/ 3268278 h 6367505"/>
              <a:gd name="connsiteX2218" fmla="*/ 7514386 w 7613003"/>
              <a:gd name="connsiteY2218" fmla="*/ 3282365 h 6367505"/>
              <a:gd name="connsiteX2219" fmla="*/ 7542563 w 7613003"/>
              <a:gd name="connsiteY2219" fmla="*/ 3296452 h 6367505"/>
              <a:gd name="connsiteX2220" fmla="*/ 7570739 w 7613003"/>
              <a:gd name="connsiteY2220" fmla="*/ 3395063 h 6367505"/>
              <a:gd name="connsiteX2221" fmla="*/ 7584827 w 7613003"/>
              <a:gd name="connsiteY2221" fmla="*/ 3395063 h 6367505"/>
              <a:gd name="connsiteX2222" fmla="*/ 7598916 w 7613003"/>
              <a:gd name="connsiteY2222" fmla="*/ 3409151 h 6367505"/>
              <a:gd name="connsiteX2223" fmla="*/ 7598916 w 7613003"/>
              <a:gd name="connsiteY2223" fmla="*/ 3465501 h 6367505"/>
              <a:gd name="connsiteX2224" fmla="*/ 7613003 w 7613003"/>
              <a:gd name="connsiteY2224" fmla="*/ 3493676 h 6367505"/>
              <a:gd name="connsiteX2225" fmla="*/ 7613003 w 7613003"/>
              <a:gd name="connsiteY2225" fmla="*/ 3578200 h 6367505"/>
              <a:gd name="connsiteX2226" fmla="*/ 7613003 w 7613003"/>
              <a:gd name="connsiteY2226" fmla="*/ 3690899 h 6367505"/>
              <a:gd name="connsiteX2227" fmla="*/ 7613003 w 7613003"/>
              <a:gd name="connsiteY2227" fmla="*/ 3775423 h 6367505"/>
              <a:gd name="connsiteX2228" fmla="*/ 7613003 w 7613003"/>
              <a:gd name="connsiteY2228" fmla="*/ 3817686 h 6367505"/>
              <a:gd name="connsiteX2229" fmla="*/ 7598916 w 7613003"/>
              <a:gd name="connsiteY2229" fmla="*/ 3859948 h 6367505"/>
              <a:gd name="connsiteX2230" fmla="*/ 7598916 w 7613003"/>
              <a:gd name="connsiteY2230" fmla="*/ 3902210 h 6367505"/>
              <a:gd name="connsiteX2231" fmla="*/ 7598916 w 7613003"/>
              <a:gd name="connsiteY2231" fmla="*/ 3916297 h 6367505"/>
              <a:gd name="connsiteX2232" fmla="*/ 7598916 w 7613003"/>
              <a:gd name="connsiteY2232" fmla="*/ 3944472 h 6367505"/>
              <a:gd name="connsiteX2233" fmla="*/ 7584827 w 7613003"/>
              <a:gd name="connsiteY2233" fmla="*/ 4000822 h 6367505"/>
              <a:gd name="connsiteX2234" fmla="*/ 7542563 w 7613003"/>
              <a:gd name="connsiteY2234" fmla="*/ 4155784 h 6367505"/>
              <a:gd name="connsiteX2235" fmla="*/ 7514386 w 7613003"/>
              <a:gd name="connsiteY2235" fmla="*/ 4254395 h 6367505"/>
              <a:gd name="connsiteX2236" fmla="*/ 7514386 w 7613003"/>
              <a:gd name="connsiteY2236" fmla="*/ 4310744 h 6367505"/>
              <a:gd name="connsiteX2237" fmla="*/ 7500297 w 7613003"/>
              <a:gd name="connsiteY2237" fmla="*/ 4324833 h 6367505"/>
              <a:gd name="connsiteX2238" fmla="*/ 7514386 w 7613003"/>
              <a:gd name="connsiteY2238" fmla="*/ 4338920 h 6367505"/>
              <a:gd name="connsiteX2239" fmla="*/ 7486210 w 7613003"/>
              <a:gd name="connsiteY2239" fmla="*/ 4423444 h 6367505"/>
              <a:gd name="connsiteX2240" fmla="*/ 7443944 w 7613003"/>
              <a:gd name="connsiteY2240" fmla="*/ 4507969 h 6367505"/>
              <a:gd name="connsiteX2241" fmla="*/ 7429857 w 7613003"/>
              <a:gd name="connsiteY2241" fmla="*/ 4564318 h 6367505"/>
              <a:gd name="connsiteX2242" fmla="*/ 7373504 w 7613003"/>
              <a:gd name="connsiteY2242" fmla="*/ 4677018 h 6367505"/>
              <a:gd name="connsiteX2243" fmla="*/ 7359416 w 7613003"/>
              <a:gd name="connsiteY2243" fmla="*/ 4733367 h 6367505"/>
              <a:gd name="connsiteX2244" fmla="*/ 7345327 w 7613003"/>
              <a:gd name="connsiteY2244" fmla="*/ 4761542 h 6367505"/>
              <a:gd name="connsiteX2245" fmla="*/ 7303063 w 7613003"/>
              <a:gd name="connsiteY2245" fmla="*/ 4846067 h 6367505"/>
              <a:gd name="connsiteX2246" fmla="*/ 7303063 w 7613003"/>
              <a:gd name="connsiteY2246" fmla="*/ 4846067 h 6367505"/>
              <a:gd name="connsiteX2247" fmla="*/ 7345327 w 7613003"/>
              <a:gd name="connsiteY2247" fmla="*/ 4803804 h 6367505"/>
              <a:gd name="connsiteX2248" fmla="*/ 7373504 w 7613003"/>
              <a:gd name="connsiteY2248" fmla="*/ 4789716 h 6367505"/>
              <a:gd name="connsiteX2249" fmla="*/ 7345327 w 7613003"/>
              <a:gd name="connsiteY2249" fmla="*/ 4831978 h 6367505"/>
              <a:gd name="connsiteX2250" fmla="*/ 7317151 w 7613003"/>
              <a:gd name="connsiteY2250" fmla="*/ 4860154 h 6367505"/>
              <a:gd name="connsiteX2251" fmla="*/ 7288974 w 7613003"/>
              <a:gd name="connsiteY2251" fmla="*/ 4902416 h 6367505"/>
              <a:gd name="connsiteX2252" fmla="*/ 7246710 w 7613003"/>
              <a:gd name="connsiteY2252" fmla="*/ 4972852 h 6367505"/>
              <a:gd name="connsiteX2253" fmla="*/ 7218534 w 7613003"/>
              <a:gd name="connsiteY2253" fmla="*/ 5015114 h 6367505"/>
              <a:gd name="connsiteX2254" fmla="*/ 7190357 w 7613003"/>
              <a:gd name="connsiteY2254" fmla="*/ 5071465 h 6367505"/>
              <a:gd name="connsiteX2255" fmla="*/ 7162181 w 7613003"/>
              <a:gd name="connsiteY2255" fmla="*/ 5099639 h 6367505"/>
              <a:gd name="connsiteX2256" fmla="*/ 7134004 w 7613003"/>
              <a:gd name="connsiteY2256" fmla="*/ 5127814 h 6367505"/>
              <a:gd name="connsiteX2257" fmla="*/ 7119917 w 7613003"/>
              <a:gd name="connsiteY2257" fmla="*/ 5170076 h 6367505"/>
              <a:gd name="connsiteX2258" fmla="*/ 7105828 w 7613003"/>
              <a:gd name="connsiteY2258" fmla="*/ 5184163 h 6367505"/>
              <a:gd name="connsiteX2259" fmla="*/ 7119917 w 7613003"/>
              <a:gd name="connsiteY2259" fmla="*/ 5198252 h 6367505"/>
              <a:gd name="connsiteX2260" fmla="*/ 7134004 w 7613003"/>
              <a:gd name="connsiteY2260" fmla="*/ 5184163 h 6367505"/>
              <a:gd name="connsiteX2261" fmla="*/ 7162181 w 7613003"/>
              <a:gd name="connsiteY2261" fmla="*/ 5170076 h 6367505"/>
              <a:gd name="connsiteX2262" fmla="*/ 7134004 w 7613003"/>
              <a:gd name="connsiteY2262" fmla="*/ 5198252 h 6367505"/>
              <a:gd name="connsiteX2263" fmla="*/ 7148092 w 7613003"/>
              <a:gd name="connsiteY2263" fmla="*/ 5212339 h 6367505"/>
              <a:gd name="connsiteX2264" fmla="*/ 7190357 w 7613003"/>
              <a:gd name="connsiteY2264" fmla="*/ 5184163 h 6367505"/>
              <a:gd name="connsiteX2265" fmla="*/ 7303063 w 7613003"/>
              <a:gd name="connsiteY2265" fmla="*/ 5099639 h 6367505"/>
              <a:gd name="connsiteX2266" fmla="*/ 7317151 w 7613003"/>
              <a:gd name="connsiteY2266" fmla="*/ 5085552 h 6367505"/>
              <a:gd name="connsiteX2267" fmla="*/ 7303063 w 7613003"/>
              <a:gd name="connsiteY2267" fmla="*/ 5113727 h 6367505"/>
              <a:gd name="connsiteX2268" fmla="*/ 7218534 w 7613003"/>
              <a:gd name="connsiteY2268" fmla="*/ 5198252 h 6367505"/>
              <a:gd name="connsiteX2269" fmla="*/ 7218534 w 7613003"/>
              <a:gd name="connsiteY2269" fmla="*/ 5212339 h 6367505"/>
              <a:gd name="connsiteX2270" fmla="*/ 7204445 w 7613003"/>
              <a:gd name="connsiteY2270" fmla="*/ 5226426 h 6367505"/>
              <a:gd name="connsiteX2271" fmla="*/ 7190357 w 7613003"/>
              <a:gd name="connsiteY2271" fmla="*/ 5240514 h 6367505"/>
              <a:gd name="connsiteX2272" fmla="*/ 7176268 w 7613003"/>
              <a:gd name="connsiteY2272" fmla="*/ 5254601 h 6367505"/>
              <a:gd name="connsiteX2273" fmla="*/ 7134004 w 7613003"/>
              <a:gd name="connsiteY2273" fmla="*/ 5296863 h 6367505"/>
              <a:gd name="connsiteX2274" fmla="*/ 7077651 w 7613003"/>
              <a:gd name="connsiteY2274" fmla="*/ 5367301 h 6367505"/>
              <a:gd name="connsiteX2275" fmla="*/ 6936769 w 7613003"/>
              <a:gd name="connsiteY2275" fmla="*/ 5494086 h 6367505"/>
              <a:gd name="connsiteX2276" fmla="*/ 6908593 w 7613003"/>
              <a:gd name="connsiteY2276" fmla="*/ 5508174 h 6367505"/>
              <a:gd name="connsiteX2277" fmla="*/ 6894505 w 7613003"/>
              <a:gd name="connsiteY2277" fmla="*/ 5536349 h 6367505"/>
              <a:gd name="connsiteX2278" fmla="*/ 6908593 w 7613003"/>
              <a:gd name="connsiteY2278" fmla="*/ 5536349 h 6367505"/>
              <a:gd name="connsiteX2279" fmla="*/ 6922681 w 7613003"/>
              <a:gd name="connsiteY2279" fmla="*/ 5536349 h 6367505"/>
              <a:gd name="connsiteX2280" fmla="*/ 6950858 w 7613003"/>
              <a:gd name="connsiteY2280" fmla="*/ 5522261 h 6367505"/>
              <a:gd name="connsiteX2281" fmla="*/ 6964945 w 7613003"/>
              <a:gd name="connsiteY2281" fmla="*/ 5522261 h 6367505"/>
              <a:gd name="connsiteX2282" fmla="*/ 6936769 w 7613003"/>
              <a:gd name="connsiteY2282" fmla="*/ 5550437 h 6367505"/>
              <a:gd name="connsiteX2283" fmla="*/ 6894505 w 7613003"/>
              <a:gd name="connsiteY2283" fmla="*/ 5592699 h 6367505"/>
              <a:gd name="connsiteX2284" fmla="*/ 6852240 w 7613003"/>
              <a:gd name="connsiteY2284" fmla="*/ 5620873 h 6367505"/>
              <a:gd name="connsiteX2285" fmla="*/ 6753622 w 7613003"/>
              <a:gd name="connsiteY2285" fmla="*/ 5691310 h 6367505"/>
              <a:gd name="connsiteX2286" fmla="*/ 6725446 w 7613003"/>
              <a:gd name="connsiteY2286" fmla="*/ 5719486 h 6367505"/>
              <a:gd name="connsiteX2287" fmla="*/ 6626829 w 7613003"/>
              <a:gd name="connsiteY2287" fmla="*/ 5775835 h 6367505"/>
              <a:gd name="connsiteX2288" fmla="*/ 6626829 w 7613003"/>
              <a:gd name="connsiteY2288" fmla="*/ 5789922 h 6367505"/>
              <a:gd name="connsiteX2289" fmla="*/ 6612740 w 7613003"/>
              <a:gd name="connsiteY2289" fmla="*/ 5789922 h 6367505"/>
              <a:gd name="connsiteX2290" fmla="*/ 6598651 w 7613003"/>
              <a:gd name="connsiteY2290" fmla="*/ 5804009 h 6367505"/>
              <a:gd name="connsiteX2291" fmla="*/ 6584563 w 7613003"/>
              <a:gd name="connsiteY2291" fmla="*/ 5818097 h 6367505"/>
              <a:gd name="connsiteX2292" fmla="*/ 6570476 w 7613003"/>
              <a:gd name="connsiteY2292" fmla="*/ 5818097 h 6367505"/>
              <a:gd name="connsiteX2293" fmla="*/ 6570476 w 7613003"/>
              <a:gd name="connsiteY2293" fmla="*/ 5832184 h 6367505"/>
              <a:gd name="connsiteX2294" fmla="*/ 6528211 w 7613003"/>
              <a:gd name="connsiteY2294" fmla="*/ 5846271 h 6367505"/>
              <a:gd name="connsiteX2295" fmla="*/ 6500034 w 7613003"/>
              <a:gd name="connsiteY2295" fmla="*/ 5860359 h 6367505"/>
              <a:gd name="connsiteX2296" fmla="*/ 6485946 w 7613003"/>
              <a:gd name="connsiteY2296" fmla="*/ 5874446 h 6367505"/>
              <a:gd name="connsiteX2297" fmla="*/ 6429593 w 7613003"/>
              <a:gd name="connsiteY2297" fmla="*/ 5902622 h 6367505"/>
              <a:gd name="connsiteX2298" fmla="*/ 6415505 w 7613003"/>
              <a:gd name="connsiteY2298" fmla="*/ 5916709 h 6367505"/>
              <a:gd name="connsiteX2299" fmla="*/ 6387328 w 7613003"/>
              <a:gd name="connsiteY2299" fmla="*/ 5930796 h 6367505"/>
              <a:gd name="connsiteX2300" fmla="*/ 6373240 w 7613003"/>
              <a:gd name="connsiteY2300" fmla="*/ 5930796 h 6367505"/>
              <a:gd name="connsiteX2301" fmla="*/ 6359152 w 7613003"/>
              <a:gd name="connsiteY2301" fmla="*/ 5944884 h 6367505"/>
              <a:gd name="connsiteX2302" fmla="*/ 6345064 w 7613003"/>
              <a:gd name="connsiteY2302" fmla="*/ 5944884 h 6367505"/>
              <a:gd name="connsiteX2303" fmla="*/ 6330975 w 7613003"/>
              <a:gd name="connsiteY2303" fmla="*/ 5958971 h 6367505"/>
              <a:gd name="connsiteX2304" fmla="*/ 6316888 w 7613003"/>
              <a:gd name="connsiteY2304" fmla="*/ 5973058 h 6367505"/>
              <a:gd name="connsiteX2305" fmla="*/ 6288711 w 7613003"/>
              <a:gd name="connsiteY2305" fmla="*/ 5973058 h 6367505"/>
              <a:gd name="connsiteX2306" fmla="*/ 6260535 w 7613003"/>
              <a:gd name="connsiteY2306" fmla="*/ 5987146 h 6367505"/>
              <a:gd name="connsiteX2307" fmla="*/ 6232358 w 7613003"/>
              <a:gd name="connsiteY2307" fmla="*/ 6001233 h 6367505"/>
              <a:gd name="connsiteX2308" fmla="*/ 6218269 w 7613003"/>
              <a:gd name="connsiteY2308" fmla="*/ 6015320 h 6367505"/>
              <a:gd name="connsiteX2309" fmla="*/ 6204182 w 7613003"/>
              <a:gd name="connsiteY2309" fmla="*/ 6015320 h 6367505"/>
              <a:gd name="connsiteX2310" fmla="*/ 6176005 w 7613003"/>
              <a:gd name="connsiteY2310" fmla="*/ 6029408 h 6367505"/>
              <a:gd name="connsiteX2311" fmla="*/ 6147829 w 7613003"/>
              <a:gd name="connsiteY2311" fmla="*/ 6043495 h 6367505"/>
              <a:gd name="connsiteX2312" fmla="*/ 6105565 w 7613003"/>
              <a:gd name="connsiteY2312" fmla="*/ 6071671 h 6367505"/>
              <a:gd name="connsiteX2313" fmla="*/ 6077388 w 7613003"/>
              <a:gd name="connsiteY2313" fmla="*/ 6085758 h 6367505"/>
              <a:gd name="connsiteX2314" fmla="*/ 6035123 w 7613003"/>
              <a:gd name="connsiteY2314" fmla="*/ 6113933 h 6367505"/>
              <a:gd name="connsiteX2315" fmla="*/ 6006946 w 7613003"/>
              <a:gd name="connsiteY2315" fmla="*/ 6128020 h 6367505"/>
              <a:gd name="connsiteX2316" fmla="*/ 5992859 w 7613003"/>
              <a:gd name="connsiteY2316" fmla="*/ 6128020 h 6367505"/>
              <a:gd name="connsiteX2317" fmla="*/ 5964682 w 7613003"/>
              <a:gd name="connsiteY2317" fmla="*/ 6142107 h 6367505"/>
              <a:gd name="connsiteX2318" fmla="*/ 5950593 w 7613003"/>
              <a:gd name="connsiteY2318" fmla="*/ 6156194 h 6367505"/>
              <a:gd name="connsiteX2319" fmla="*/ 5922417 w 7613003"/>
              <a:gd name="connsiteY2319" fmla="*/ 6156194 h 6367505"/>
              <a:gd name="connsiteX2320" fmla="*/ 5880153 w 7613003"/>
              <a:gd name="connsiteY2320" fmla="*/ 6184369 h 6367505"/>
              <a:gd name="connsiteX2321" fmla="*/ 5612477 w 7613003"/>
              <a:gd name="connsiteY2321" fmla="*/ 6254807 h 6367505"/>
              <a:gd name="connsiteX2322" fmla="*/ 5471594 w 7613003"/>
              <a:gd name="connsiteY2322" fmla="*/ 6282981 h 6367505"/>
              <a:gd name="connsiteX2323" fmla="*/ 5344800 w 7613003"/>
              <a:gd name="connsiteY2323" fmla="*/ 6311156 h 6367505"/>
              <a:gd name="connsiteX2324" fmla="*/ 5556124 w 7613003"/>
              <a:gd name="connsiteY2324" fmla="*/ 6297069 h 6367505"/>
              <a:gd name="connsiteX2325" fmla="*/ 5564929 w 7613003"/>
              <a:gd name="connsiteY2325" fmla="*/ 6297069 h 6367505"/>
              <a:gd name="connsiteX2326" fmla="*/ 5570212 w 7613003"/>
              <a:gd name="connsiteY2326" fmla="*/ 6297069 h 6367505"/>
              <a:gd name="connsiteX2327" fmla="*/ 5584299 w 7613003"/>
              <a:gd name="connsiteY2327" fmla="*/ 6297069 h 6367505"/>
              <a:gd name="connsiteX2328" fmla="*/ 5570212 w 7613003"/>
              <a:gd name="connsiteY2328" fmla="*/ 6311156 h 6367505"/>
              <a:gd name="connsiteX2329" fmla="*/ 5485682 w 7613003"/>
              <a:gd name="connsiteY2329" fmla="*/ 6325243 h 6367505"/>
              <a:gd name="connsiteX2330" fmla="*/ 5372976 w 7613003"/>
              <a:gd name="connsiteY2330" fmla="*/ 6339331 h 6367505"/>
              <a:gd name="connsiteX2331" fmla="*/ 5330712 w 7613003"/>
              <a:gd name="connsiteY2331" fmla="*/ 6353418 h 6367505"/>
              <a:gd name="connsiteX2332" fmla="*/ 5260270 w 7613003"/>
              <a:gd name="connsiteY2332" fmla="*/ 6353418 h 6367505"/>
              <a:gd name="connsiteX2333" fmla="*/ 5203919 w 7613003"/>
              <a:gd name="connsiteY2333" fmla="*/ 6367505 h 6367505"/>
              <a:gd name="connsiteX2334" fmla="*/ 5175742 w 7613003"/>
              <a:gd name="connsiteY2334" fmla="*/ 6367505 h 6367505"/>
              <a:gd name="connsiteX2335" fmla="*/ 5175742 w 7613003"/>
              <a:gd name="connsiteY2335" fmla="*/ 6353418 h 6367505"/>
              <a:gd name="connsiteX2336" fmla="*/ 5161654 w 7613003"/>
              <a:gd name="connsiteY2336" fmla="*/ 6353418 h 6367505"/>
              <a:gd name="connsiteX2337" fmla="*/ 5119389 w 7613003"/>
              <a:gd name="connsiteY2337" fmla="*/ 6353418 h 6367505"/>
              <a:gd name="connsiteX2338" fmla="*/ 5091213 w 7613003"/>
              <a:gd name="connsiteY2338" fmla="*/ 6353418 h 6367505"/>
              <a:gd name="connsiteX2339" fmla="*/ 5020771 w 7613003"/>
              <a:gd name="connsiteY2339" fmla="*/ 6367505 h 6367505"/>
              <a:gd name="connsiteX2340" fmla="*/ 4992595 w 7613003"/>
              <a:gd name="connsiteY2340" fmla="*/ 6367505 h 6367505"/>
              <a:gd name="connsiteX2341" fmla="*/ 4964418 w 7613003"/>
              <a:gd name="connsiteY2341" fmla="*/ 6367505 h 6367505"/>
              <a:gd name="connsiteX2342" fmla="*/ 4908065 w 7613003"/>
              <a:gd name="connsiteY2342" fmla="*/ 6367505 h 6367505"/>
              <a:gd name="connsiteX2343" fmla="*/ 4879889 w 7613003"/>
              <a:gd name="connsiteY2343" fmla="*/ 6353418 h 6367505"/>
              <a:gd name="connsiteX2344" fmla="*/ 4851712 w 7613003"/>
              <a:gd name="connsiteY2344" fmla="*/ 6353418 h 6367505"/>
              <a:gd name="connsiteX2345" fmla="*/ 4739006 w 7613003"/>
              <a:gd name="connsiteY2345" fmla="*/ 6367505 h 6367505"/>
              <a:gd name="connsiteX2346" fmla="*/ 4612213 w 7613003"/>
              <a:gd name="connsiteY2346" fmla="*/ 6353418 h 6367505"/>
              <a:gd name="connsiteX2347" fmla="*/ 4569949 w 7613003"/>
              <a:gd name="connsiteY2347" fmla="*/ 6353418 h 6367505"/>
              <a:gd name="connsiteX2348" fmla="*/ 4555860 w 7613003"/>
              <a:gd name="connsiteY2348" fmla="*/ 6353418 h 6367505"/>
              <a:gd name="connsiteX2349" fmla="*/ 4499507 w 7613003"/>
              <a:gd name="connsiteY2349" fmla="*/ 6339331 h 6367505"/>
              <a:gd name="connsiteX2350" fmla="*/ 4274096 w 7613003"/>
              <a:gd name="connsiteY2350" fmla="*/ 6311156 h 6367505"/>
              <a:gd name="connsiteX2351" fmla="*/ 4245920 w 7613003"/>
              <a:gd name="connsiteY2351" fmla="*/ 6297069 h 6367505"/>
              <a:gd name="connsiteX2352" fmla="*/ 4189567 w 7613003"/>
              <a:gd name="connsiteY2352" fmla="*/ 6282981 h 6367505"/>
              <a:gd name="connsiteX2353" fmla="*/ 4189567 w 7613003"/>
              <a:gd name="connsiteY2353" fmla="*/ 6297069 h 6367505"/>
              <a:gd name="connsiteX2354" fmla="*/ 4175478 w 7613003"/>
              <a:gd name="connsiteY2354" fmla="*/ 6297069 h 6367505"/>
              <a:gd name="connsiteX2355" fmla="*/ 4090949 w 7613003"/>
              <a:gd name="connsiteY2355" fmla="*/ 6268894 h 6367505"/>
              <a:gd name="connsiteX2356" fmla="*/ 4034596 w 7613003"/>
              <a:gd name="connsiteY2356" fmla="*/ 6268894 h 6367505"/>
              <a:gd name="connsiteX2357" fmla="*/ 3997912 w 7613003"/>
              <a:gd name="connsiteY2357" fmla="*/ 6253716 h 6367505"/>
              <a:gd name="connsiteX2358" fmla="*/ 3993227 w 7613003"/>
              <a:gd name="connsiteY2358" fmla="*/ 6254807 h 6367505"/>
              <a:gd name="connsiteX2359" fmla="*/ 3852344 w 7613003"/>
              <a:gd name="connsiteY2359" fmla="*/ 6282981 h 6367505"/>
              <a:gd name="connsiteX2360" fmla="*/ 3725550 w 7613003"/>
              <a:gd name="connsiteY2360" fmla="*/ 6311156 h 6367505"/>
              <a:gd name="connsiteX2361" fmla="*/ 3936874 w 7613003"/>
              <a:gd name="connsiteY2361" fmla="*/ 6297069 h 6367505"/>
              <a:gd name="connsiteX2362" fmla="*/ 3945679 w 7613003"/>
              <a:gd name="connsiteY2362" fmla="*/ 6297069 h 6367505"/>
              <a:gd name="connsiteX2363" fmla="*/ 3950962 w 7613003"/>
              <a:gd name="connsiteY2363" fmla="*/ 6297069 h 6367505"/>
              <a:gd name="connsiteX2364" fmla="*/ 3965049 w 7613003"/>
              <a:gd name="connsiteY2364" fmla="*/ 6297069 h 6367505"/>
              <a:gd name="connsiteX2365" fmla="*/ 3950962 w 7613003"/>
              <a:gd name="connsiteY2365" fmla="*/ 6311156 h 6367505"/>
              <a:gd name="connsiteX2366" fmla="*/ 3866432 w 7613003"/>
              <a:gd name="connsiteY2366" fmla="*/ 6325243 h 6367505"/>
              <a:gd name="connsiteX2367" fmla="*/ 3753726 w 7613003"/>
              <a:gd name="connsiteY2367" fmla="*/ 6339331 h 6367505"/>
              <a:gd name="connsiteX2368" fmla="*/ 3711462 w 7613003"/>
              <a:gd name="connsiteY2368" fmla="*/ 6353418 h 6367505"/>
              <a:gd name="connsiteX2369" fmla="*/ 3641020 w 7613003"/>
              <a:gd name="connsiteY2369" fmla="*/ 6353418 h 6367505"/>
              <a:gd name="connsiteX2370" fmla="*/ 3584669 w 7613003"/>
              <a:gd name="connsiteY2370" fmla="*/ 6367505 h 6367505"/>
              <a:gd name="connsiteX2371" fmla="*/ 3556492 w 7613003"/>
              <a:gd name="connsiteY2371" fmla="*/ 6367505 h 6367505"/>
              <a:gd name="connsiteX2372" fmla="*/ 3556492 w 7613003"/>
              <a:gd name="connsiteY2372" fmla="*/ 6353418 h 6367505"/>
              <a:gd name="connsiteX2373" fmla="*/ 3542404 w 7613003"/>
              <a:gd name="connsiteY2373" fmla="*/ 6353418 h 6367505"/>
              <a:gd name="connsiteX2374" fmla="*/ 3500139 w 7613003"/>
              <a:gd name="connsiteY2374" fmla="*/ 6353418 h 6367505"/>
              <a:gd name="connsiteX2375" fmla="*/ 3471963 w 7613003"/>
              <a:gd name="connsiteY2375" fmla="*/ 6353418 h 6367505"/>
              <a:gd name="connsiteX2376" fmla="*/ 3401521 w 7613003"/>
              <a:gd name="connsiteY2376" fmla="*/ 6367505 h 6367505"/>
              <a:gd name="connsiteX2377" fmla="*/ 3373345 w 7613003"/>
              <a:gd name="connsiteY2377" fmla="*/ 6367505 h 6367505"/>
              <a:gd name="connsiteX2378" fmla="*/ 3345168 w 7613003"/>
              <a:gd name="connsiteY2378" fmla="*/ 6367505 h 6367505"/>
              <a:gd name="connsiteX2379" fmla="*/ 3288816 w 7613003"/>
              <a:gd name="connsiteY2379" fmla="*/ 6367505 h 6367505"/>
              <a:gd name="connsiteX2380" fmla="*/ 3260639 w 7613003"/>
              <a:gd name="connsiteY2380" fmla="*/ 6353418 h 6367505"/>
              <a:gd name="connsiteX2381" fmla="*/ 3232462 w 7613003"/>
              <a:gd name="connsiteY2381" fmla="*/ 6353418 h 6367505"/>
              <a:gd name="connsiteX2382" fmla="*/ 3119756 w 7613003"/>
              <a:gd name="connsiteY2382" fmla="*/ 6367505 h 6367505"/>
              <a:gd name="connsiteX2383" fmla="*/ 2992963 w 7613003"/>
              <a:gd name="connsiteY2383" fmla="*/ 6353418 h 6367505"/>
              <a:gd name="connsiteX2384" fmla="*/ 2950699 w 7613003"/>
              <a:gd name="connsiteY2384" fmla="*/ 6353418 h 6367505"/>
              <a:gd name="connsiteX2385" fmla="*/ 2936611 w 7613003"/>
              <a:gd name="connsiteY2385" fmla="*/ 6353418 h 6367505"/>
              <a:gd name="connsiteX2386" fmla="*/ 2880257 w 7613003"/>
              <a:gd name="connsiteY2386" fmla="*/ 6339331 h 6367505"/>
              <a:gd name="connsiteX2387" fmla="*/ 2654846 w 7613003"/>
              <a:gd name="connsiteY2387" fmla="*/ 6311156 h 6367505"/>
              <a:gd name="connsiteX2388" fmla="*/ 2626670 w 7613003"/>
              <a:gd name="connsiteY2388" fmla="*/ 6297069 h 6367505"/>
              <a:gd name="connsiteX2389" fmla="*/ 2570317 w 7613003"/>
              <a:gd name="connsiteY2389" fmla="*/ 6282981 h 6367505"/>
              <a:gd name="connsiteX2390" fmla="*/ 2570317 w 7613003"/>
              <a:gd name="connsiteY2390" fmla="*/ 6297069 h 6367505"/>
              <a:gd name="connsiteX2391" fmla="*/ 2556228 w 7613003"/>
              <a:gd name="connsiteY2391" fmla="*/ 6297069 h 6367505"/>
              <a:gd name="connsiteX2392" fmla="*/ 2471699 w 7613003"/>
              <a:gd name="connsiteY2392" fmla="*/ 6268894 h 6367505"/>
              <a:gd name="connsiteX2393" fmla="*/ 2415347 w 7613003"/>
              <a:gd name="connsiteY2393" fmla="*/ 6268894 h 6367505"/>
              <a:gd name="connsiteX2394" fmla="*/ 2302641 w 7613003"/>
              <a:gd name="connsiteY2394" fmla="*/ 6226631 h 6367505"/>
              <a:gd name="connsiteX2395" fmla="*/ 2288552 w 7613003"/>
              <a:gd name="connsiteY2395" fmla="*/ 6226631 h 6367505"/>
              <a:gd name="connsiteX2396" fmla="*/ 2260376 w 7613003"/>
              <a:gd name="connsiteY2396" fmla="*/ 6212544 h 6367505"/>
              <a:gd name="connsiteX2397" fmla="*/ 2204023 w 7613003"/>
              <a:gd name="connsiteY2397" fmla="*/ 6198456 h 6367505"/>
              <a:gd name="connsiteX2398" fmla="*/ 2175846 w 7613003"/>
              <a:gd name="connsiteY2398" fmla="*/ 6184369 h 6367505"/>
              <a:gd name="connsiteX2399" fmla="*/ 2161758 w 7613003"/>
              <a:gd name="connsiteY2399" fmla="*/ 6184369 h 6367505"/>
              <a:gd name="connsiteX2400" fmla="*/ 2049053 w 7613003"/>
              <a:gd name="connsiteY2400" fmla="*/ 6142107 h 6367505"/>
              <a:gd name="connsiteX2401" fmla="*/ 2034965 w 7613003"/>
              <a:gd name="connsiteY2401" fmla="*/ 6142107 h 6367505"/>
              <a:gd name="connsiteX2402" fmla="*/ 1950434 w 7613003"/>
              <a:gd name="connsiteY2402" fmla="*/ 6099845 h 6367505"/>
              <a:gd name="connsiteX2403" fmla="*/ 1865906 w 7613003"/>
              <a:gd name="connsiteY2403" fmla="*/ 6057582 h 6367505"/>
              <a:gd name="connsiteX2404" fmla="*/ 1851817 w 7613003"/>
              <a:gd name="connsiteY2404" fmla="*/ 6057582 h 6367505"/>
              <a:gd name="connsiteX2405" fmla="*/ 1753200 w 7613003"/>
              <a:gd name="connsiteY2405" fmla="*/ 6015320 h 6367505"/>
              <a:gd name="connsiteX2406" fmla="*/ 1725024 w 7613003"/>
              <a:gd name="connsiteY2406" fmla="*/ 6001233 h 6367505"/>
              <a:gd name="connsiteX2407" fmla="*/ 1555965 w 7613003"/>
              <a:gd name="connsiteY2407" fmla="*/ 5902622 h 6367505"/>
              <a:gd name="connsiteX2408" fmla="*/ 1485523 w 7613003"/>
              <a:gd name="connsiteY2408" fmla="*/ 5874446 h 6367505"/>
              <a:gd name="connsiteX2409" fmla="*/ 1429170 w 7613003"/>
              <a:gd name="connsiteY2409" fmla="*/ 5832184 h 6367505"/>
              <a:gd name="connsiteX2410" fmla="*/ 1358729 w 7613003"/>
              <a:gd name="connsiteY2410" fmla="*/ 5775835 h 6367505"/>
              <a:gd name="connsiteX2411" fmla="*/ 1330553 w 7613003"/>
              <a:gd name="connsiteY2411" fmla="*/ 5761748 h 6367505"/>
              <a:gd name="connsiteX2412" fmla="*/ 1147407 w 7613003"/>
              <a:gd name="connsiteY2412" fmla="*/ 5606786 h 6367505"/>
              <a:gd name="connsiteX2413" fmla="*/ 1119230 w 7613003"/>
              <a:gd name="connsiteY2413" fmla="*/ 5578611 h 6367505"/>
              <a:gd name="connsiteX2414" fmla="*/ 1119230 w 7613003"/>
              <a:gd name="connsiteY2414" fmla="*/ 5564524 h 6367505"/>
              <a:gd name="connsiteX2415" fmla="*/ 1105141 w 7613003"/>
              <a:gd name="connsiteY2415" fmla="*/ 5564524 h 6367505"/>
              <a:gd name="connsiteX2416" fmla="*/ 1076965 w 7613003"/>
              <a:gd name="connsiteY2416" fmla="*/ 5536349 h 6367505"/>
              <a:gd name="connsiteX2417" fmla="*/ 1034701 w 7613003"/>
              <a:gd name="connsiteY2417" fmla="*/ 5494086 h 6367505"/>
              <a:gd name="connsiteX2418" fmla="*/ 978348 w 7613003"/>
              <a:gd name="connsiteY2418" fmla="*/ 5437737 h 6367505"/>
              <a:gd name="connsiteX2419" fmla="*/ 936082 w 7613003"/>
              <a:gd name="connsiteY2419" fmla="*/ 5395475 h 6367505"/>
              <a:gd name="connsiteX2420" fmla="*/ 865642 w 7613003"/>
              <a:gd name="connsiteY2420" fmla="*/ 5310950 h 6367505"/>
              <a:gd name="connsiteX2421" fmla="*/ 781112 w 7613003"/>
              <a:gd name="connsiteY2421" fmla="*/ 5198252 h 6367505"/>
              <a:gd name="connsiteX2422" fmla="*/ 767025 w 7613003"/>
              <a:gd name="connsiteY2422" fmla="*/ 5184163 h 6367505"/>
              <a:gd name="connsiteX2423" fmla="*/ 654319 w 7613003"/>
              <a:gd name="connsiteY2423" fmla="*/ 5057378 h 6367505"/>
              <a:gd name="connsiteX2424" fmla="*/ 640230 w 7613003"/>
              <a:gd name="connsiteY2424" fmla="*/ 5029203 h 6367505"/>
              <a:gd name="connsiteX2425" fmla="*/ 583877 w 7613003"/>
              <a:gd name="connsiteY2425" fmla="*/ 4958765 h 6367505"/>
              <a:gd name="connsiteX2426" fmla="*/ 569789 w 7613003"/>
              <a:gd name="connsiteY2426" fmla="*/ 4930591 h 6367505"/>
              <a:gd name="connsiteX2427" fmla="*/ 555702 w 7613003"/>
              <a:gd name="connsiteY2427" fmla="*/ 4902416 h 6367505"/>
              <a:gd name="connsiteX2428" fmla="*/ 485260 w 7613003"/>
              <a:gd name="connsiteY2428" fmla="*/ 4817891 h 6367505"/>
              <a:gd name="connsiteX2429" fmla="*/ 485260 w 7613003"/>
              <a:gd name="connsiteY2429" fmla="*/ 4803804 h 6367505"/>
              <a:gd name="connsiteX2430" fmla="*/ 457083 w 7613003"/>
              <a:gd name="connsiteY2430" fmla="*/ 4761542 h 6367505"/>
              <a:gd name="connsiteX2431" fmla="*/ 414819 w 7613003"/>
              <a:gd name="connsiteY2431" fmla="*/ 4705192 h 6367505"/>
              <a:gd name="connsiteX2432" fmla="*/ 400731 w 7613003"/>
              <a:gd name="connsiteY2432" fmla="*/ 4662929 h 6367505"/>
              <a:gd name="connsiteX2433" fmla="*/ 386643 w 7613003"/>
              <a:gd name="connsiteY2433" fmla="*/ 4662929 h 6367505"/>
              <a:gd name="connsiteX2434" fmla="*/ 386643 w 7613003"/>
              <a:gd name="connsiteY2434" fmla="*/ 4634755 h 6367505"/>
              <a:gd name="connsiteX2435" fmla="*/ 344378 w 7613003"/>
              <a:gd name="connsiteY2435" fmla="*/ 4564318 h 6367505"/>
              <a:gd name="connsiteX2436" fmla="*/ 316201 w 7613003"/>
              <a:gd name="connsiteY2436" fmla="*/ 4493882 h 6367505"/>
              <a:gd name="connsiteX2437" fmla="*/ 302113 w 7613003"/>
              <a:gd name="connsiteY2437" fmla="*/ 4493882 h 6367505"/>
              <a:gd name="connsiteX2438" fmla="*/ 302113 w 7613003"/>
              <a:gd name="connsiteY2438" fmla="*/ 4465706 h 6367505"/>
              <a:gd name="connsiteX2439" fmla="*/ 288025 w 7613003"/>
              <a:gd name="connsiteY2439" fmla="*/ 4423444 h 6367505"/>
              <a:gd name="connsiteX2440" fmla="*/ 330290 w 7613003"/>
              <a:gd name="connsiteY2440" fmla="*/ 4493882 h 6367505"/>
              <a:gd name="connsiteX2441" fmla="*/ 330290 w 7613003"/>
              <a:gd name="connsiteY2441" fmla="*/ 4507969 h 6367505"/>
              <a:gd name="connsiteX2442" fmla="*/ 344378 w 7613003"/>
              <a:gd name="connsiteY2442" fmla="*/ 4536144 h 6367505"/>
              <a:gd name="connsiteX2443" fmla="*/ 372554 w 7613003"/>
              <a:gd name="connsiteY2443" fmla="*/ 4578406 h 6367505"/>
              <a:gd name="connsiteX2444" fmla="*/ 372554 w 7613003"/>
              <a:gd name="connsiteY2444" fmla="*/ 4592493 h 6367505"/>
              <a:gd name="connsiteX2445" fmla="*/ 372554 w 7613003"/>
              <a:gd name="connsiteY2445" fmla="*/ 4564318 h 6367505"/>
              <a:gd name="connsiteX2446" fmla="*/ 366611 w 7613003"/>
              <a:gd name="connsiteY2446" fmla="*/ 4546489 h 6367505"/>
              <a:gd name="connsiteX2447" fmla="*/ 363538 w 7613003"/>
              <a:gd name="connsiteY2447" fmla="*/ 4537272 h 6367505"/>
              <a:gd name="connsiteX2448" fmla="*/ 372554 w 7613003"/>
              <a:gd name="connsiteY2448" fmla="*/ 4550231 h 6367505"/>
              <a:gd name="connsiteX2449" fmla="*/ 414819 w 7613003"/>
              <a:gd name="connsiteY2449" fmla="*/ 4634755 h 6367505"/>
              <a:gd name="connsiteX2450" fmla="*/ 428907 w 7613003"/>
              <a:gd name="connsiteY2450" fmla="*/ 4648842 h 6367505"/>
              <a:gd name="connsiteX2451" fmla="*/ 457083 w 7613003"/>
              <a:gd name="connsiteY2451" fmla="*/ 4705192 h 6367505"/>
              <a:gd name="connsiteX2452" fmla="*/ 457083 w 7613003"/>
              <a:gd name="connsiteY2452" fmla="*/ 4719280 h 6367505"/>
              <a:gd name="connsiteX2453" fmla="*/ 464128 w 7613003"/>
              <a:gd name="connsiteY2453" fmla="*/ 4712236 h 6367505"/>
              <a:gd name="connsiteX2454" fmla="*/ 467330 w 7613003"/>
              <a:gd name="connsiteY2454" fmla="*/ 4709034 h 6367505"/>
              <a:gd name="connsiteX2455" fmla="*/ 471171 w 7613003"/>
              <a:gd name="connsiteY2455" fmla="*/ 4719280 h 6367505"/>
              <a:gd name="connsiteX2456" fmla="*/ 471171 w 7613003"/>
              <a:gd name="connsiteY2456" fmla="*/ 4705192 h 6367505"/>
              <a:gd name="connsiteX2457" fmla="*/ 467330 w 7613003"/>
              <a:gd name="connsiteY2457" fmla="*/ 4709034 h 6367505"/>
              <a:gd name="connsiteX2458" fmla="*/ 450039 w 7613003"/>
              <a:gd name="connsiteY2458" fmla="*/ 4662931 h 6367505"/>
              <a:gd name="connsiteX2459" fmla="*/ 428907 w 7613003"/>
              <a:gd name="connsiteY2459" fmla="*/ 4606580 h 6367505"/>
              <a:gd name="connsiteX2460" fmla="*/ 414819 w 7613003"/>
              <a:gd name="connsiteY2460" fmla="*/ 4578406 h 6367505"/>
              <a:gd name="connsiteX2461" fmla="*/ 386643 w 7613003"/>
              <a:gd name="connsiteY2461" fmla="*/ 4522056 h 6367505"/>
              <a:gd name="connsiteX2462" fmla="*/ 358466 w 7613003"/>
              <a:gd name="connsiteY2462" fmla="*/ 4479793 h 6367505"/>
              <a:gd name="connsiteX2463" fmla="*/ 344378 w 7613003"/>
              <a:gd name="connsiteY2463" fmla="*/ 4451619 h 6367505"/>
              <a:gd name="connsiteX2464" fmla="*/ 316201 w 7613003"/>
              <a:gd name="connsiteY2464" fmla="*/ 4381182 h 6367505"/>
              <a:gd name="connsiteX2465" fmla="*/ 288025 w 7613003"/>
              <a:gd name="connsiteY2465" fmla="*/ 4338920 h 6367505"/>
              <a:gd name="connsiteX2466" fmla="*/ 288025 w 7613003"/>
              <a:gd name="connsiteY2466" fmla="*/ 4310744 h 6367505"/>
              <a:gd name="connsiteX2467" fmla="*/ 273937 w 7613003"/>
              <a:gd name="connsiteY2467" fmla="*/ 4296657 h 6367505"/>
              <a:gd name="connsiteX2468" fmla="*/ 259848 w 7613003"/>
              <a:gd name="connsiteY2468" fmla="*/ 4254395 h 6367505"/>
              <a:gd name="connsiteX2469" fmla="*/ 273937 w 7613003"/>
              <a:gd name="connsiteY2469" fmla="*/ 4310744 h 6367505"/>
              <a:gd name="connsiteX2470" fmla="*/ 259848 w 7613003"/>
              <a:gd name="connsiteY2470" fmla="*/ 4268482 h 6367505"/>
              <a:gd name="connsiteX2471" fmla="*/ 245761 w 7613003"/>
              <a:gd name="connsiteY2471" fmla="*/ 4254395 h 6367505"/>
              <a:gd name="connsiteX2472" fmla="*/ 245761 w 7613003"/>
              <a:gd name="connsiteY2472" fmla="*/ 4240308 h 6367505"/>
              <a:gd name="connsiteX2473" fmla="*/ 217584 w 7613003"/>
              <a:gd name="connsiteY2473" fmla="*/ 4198046 h 6367505"/>
              <a:gd name="connsiteX2474" fmla="*/ 203495 w 7613003"/>
              <a:gd name="connsiteY2474" fmla="*/ 4169871 h 6367505"/>
              <a:gd name="connsiteX2475" fmla="*/ 189407 w 7613003"/>
              <a:gd name="connsiteY2475" fmla="*/ 4141697 h 6367505"/>
              <a:gd name="connsiteX2476" fmla="*/ 189407 w 7613003"/>
              <a:gd name="connsiteY2476" fmla="*/ 4155784 h 6367505"/>
              <a:gd name="connsiteX2477" fmla="*/ 189407 w 7613003"/>
              <a:gd name="connsiteY2477" fmla="*/ 4175153 h 6367505"/>
              <a:gd name="connsiteX2478" fmla="*/ 189407 w 7613003"/>
              <a:gd name="connsiteY2478" fmla="*/ 4178235 h 6367505"/>
              <a:gd name="connsiteX2479" fmla="*/ 189407 w 7613003"/>
              <a:gd name="connsiteY2479" fmla="*/ 4180437 h 6367505"/>
              <a:gd name="connsiteX2480" fmla="*/ 189407 w 7613003"/>
              <a:gd name="connsiteY2480" fmla="*/ 4183958 h 6367505"/>
              <a:gd name="connsiteX2481" fmla="*/ 189407 w 7613003"/>
              <a:gd name="connsiteY2481" fmla="*/ 4198046 h 6367505"/>
              <a:gd name="connsiteX2482" fmla="*/ 189407 w 7613003"/>
              <a:gd name="connsiteY2482" fmla="*/ 4212133 h 6367505"/>
              <a:gd name="connsiteX2483" fmla="*/ 231672 w 7613003"/>
              <a:gd name="connsiteY2483" fmla="*/ 4296657 h 6367505"/>
              <a:gd name="connsiteX2484" fmla="*/ 217584 w 7613003"/>
              <a:gd name="connsiteY2484" fmla="*/ 4268482 h 6367505"/>
              <a:gd name="connsiteX2485" fmla="*/ 217584 w 7613003"/>
              <a:gd name="connsiteY2485" fmla="*/ 4310744 h 6367505"/>
              <a:gd name="connsiteX2486" fmla="*/ 217584 w 7613003"/>
              <a:gd name="connsiteY2486" fmla="*/ 4316687 h 6367505"/>
              <a:gd name="connsiteX2487" fmla="*/ 217584 w 7613003"/>
              <a:gd name="connsiteY2487" fmla="*/ 4324833 h 6367505"/>
              <a:gd name="connsiteX2488" fmla="*/ 217584 w 7613003"/>
              <a:gd name="connsiteY2488" fmla="*/ 4338920 h 6367505"/>
              <a:gd name="connsiteX2489" fmla="*/ 203495 w 7613003"/>
              <a:gd name="connsiteY2489" fmla="*/ 4338920 h 6367505"/>
              <a:gd name="connsiteX2490" fmla="*/ 189407 w 7613003"/>
              <a:gd name="connsiteY2490" fmla="*/ 4324833 h 6367505"/>
              <a:gd name="connsiteX2491" fmla="*/ 175319 w 7613003"/>
              <a:gd name="connsiteY2491" fmla="*/ 4254395 h 6367505"/>
              <a:gd name="connsiteX2492" fmla="*/ 147142 w 7613003"/>
              <a:gd name="connsiteY2492" fmla="*/ 4169871 h 6367505"/>
              <a:gd name="connsiteX2493" fmla="*/ 147142 w 7613003"/>
              <a:gd name="connsiteY2493" fmla="*/ 4155784 h 6367505"/>
              <a:gd name="connsiteX2494" fmla="*/ 133055 w 7613003"/>
              <a:gd name="connsiteY2494" fmla="*/ 4113521 h 6367505"/>
              <a:gd name="connsiteX2495" fmla="*/ 133055 w 7613003"/>
              <a:gd name="connsiteY2495" fmla="*/ 4141697 h 6367505"/>
              <a:gd name="connsiteX2496" fmla="*/ 133055 w 7613003"/>
              <a:gd name="connsiteY2496" fmla="*/ 4155784 h 6367505"/>
              <a:gd name="connsiteX2497" fmla="*/ 133055 w 7613003"/>
              <a:gd name="connsiteY2497" fmla="*/ 4183958 h 6367505"/>
              <a:gd name="connsiteX2498" fmla="*/ 104878 w 7613003"/>
              <a:gd name="connsiteY2498" fmla="*/ 4071259 h 6367505"/>
              <a:gd name="connsiteX2499" fmla="*/ 90789 w 7613003"/>
              <a:gd name="connsiteY2499" fmla="*/ 4057172 h 6367505"/>
              <a:gd name="connsiteX2500" fmla="*/ 76702 w 7613003"/>
              <a:gd name="connsiteY2500" fmla="*/ 3986735 h 6367505"/>
              <a:gd name="connsiteX2501" fmla="*/ 48525 w 7613003"/>
              <a:gd name="connsiteY2501" fmla="*/ 3859948 h 6367505"/>
              <a:gd name="connsiteX2502" fmla="*/ 62614 w 7613003"/>
              <a:gd name="connsiteY2502" fmla="*/ 3859948 h 6367505"/>
              <a:gd name="connsiteX2503" fmla="*/ 62614 w 7613003"/>
              <a:gd name="connsiteY2503" fmla="*/ 3845861 h 6367505"/>
              <a:gd name="connsiteX2504" fmla="*/ 62614 w 7613003"/>
              <a:gd name="connsiteY2504" fmla="*/ 3789512 h 6367505"/>
              <a:gd name="connsiteX2505" fmla="*/ 62614 w 7613003"/>
              <a:gd name="connsiteY2505" fmla="*/ 3784228 h 6367505"/>
              <a:gd name="connsiteX2506" fmla="*/ 62614 w 7613003"/>
              <a:gd name="connsiteY2506" fmla="*/ 3783567 h 6367505"/>
              <a:gd name="connsiteX2507" fmla="*/ 62614 w 7613003"/>
              <a:gd name="connsiteY2507" fmla="*/ 3759575 h 6367505"/>
              <a:gd name="connsiteX2508" fmla="*/ 62614 w 7613003"/>
              <a:gd name="connsiteY2508" fmla="*/ 3719074 h 6367505"/>
              <a:gd name="connsiteX2509" fmla="*/ 62614 w 7613003"/>
              <a:gd name="connsiteY2509" fmla="*/ 3676812 h 6367505"/>
              <a:gd name="connsiteX2510" fmla="*/ 62614 w 7613003"/>
              <a:gd name="connsiteY2510" fmla="*/ 3648637 h 6367505"/>
              <a:gd name="connsiteX2511" fmla="*/ 76702 w 7613003"/>
              <a:gd name="connsiteY2511" fmla="*/ 3690899 h 6367505"/>
              <a:gd name="connsiteX2512" fmla="*/ 76702 w 7613003"/>
              <a:gd name="connsiteY2512" fmla="*/ 3676812 h 6367505"/>
              <a:gd name="connsiteX2513" fmla="*/ 62614 w 7613003"/>
              <a:gd name="connsiteY2513" fmla="*/ 3564112 h 6367505"/>
              <a:gd name="connsiteX2514" fmla="*/ 62614 w 7613003"/>
              <a:gd name="connsiteY2514" fmla="*/ 3634550 h 6367505"/>
              <a:gd name="connsiteX2515" fmla="*/ 48525 w 7613003"/>
              <a:gd name="connsiteY2515" fmla="*/ 3620463 h 6367505"/>
              <a:gd name="connsiteX2516" fmla="*/ 48525 w 7613003"/>
              <a:gd name="connsiteY2516" fmla="*/ 3578200 h 6367505"/>
              <a:gd name="connsiteX2517" fmla="*/ 34436 w 7613003"/>
              <a:gd name="connsiteY2517" fmla="*/ 3550025 h 6367505"/>
              <a:gd name="connsiteX2518" fmla="*/ 34436 w 7613003"/>
              <a:gd name="connsiteY2518" fmla="*/ 3521850 h 6367505"/>
              <a:gd name="connsiteX2519" fmla="*/ 20349 w 7613003"/>
              <a:gd name="connsiteY2519" fmla="*/ 3366889 h 6367505"/>
              <a:gd name="connsiteX2520" fmla="*/ 6261 w 7613003"/>
              <a:gd name="connsiteY2520" fmla="*/ 3324627 h 6367505"/>
              <a:gd name="connsiteX2521" fmla="*/ 6261 w 7613003"/>
              <a:gd name="connsiteY2521" fmla="*/ 3226015 h 6367505"/>
              <a:gd name="connsiteX2522" fmla="*/ 6261 w 7613003"/>
              <a:gd name="connsiteY2522" fmla="*/ 3183753 h 6367505"/>
              <a:gd name="connsiteX2523" fmla="*/ 6261 w 7613003"/>
              <a:gd name="connsiteY2523" fmla="*/ 3155578 h 6367505"/>
              <a:gd name="connsiteX2524" fmla="*/ 6261 w 7613003"/>
              <a:gd name="connsiteY2524" fmla="*/ 3141491 h 6367505"/>
              <a:gd name="connsiteX2525" fmla="*/ 6261 w 7613003"/>
              <a:gd name="connsiteY2525" fmla="*/ 3056966 h 6367505"/>
              <a:gd name="connsiteX2526" fmla="*/ 6261 w 7613003"/>
              <a:gd name="connsiteY2526" fmla="*/ 2958355 h 6367505"/>
              <a:gd name="connsiteX2527" fmla="*/ 6261 w 7613003"/>
              <a:gd name="connsiteY2527" fmla="*/ 2873830 h 6367505"/>
              <a:gd name="connsiteX2528" fmla="*/ 6261 w 7613003"/>
              <a:gd name="connsiteY2528" fmla="*/ 2859742 h 6367505"/>
              <a:gd name="connsiteX2529" fmla="*/ 20349 w 7613003"/>
              <a:gd name="connsiteY2529" fmla="*/ 2845655 h 6367505"/>
              <a:gd name="connsiteX2530" fmla="*/ 20349 w 7613003"/>
              <a:gd name="connsiteY2530" fmla="*/ 2831568 h 6367505"/>
              <a:gd name="connsiteX2531" fmla="*/ 20349 w 7613003"/>
              <a:gd name="connsiteY2531" fmla="*/ 2761131 h 6367505"/>
              <a:gd name="connsiteX2532" fmla="*/ 34436 w 7613003"/>
              <a:gd name="connsiteY2532" fmla="*/ 2704782 h 6367505"/>
              <a:gd name="connsiteX2533" fmla="*/ 34436 w 7613003"/>
              <a:gd name="connsiteY2533" fmla="*/ 2676606 h 6367505"/>
              <a:gd name="connsiteX2534" fmla="*/ 62614 w 7613003"/>
              <a:gd name="connsiteY2534" fmla="*/ 2521646 h 6367505"/>
              <a:gd name="connsiteX2535" fmla="*/ 104878 w 7613003"/>
              <a:gd name="connsiteY2535" fmla="*/ 2437121 h 6367505"/>
              <a:gd name="connsiteX2536" fmla="*/ 118967 w 7613003"/>
              <a:gd name="connsiteY2536" fmla="*/ 2394859 h 6367505"/>
              <a:gd name="connsiteX2537" fmla="*/ 133055 w 7613003"/>
              <a:gd name="connsiteY2537" fmla="*/ 2310334 h 6367505"/>
              <a:gd name="connsiteX2538" fmla="*/ 161231 w 7613003"/>
              <a:gd name="connsiteY2538" fmla="*/ 2253985 h 6367505"/>
              <a:gd name="connsiteX2539" fmla="*/ 161231 w 7613003"/>
              <a:gd name="connsiteY2539" fmla="*/ 2239897 h 6367505"/>
              <a:gd name="connsiteX2540" fmla="*/ 161231 w 7613003"/>
              <a:gd name="connsiteY2540" fmla="*/ 2211723 h 6367505"/>
              <a:gd name="connsiteX2541" fmla="*/ 175319 w 7613003"/>
              <a:gd name="connsiteY2541" fmla="*/ 2197635 h 6367505"/>
              <a:gd name="connsiteX2542" fmla="*/ 175319 w 7613003"/>
              <a:gd name="connsiteY2542" fmla="*/ 2155372 h 6367505"/>
              <a:gd name="connsiteX2543" fmla="*/ 189407 w 7613003"/>
              <a:gd name="connsiteY2543" fmla="*/ 2141285 h 6367505"/>
              <a:gd name="connsiteX2544" fmla="*/ 189407 w 7613003"/>
              <a:gd name="connsiteY2544" fmla="*/ 2113110 h 6367505"/>
              <a:gd name="connsiteX2545" fmla="*/ 203495 w 7613003"/>
              <a:gd name="connsiteY2545" fmla="*/ 2099023 h 6367505"/>
              <a:gd name="connsiteX2546" fmla="*/ 217584 w 7613003"/>
              <a:gd name="connsiteY2546" fmla="*/ 2056761 h 6367505"/>
              <a:gd name="connsiteX2547" fmla="*/ 217584 w 7613003"/>
              <a:gd name="connsiteY2547" fmla="*/ 2028587 h 6367505"/>
              <a:gd name="connsiteX2548" fmla="*/ 231672 w 7613003"/>
              <a:gd name="connsiteY2548" fmla="*/ 2000412 h 6367505"/>
              <a:gd name="connsiteX2549" fmla="*/ 231672 w 7613003"/>
              <a:gd name="connsiteY2549" fmla="*/ 2000412 h 6367505"/>
              <a:gd name="connsiteX2550" fmla="*/ 245761 w 7613003"/>
              <a:gd name="connsiteY2550" fmla="*/ 1958149 h 6367505"/>
              <a:gd name="connsiteX2551" fmla="*/ 245761 w 7613003"/>
              <a:gd name="connsiteY2551" fmla="*/ 1901800 h 6367505"/>
              <a:gd name="connsiteX2552" fmla="*/ 259848 w 7613003"/>
              <a:gd name="connsiteY2552" fmla="*/ 1873625 h 6367505"/>
              <a:gd name="connsiteX2553" fmla="*/ 245761 w 7613003"/>
              <a:gd name="connsiteY2553" fmla="*/ 1887712 h 6367505"/>
              <a:gd name="connsiteX2554" fmla="*/ 217584 w 7613003"/>
              <a:gd name="connsiteY2554" fmla="*/ 1972236 h 6367505"/>
              <a:gd name="connsiteX2555" fmla="*/ 203495 w 7613003"/>
              <a:gd name="connsiteY2555" fmla="*/ 1986323 h 6367505"/>
              <a:gd name="connsiteX2556" fmla="*/ 203495 w 7613003"/>
              <a:gd name="connsiteY2556" fmla="*/ 2000412 h 6367505"/>
              <a:gd name="connsiteX2557" fmla="*/ 189407 w 7613003"/>
              <a:gd name="connsiteY2557" fmla="*/ 2000412 h 6367505"/>
              <a:gd name="connsiteX2558" fmla="*/ 203495 w 7613003"/>
              <a:gd name="connsiteY2558" fmla="*/ 1915887 h 6367505"/>
              <a:gd name="connsiteX2559" fmla="*/ 175319 w 7613003"/>
              <a:gd name="connsiteY2559" fmla="*/ 1972236 h 6367505"/>
              <a:gd name="connsiteX2560" fmla="*/ 181786 w 7613003"/>
              <a:gd name="connsiteY2560" fmla="*/ 1954455 h 6367505"/>
              <a:gd name="connsiteX2561" fmla="*/ 189407 w 7613003"/>
              <a:gd name="connsiteY2561" fmla="*/ 1944061 h 6367505"/>
              <a:gd name="connsiteX2562" fmla="*/ 182363 w 7613003"/>
              <a:gd name="connsiteY2562" fmla="*/ 1952867 h 6367505"/>
              <a:gd name="connsiteX2563" fmla="*/ 181786 w 7613003"/>
              <a:gd name="connsiteY2563" fmla="*/ 1954455 h 6367505"/>
              <a:gd name="connsiteX2564" fmla="*/ 170036 w 7613003"/>
              <a:gd name="connsiteY2564" fmla="*/ 1970476 h 6367505"/>
              <a:gd name="connsiteX2565" fmla="*/ 161231 w 7613003"/>
              <a:gd name="connsiteY2565" fmla="*/ 1986323 h 6367505"/>
              <a:gd name="connsiteX2566" fmla="*/ 147142 w 7613003"/>
              <a:gd name="connsiteY2566" fmla="*/ 2000412 h 6367505"/>
              <a:gd name="connsiteX2567" fmla="*/ 133055 w 7613003"/>
              <a:gd name="connsiteY2567" fmla="*/ 2014499 h 6367505"/>
              <a:gd name="connsiteX2568" fmla="*/ 76702 w 7613003"/>
              <a:gd name="connsiteY2568" fmla="*/ 2099023 h 6367505"/>
              <a:gd name="connsiteX2569" fmla="*/ 118967 w 7613003"/>
              <a:gd name="connsiteY2569" fmla="*/ 2028587 h 6367505"/>
              <a:gd name="connsiteX2570" fmla="*/ 130854 w 7613003"/>
              <a:gd name="connsiteY2570" fmla="*/ 2002833 h 6367505"/>
              <a:gd name="connsiteX2571" fmla="*/ 131021 w 7613003"/>
              <a:gd name="connsiteY2571" fmla="*/ 2001574 h 6367505"/>
              <a:gd name="connsiteX2572" fmla="*/ 133055 w 7613003"/>
              <a:gd name="connsiteY2572" fmla="*/ 2000412 h 6367505"/>
              <a:gd name="connsiteX2573" fmla="*/ 133055 w 7613003"/>
              <a:gd name="connsiteY2573" fmla="*/ 1986323 h 6367505"/>
              <a:gd name="connsiteX2574" fmla="*/ 131021 w 7613003"/>
              <a:gd name="connsiteY2574" fmla="*/ 2001574 h 6367505"/>
              <a:gd name="connsiteX2575" fmla="*/ 120727 w 7613003"/>
              <a:gd name="connsiteY2575" fmla="*/ 2007456 h 6367505"/>
              <a:gd name="connsiteX2576" fmla="*/ 118967 w 7613003"/>
              <a:gd name="connsiteY2576" fmla="*/ 2014499 h 6367505"/>
              <a:gd name="connsiteX2577" fmla="*/ 118967 w 7613003"/>
              <a:gd name="connsiteY2577" fmla="*/ 2000412 h 6367505"/>
              <a:gd name="connsiteX2578" fmla="*/ 118967 w 7613003"/>
              <a:gd name="connsiteY2578" fmla="*/ 1986323 h 6367505"/>
              <a:gd name="connsiteX2579" fmla="*/ 133055 w 7613003"/>
              <a:gd name="connsiteY2579" fmla="*/ 1972236 h 6367505"/>
              <a:gd name="connsiteX2580" fmla="*/ 147142 w 7613003"/>
              <a:gd name="connsiteY2580" fmla="*/ 1972236 h 6367505"/>
              <a:gd name="connsiteX2581" fmla="*/ 161231 w 7613003"/>
              <a:gd name="connsiteY2581" fmla="*/ 1944061 h 6367505"/>
              <a:gd name="connsiteX2582" fmla="*/ 175319 w 7613003"/>
              <a:gd name="connsiteY2582" fmla="*/ 1929974 h 6367505"/>
              <a:gd name="connsiteX2583" fmla="*/ 231672 w 7613003"/>
              <a:gd name="connsiteY2583" fmla="*/ 1845450 h 6367505"/>
              <a:gd name="connsiteX2584" fmla="*/ 259848 w 7613003"/>
              <a:gd name="connsiteY2584" fmla="*/ 1803188 h 6367505"/>
              <a:gd name="connsiteX2585" fmla="*/ 302113 w 7613003"/>
              <a:gd name="connsiteY2585" fmla="*/ 1775013 h 6367505"/>
              <a:gd name="connsiteX2586" fmla="*/ 358466 w 7613003"/>
              <a:gd name="connsiteY2586" fmla="*/ 1676401 h 6367505"/>
              <a:gd name="connsiteX2587" fmla="*/ 372554 w 7613003"/>
              <a:gd name="connsiteY2587" fmla="*/ 1648227 h 6367505"/>
              <a:gd name="connsiteX2588" fmla="*/ 372554 w 7613003"/>
              <a:gd name="connsiteY2588" fmla="*/ 1662314 h 6367505"/>
              <a:gd name="connsiteX2589" fmla="*/ 358466 w 7613003"/>
              <a:gd name="connsiteY2589" fmla="*/ 1746838 h 6367505"/>
              <a:gd name="connsiteX2590" fmla="*/ 330290 w 7613003"/>
              <a:gd name="connsiteY2590" fmla="*/ 1803188 h 6367505"/>
              <a:gd name="connsiteX2591" fmla="*/ 316201 w 7613003"/>
              <a:gd name="connsiteY2591" fmla="*/ 1845450 h 6367505"/>
              <a:gd name="connsiteX2592" fmla="*/ 259848 w 7613003"/>
              <a:gd name="connsiteY2592" fmla="*/ 1972236 h 6367505"/>
              <a:gd name="connsiteX2593" fmla="*/ 245761 w 7613003"/>
              <a:gd name="connsiteY2593" fmla="*/ 2000412 h 6367505"/>
              <a:gd name="connsiteX2594" fmla="*/ 217584 w 7613003"/>
              <a:gd name="connsiteY2594" fmla="*/ 2070849 h 6367505"/>
              <a:gd name="connsiteX2595" fmla="*/ 203495 w 7613003"/>
              <a:gd name="connsiteY2595" fmla="*/ 2169459 h 6367505"/>
              <a:gd name="connsiteX2596" fmla="*/ 189407 w 7613003"/>
              <a:gd name="connsiteY2596" fmla="*/ 2169459 h 6367505"/>
              <a:gd name="connsiteX2597" fmla="*/ 189407 w 7613003"/>
              <a:gd name="connsiteY2597" fmla="*/ 2225810 h 6367505"/>
              <a:gd name="connsiteX2598" fmla="*/ 175319 w 7613003"/>
              <a:gd name="connsiteY2598" fmla="*/ 2268072 h 6367505"/>
              <a:gd name="connsiteX2599" fmla="*/ 175319 w 7613003"/>
              <a:gd name="connsiteY2599" fmla="*/ 2282159 h 6367505"/>
              <a:gd name="connsiteX2600" fmla="*/ 161231 w 7613003"/>
              <a:gd name="connsiteY2600" fmla="*/ 2324421 h 6367505"/>
              <a:gd name="connsiteX2601" fmla="*/ 175319 w 7613003"/>
              <a:gd name="connsiteY2601" fmla="*/ 2338508 h 6367505"/>
              <a:gd name="connsiteX2602" fmla="*/ 189407 w 7613003"/>
              <a:gd name="connsiteY2602" fmla="*/ 2253985 h 6367505"/>
              <a:gd name="connsiteX2603" fmla="*/ 203495 w 7613003"/>
              <a:gd name="connsiteY2603" fmla="*/ 2211723 h 6367505"/>
              <a:gd name="connsiteX2604" fmla="*/ 203495 w 7613003"/>
              <a:gd name="connsiteY2604" fmla="*/ 2197635 h 6367505"/>
              <a:gd name="connsiteX2605" fmla="*/ 203495 w 7613003"/>
              <a:gd name="connsiteY2605" fmla="*/ 2183548 h 6367505"/>
              <a:gd name="connsiteX2606" fmla="*/ 217584 w 7613003"/>
              <a:gd name="connsiteY2606" fmla="*/ 2155372 h 6367505"/>
              <a:gd name="connsiteX2607" fmla="*/ 231672 w 7613003"/>
              <a:gd name="connsiteY2607" fmla="*/ 2127198 h 6367505"/>
              <a:gd name="connsiteX2608" fmla="*/ 231672 w 7613003"/>
              <a:gd name="connsiteY2608" fmla="*/ 2136003 h 6367505"/>
              <a:gd name="connsiteX2609" fmla="*/ 231672 w 7613003"/>
              <a:gd name="connsiteY2609" fmla="*/ 2149429 h 6367505"/>
              <a:gd name="connsiteX2610" fmla="*/ 231672 w 7613003"/>
              <a:gd name="connsiteY2610" fmla="*/ 2150090 h 6367505"/>
              <a:gd name="connsiteX2611" fmla="*/ 231672 w 7613003"/>
              <a:gd name="connsiteY2611" fmla="*/ 2155372 h 6367505"/>
              <a:gd name="connsiteX2612" fmla="*/ 259848 w 7613003"/>
              <a:gd name="connsiteY2612" fmla="*/ 2113110 h 6367505"/>
              <a:gd name="connsiteX2613" fmla="*/ 245761 w 7613003"/>
              <a:gd name="connsiteY2613" fmla="*/ 2113110 h 6367505"/>
              <a:gd name="connsiteX2614" fmla="*/ 245761 w 7613003"/>
              <a:gd name="connsiteY2614" fmla="*/ 2099023 h 6367505"/>
              <a:gd name="connsiteX2615" fmla="*/ 259848 w 7613003"/>
              <a:gd name="connsiteY2615" fmla="*/ 2084936 h 6367505"/>
              <a:gd name="connsiteX2616" fmla="*/ 273937 w 7613003"/>
              <a:gd name="connsiteY2616" fmla="*/ 2056761 h 6367505"/>
              <a:gd name="connsiteX2617" fmla="*/ 288025 w 7613003"/>
              <a:gd name="connsiteY2617" fmla="*/ 2028587 h 6367505"/>
              <a:gd name="connsiteX2618" fmla="*/ 288025 w 7613003"/>
              <a:gd name="connsiteY2618" fmla="*/ 2056761 h 6367505"/>
              <a:gd name="connsiteX2619" fmla="*/ 273937 w 7613003"/>
              <a:gd name="connsiteY2619" fmla="*/ 2084936 h 6367505"/>
              <a:gd name="connsiteX2620" fmla="*/ 288025 w 7613003"/>
              <a:gd name="connsiteY2620" fmla="*/ 2070849 h 6367505"/>
              <a:gd name="connsiteX2621" fmla="*/ 302113 w 7613003"/>
              <a:gd name="connsiteY2621" fmla="*/ 2028587 h 6367505"/>
              <a:gd name="connsiteX2622" fmla="*/ 302113 w 7613003"/>
              <a:gd name="connsiteY2622" fmla="*/ 2014499 h 6367505"/>
              <a:gd name="connsiteX2623" fmla="*/ 330290 w 7613003"/>
              <a:gd name="connsiteY2623" fmla="*/ 1972236 h 6367505"/>
              <a:gd name="connsiteX2624" fmla="*/ 344378 w 7613003"/>
              <a:gd name="connsiteY2624" fmla="*/ 1958149 h 6367505"/>
              <a:gd name="connsiteX2625" fmla="*/ 358466 w 7613003"/>
              <a:gd name="connsiteY2625" fmla="*/ 1944061 h 6367505"/>
              <a:gd name="connsiteX2626" fmla="*/ 372554 w 7613003"/>
              <a:gd name="connsiteY2626" fmla="*/ 1887712 h 6367505"/>
              <a:gd name="connsiteX2627" fmla="*/ 400731 w 7613003"/>
              <a:gd name="connsiteY2627" fmla="*/ 1845450 h 6367505"/>
              <a:gd name="connsiteX2628" fmla="*/ 386643 w 7613003"/>
              <a:gd name="connsiteY2628" fmla="*/ 1859538 h 6367505"/>
              <a:gd name="connsiteX2629" fmla="*/ 372554 w 7613003"/>
              <a:gd name="connsiteY2629" fmla="*/ 1859538 h 6367505"/>
              <a:gd name="connsiteX2630" fmla="*/ 372554 w 7613003"/>
              <a:gd name="connsiteY2630" fmla="*/ 1873625 h 6367505"/>
              <a:gd name="connsiteX2631" fmla="*/ 358466 w 7613003"/>
              <a:gd name="connsiteY2631" fmla="*/ 1845450 h 6367505"/>
              <a:gd name="connsiteX2632" fmla="*/ 428907 w 7613003"/>
              <a:gd name="connsiteY2632" fmla="*/ 1718663 h 6367505"/>
              <a:gd name="connsiteX2633" fmla="*/ 442996 w 7613003"/>
              <a:gd name="connsiteY2633" fmla="*/ 1676401 h 6367505"/>
              <a:gd name="connsiteX2634" fmla="*/ 471171 w 7613003"/>
              <a:gd name="connsiteY2634" fmla="*/ 1634138 h 6367505"/>
              <a:gd name="connsiteX2635" fmla="*/ 485260 w 7613003"/>
              <a:gd name="connsiteY2635" fmla="*/ 1591876 h 6367505"/>
              <a:gd name="connsiteX2636" fmla="*/ 499349 w 7613003"/>
              <a:gd name="connsiteY2636" fmla="*/ 1577789 h 6367505"/>
              <a:gd name="connsiteX2637" fmla="*/ 527524 w 7613003"/>
              <a:gd name="connsiteY2637" fmla="*/ 1521440 h 6367505"/>
              <a:gd name="connsiteX2638" fmla="*/ 555702 w 7613003"/>
              <a:gd name="connsiteY2638" fmla="*/ 1479178 h 6367505"/>
              <a:gd name="connsiteX2639" fmla="*/ 597966 w 7613003"/>
              <a:gd name="connsiteY2639" fmla="*/ 1451002 h 6367505"/>
              <a:gd name="connsiteX2640" fmla="*/ 527524 w 7613003"/>
              <a:gd name="connsiteY2640" fmla="*/ 1563702 h 6367505"/>
              <a:gd name="connsiteX2641" fmla="*/ 499349 w 7613003"/>
              <a:gd name="connsiteY2641" fmla="*/ 1620051 h 6367505"/>
              <a:gd name="connsiteX2642" fmla="*/ 527524 w 7613003"/>
              <a:gd name="connsiteY2642" fmla="*/ 1591876 h 6367505"/>
              <a:gd name="connsiteX2643" fmla="*/ 527524 w 7613003"/>
              <a:gd name="connsiteY2643" fmla="*/ 1577789 h 6367505"/>
              <a:gd name="connsiteX2644" fmla="*/ 612055 w 7613003"/>
              <a:gd name="connsiteY2644" fmla="*/ 1436915 h 6367505"/>
              <a:gd name="connsiteX2645" fmla="*/ 640230 w 7613003"/>
              <a:gd name="connsiteY2645" fmla="*/ 1394653 h 6367505"/>
              <a:gd name="connsiteX2646" fmla="*/ 668406 w 7613003"/>
              <a:gd name="connsiteY2646" fmla="*/ 1338304 h 6367505"/>
              <a:gd name="connsiteX2647" fmla="*/ 696583 w 7613003"/>
              <a:gd name="connsiteY2647" fmla="*/ 1310129 h 6367505"/>
              <a:gd name="connsiteX2648" fmla="*/ 738848 w 7613003"/>
              <a:gd name="connsiteY2648" fmla="*/ 1253779 h 6367505"/>
              <a:gd name="connsiteX2649" fmla="*/ 752936 w 7613003"/>
              <a:gd name="connsiteY2649" fmla="*/ 1239691 h 6367505"/>
              <a:gd name="connsiteX2650" fmla="*/ 865642 w 7613003"/>
              <a:gd name="connsiteY2650" fmla="*/ 1112904 h 6367505"/>
              <a:gd name="connsiteX2651" fmla="*/ 893818 w 7613003"/>
              <a:gd name="connsiteY2651" fmla="*/ 1070642 h 6367505"/>
              <a:gd name="connsiteX2652" fmla="*/ 921995 w 7613003"/>
              <a:gd name="connsiteY2652" fmla="*/ 1042468 h 6367505"/>
              <a:gd name="connsiteX2653" fmla="*/ 936082 w 7613003"/>
              <a:gd name="connsiteY2653" fmla="*/ 1028381 h 6367505"/>
              <a:gd name="connsiteX2654" fmla="*/ 950171 w 7613003"/>
              <a:gd name="connsiteY2654" fmla="*/ 1000206 h 6367505"/>
              <a:gd name="connsiteX2655" fmla="*/ 964260 w 7613003"/>
              <a:gd name="connsiteY2655" fmla="*/ 986119 h 6367505"/>
              <a:gd name="connsiteX2656" fmla="*/ 1048788 w 7613003"/>
              <a:gd name="connsiteY2656" fmla="*/ 887506 h 6367505"/>
              <a:gd name="connsiteX2657" fmla="*/ 1062877 w 7613003"/>
              <a:gd name="connsiteY2657" fmla="*/ 873419 h 6367505"/>
              <a:gd name="connsiteX2658" fmla="*/ 1076965 w 7613003"/>
              <a:gd name="connsiteY2658" fmla="*/ 873419 h 6367505"/>
              <a:gd name="connsiteX2659" fmla="*/ 1091053 w 7613003"/>
              <a:gd name="connsiteY2659" fmla="*/ 845244 h 6367505"/>
              <a:gd name="connsiteX2660" fmla="*/ 1105141 w 7613003"/>
              <a:gd name="connsiteY2660" fmla="*/ 831157 h 6367505"/>
              <a:gd name="connsiteX2661" fmla="*/ 1119230 w 7613003"/>
              <a:gd name="connsiteY2661" fmla="*/ 817070 h 6367505"/>
              <a:gd name="connsiteX2662" fmla="*/ 1161494 w 7613003"/>
              <a:gd name="connsiteY2662" fmla="*/ 774808 h 6367505"/>
              <a:gd name="connsiteX2663" fmla="*/ 1189671 w 7613003"/>
              <a:gd name="connsiteY2663" fmla="*/ 760719 h 6367505"/>
              <a:gd name="connsiteX2664" fmla="*/ 1203759 w 7613003"/>
              <a:gd name="connsiteY2664" fmla="*/ 746632 h 6367505"/>
              <a:gd name="connsiteX2665" fmla="*/ 1231936 w 7613003"/>
              <a:gd name="connsiteY2665" fmla="*/ 732545 h 6367505"/>
              <a:gd name="connsiteX2666" fmla="*/ 1288289 w 7613003"/>
              <a:gd name="connsiteY2666" fmla="*/ 704370 h 6367505"/>
              <a:gd name="connsiteX2667" fmla="*/ 1358729 w 7613003"/>
              <a:gd name="connsiteY2667" fmla="*/ 662108 h 6367505"/>
              <a:gd name="connsiteX2668" fmla="*/ 1429170 w 7613003"/>
              <a:gd name="connsiteY2668" fmla="*/ 591672 h 6367505"/>
              <a:gd name="connsiteX2669" fmla="*/ 1471435 w 7613003"/>
              <a:gd name="connsiteY2669" fmla="*/ 563496 h 6367505"/>
              <a:gd name="connsiteX2670" fmla="*/ 1527788 w 7613003"/>
              <a:gd name="connsiteY2670" fmla="*/ 521234 h 6367505"/>
              <a:gd name="connsiteX2671" fmla="*/ 1541876 w 7613003"/>
              <a:gd name="connsiteY2671" fmla="*/ 507147 h 6367505"/>
              <a:gd name="connsiteX2672" fmla="*/ 1584141 w 7613003"/>
              <a:gd name="connsiteY2672" fmla="*/ 493059 h 6367505"/>
              <a:gd name="connsiteX2673" fmla="*/ 1598229 w 7613003"/>
              <a:gd name="connsiteY2673" fmla="*/ 464885 h 6367505"/>
              <a:gd name="connsiteX2674" fmla="*/ 1626406 w 7613003"/>
              <a:gd name="connsiteY2674" fmla="*/ 464885 h 6367505"/>
              <a:gd name="connsiteX2675" fmla="*/ 1753200 w 7613003"/>
              <a:gd name="connsiteY2675" fmla="*/ 366272 h 6367505"/>
              <a:gd name="connsiteX2676" fmla="*/ 1795464 w 7613003"/>
              <a:gd name="connsiteY2676" fmla="*/ 338098 h 6367505"/>
              <a:gd name="connsiteX2677" fmla="*/ 1823641 w 7613003"/>
              <a:gd name="connsiteY2677" fmla="*/ 338098 h 6367505"/>
              <a:gd name="connsiteX2678" fmla="*/ 1865906 w 7613003"/>
              <a:gd name="connsiteY2678" fmla="*/ 324010 h 6367505"/>
              <a:gd name="connsiteX2679" fmla="*/ 1964523 w 7613003"/>
              <a:gd name="connsiteY2679" fmla="*/ 267661 h 6367505"/>
              <a:gd name="connsiteX2680" fmla="*/ 1992700 w 7613003"/>
              <a:gd name="connsiteY2680" fmla="*/ 253574 h 6367505"/>
              <a:gd name="connsiteX2681" fmla="*/ 2034965 w 7613003"/>
              <a:gd name="connsiteY2681" fmla="*/ 225398 h 6367505"/>
              <a:gd name="connsiteX2682" fmla="*/ 2091317 w 7613003"/>
              <a:gd name="connsiteY2682" fmla="*/ 197224 h 6367505"/>
              <a:gd name="connsiteX2683" fmla="*/ 2232199 w 7613003"/>
              <a:gd name="connsiteY2683" fmla="*/ 140874 h 6367505"/>
              <a:gd name="connsiteX2684" fmla="*/ 2316729 w 7613003"/>
              <a:gd name="connsiteY2684" fmla="*/ 112700 h 6367505"/>
              <a:gd name="connsiteX2685" fmla="*/ 2415347 w 7613003"/>
              <a:gd name="connsiteY2685" fmla="*/ 84525 h 6367505"/>
              <a:gd name="connsiteX2686" fmla="*/ 2429434 w 7613003"/>
              <a:gd name="connsiteY2686" fmla="*/ 70438 h 6367505"/>
              <a:gd name="connsiteX2687" fmla="*/ 2457611 w 7613003"/>
              <a:gd name="connsiteY2687" fmla="*/ 70438 h 6367505"/>
              <a:gd name="connsiteX2688" fmla="*/ 2668934 w 7613003"/>
              <a:gd name="connsiteY2688" fmla="*/ 14087 h 6367505"/>
              <a:gd name="connsiteX2689" fmla="*/ 2711199 w 7613003"/>
              <a:gd name="connsiteY2689" fmla="*/ 14087 h 6367505"/>
              <a:gd name="connsiteX2690" fmla="*/ 2781640 w 7613003"/>
              <a:gd name="connsiteY2690" fmla="*/ 0 h 636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</a:cxnLst>
            <a:rect l="l" t="t" r="r" b="b"/>
            <a:pathLst>
              <a:path w="7613003" h="6367505">
                <a:moveTo>
                  <a:pt x="6223992" y="4938955"/>
                </a:moveTo>
                <a:cubicBezTo>
                  <a:pt x="6224433" y="4938515"/>
                  <a:pt x="6223553" y="4939396"/>
                  <a:pt x="6221792" y="4941156"/>
                </a:cubicBezTo>
                <a:lnTo>
                  <a:pt x="6218266" y="4944683"/>
                </a:lnTo>
                <a:lnTo>
                  <a:pt x="6218269" y="4944678"/>
                </a:lnTo>
                <a:cubicBezTo>
                  <a:pt x="6221792" y="4941156"/>
                  <a:pt x="6223553" y="4939396"/>
                  <a:pt x="6223992" y="4938955"/>
                </a:cubicBezTo>
                <a:close/>
                <a:moveTo>
                  <a:pt x="5683813" y="4846067"/>
                </a:moveTo>
                <a:lnTo>
                  <a:pt x="5682917" y="4846962"/>
                </a:lnTo>
                <a:lnTo>
                  <a:pt x="5682917" y="4846962"/>
                </a:lnTo>
                <a:close/>
                <a:moveTo>
                  <a:pt x="5698414" y="4831466"/>
                </a:moveTo>
                <a:lnTo>
                  <a:pt x="5697005" y="4831978"/>
                </a:lnTo>
                <a:lnTo>
                  <a:pt x="5697005" y="4832875"/>
                </a:lnTo>
                <a:close/>
                <a:moveTo>
                  <a:pt x="353079" y="4516669"/>
                </a:moveTo>
                <a:lnTo>
                  <a:pt x="358466" y="4522056"/>
                </a:lnTo>
                <a:lnTo>
                  <a:pt x="363538" y="4537272"/>
                </a:lnTo>
                <a:lnTo>
                  <a:pt x="361989" y="4535043"/>
                </a:lnTo>
                <a:close/>
                <a:moveTo>
                  <a:pt x="302113" y="4409357"/>
                </a:moveTo>
                <a:cubicBezTo>
                  <a:pt x="316201" y="4423444"/>
                  <a:pt x="316201" y="4451619"/>
                  <a:pt x="330290" y="4465706"/>
                </a:cubicBezTo>
                <a:cubicBezTo>
                  <a:pt x="337333" y="4479794"/>
                  <a:pt x="344378" y="4497404"/>
                  <a:pt x="351422" y="4513251"/>
                </a:cubicBezTo>
                <a:lnTo>
                  <a:pt x="353079" y="4516669"/>
                </a:lnTo>
                <a:lnTo>
                  <a:pt x="344378" y="4507969"/>
                </a:lnTo>
                <a:cubicBezTo>
                  <a:pt x="340855" y="4504447"/>
                  <a:pt x="337333" y="4500925"/>
                  <a:pt x="330290" y="4493882"/>
                </a:cubicBezTo>
                <a:cubicBezTo>
                  <a:pt x="330290" y="4479793"/>
                  <a:pt x="330290" y="4465706"/>
                  <a:pt x="316201" y="4465706"/>
                </a:cubicBezTo>
                <a:cubicBezTo>
                  <a:pt x="316201" y="4451619"/>
                  <a:pt x="302113" y="4423444"/>
                  <a:pt x="302113" y="4409357"/>
                </a:cubicBezTo>
                <a:close/>
                <a:moveTo>
                  <a:pt x="288025" y="4395269"/>
                </a:moveTo>
                <a:cubicBezTo>
                  <a:pt x="288025" y="4395269"/>
                  <a:pt x="288025" y="4409357"/>
                  <a:pt x="288025" y="4423444"/>
                </a:cubicBezTo>
                <a:cubicBezTo>
                  <a:pt x="288025" y="4409357"/>
                  <a:pt x="273937" y="4395269"/>
                  <a:pt x="288025" y="4395269"/>
                </a:cubicBezTo>
                <a:close/>
                <a:moveTo>
                  <a:pt x="259848" y="4296657"/>
                </a:moveTo>
                <a:cubicBezTo>
                  <a:pt x="259848" y="4310744"/>
                  <a:pt x="273937" y="4324833"/>
                  <a:pt x="273937" y="4324833"/>
                </a:cubicBezTo>
                <a:cubicBezTo>
                  <a:pt x="273937" y="4338920"/>
                  <a:pt x="288025" y="4338920"/>
                  <a:pt x="288025" y="4353007"/>
                </a:cubicBezTo>
                <a:cubicBezTo>
                  <a:pt x="288025" y="4381182"/>
                  <a:pt x="302113" y="4381182"/>
                  <a:pt x="302113" y="4409357"/>
                </a:cubicBezTo>
                <a:cubicBezTo>
                  <a:pt x="288025" y="4395269"/>
                  <a:pt x="288025" y="4381182"/>
                  <a:pt x="273937" y="4367095"/>
                </a:cubicBezTo>
                <a:cubicBezTo>
                  <a:pt x="273937" y="4353007"/>
                  <a:pt x="259848" y="4338920"/>
                  <a:pt x="259848" y="4324833"/>
                </a:cubicBezTo>
                <a:cubicBezTo>
                  <a:pt x="259848" y="4310744"/>
                  <a:pt x="259848" y="4296657"/>
                  <a:pt x="259848" y="4296657"/>
                </a:cubicBezTo>
                <a:close/>
                <a:moveTo>
                  <a:pt x="133055" y="4183958"/>
                </a:moveTo>
                <a:cubicBezTo>
                  <a:pt x="147142" y="4212133"/>
                  <a:pt x="147142" y="4226221"/>
                  <a:pt x="147142" y="4240308"/>
                </a:cubicBezTo>
                <a:cubicBezTo>
                  <a:pt x="147142" y="4226221"/>
                  <a:pt x="133055" y="4212133"/>
                  <a:pt x="133055" y="4183958"/>
                </a:cubicBezTo>
                <a:close/>
                <a:moveTo>
                  <a:pt x="92039" y="4073399"/>
                </a:moveTo>
                <a:lnTo>
                  <a:pt x="103118" y="4092390"/>
                </a:lnTo>
                <a:cubicBezTo>
                  <a:pt x="104878" y="4099433"/>
                  <a:pt x="104878" y="4106477"/>
                  <a:pt x="104878" y="4113521"/>
                </a:cubicBezTo>
                <a:cubicBezTo>
                  <a:pt x="97834" y="4099433"/>
                  <a:pt x="94312" y="4088868"/>
                  <a:pt x="92551" y="4080064"/>
                </a:cubicBezTo>
                <a:close/>
                <a:moveTo>
                  <a:pt x="90789" y="4057172"/>
                </a:moveTo>
                <a:lnTo>
                  <a:pt x="92039" y="4073399"/>
                </a:lnTo>
                <a:lnTo>
                  <a:pt x="90789" y="4071259"/>
                </a:lnTo>
                <a:cubicBezTo>
                  <a:pt x="90789" y="4057172"/>
                  <a:pt x="90789" y="4057172"/>
                  <a:pt x="90789" y="4057172"/>
                </a:cubicBezTo>
                <a:close/>
                <a:moveTo>
                  <a:pt x="50726" y="3671089"/>
                </a:moveTo>
                <a:cubicBezTo>
                  <a:pt x="54689" y="3669768"/>
                  <a:pt x="62614" y="3680334"/>
                  <a:pt x="62614" y="3690899"/>
                </a:cubicBezTo>
                <a:cubicBezTo>
                  <a:pt x="62614" y="3704987"/>
                  <a:pt x="62614" y="3719074"/>
                  <a:pt x="62614" y="3719074"/>
                </a:cubicBezTo>
                <a:cubicBezTo>
                  <a:pt x="48525" y="3704987"/>
                  <a:pt x="48525" y="3690899"/>
                  <a:pt x="48525" y="3676812"/>
                </a:cubicBezTo>
                <a:cubicBezTo>
                  <a:pt x="48525" y="3673290"/>
                  <a:pt x="49406" y="3671529"/>
                  <a:pt x="50726" y="3671089"/>
                </a:cubicBezTo>
                <a:close/>
                <a:moveTo>
                  <a:pt x="7359416" y="2859742"/>
                </a:moveTo>
                <a:cubicBezTo>
                  <a:pt x="7359416" y="2873830"/>
                  <a:pt x="7373504" y="2887917"/>
                  <a:pt x="7359416" y="2887917"/>
                </a:cubicBezTo>
                <a:close/>
                <a:moveTo>
                  <a:pt x="5740166" y="2859742"/>
                </a:moveTo>
                <a:cubicBezTo>
                  <a:pt x="5740166" y="2873830"/>
                  <a:pt x="5754254" y="2887917"/>
                  <a:pt x="5740166" y="2887917"/>
                </a:cubicBezTo>
                <a:close/>
                <a:moveTo>
                  <a:pt x="7358520" y="2844503"/>
                </a:moveTo>
                <a:lnTo>
                  <a:pt x="7359416" y="2845655"/>
                </a:lnTo>
                <a:lnTo>
                  <a:pt x="7359416" y="2859742"/>
                </a:lnTo>
                <a:close/>
                <a:moveTo>
                  <a:pt x="5739270" y="2844503"/>
                </a:moveTo>
                <a:lnTo>
                  <a:pt x="5740166" y="2845655"/>
                </a:lnTo>
                <a:lnTo>
                  <a:pt x="5740166" y="2859742"/>
                </a:lnTo>
                <a:close/>
                <a:moveTo>
                  <a:pt x="7345327" y="2789306"/>
                </a:moveTo>
                <a:cubicBezTo>
                  <a:pt x="7352372" y="2803393"/>
                  <a:pt x="7355894" y="2817480"/>
                  <a:pt x="7357655" y="2829808"/>
                </a:cubicBezTo>
                <a:lnTo>
                  <a:pt x="7358520" y="2844503"/>
                </a:lnTo>
                <a:lnTo>
                  <a:pt x="7347089" y="2829808"/>
                </a:lnTo>
                <a:cubicBezTo>
                  <a:pt x="7345327" y="2824524"/>
                  <a:pt x="7345327" y="2817480"/>
                  <a:pt x="7345327" y="2803393"/>
                </a:cubicBezTo>
                <a:cubicBezTo>
                  <a:pt x="7345327" y="2803393"/>
                  <a:pt x="7345327" y="2803393"/>
                  <a:pt x="7345327" y="2789306"/>
                </a:cubicBezTo>
                <a:close/>
                <a:moveTo>
                  <a:pt x="5726077" y="2789306"/>
                </a:moveTo>
                <a:cubicBezTo>
                  <a:pt x="5733122" y="2803393"/>
                  <a:pt x="5736644" y="2817480"/>
                  <a:pt x="5738405" y="2829808"/>
                </a:cubicBezTo>
                <a:lnTo>
                  <a:pt x="5739270" y="2844503"/>
                </a:lnTo>
                <a:lnTo>
                  <a:pt x="5727839" y="2829808"/>
                </a:lnTo>
                <a:cubicBezTo>
                  <a:pt x="5726077" y="2824524"/>
                  <a:pt x="5726077" y="2817480"/>
                  <a:pt x="5726077" y="2803393"/>
                </a:cubicBezTo>
                <a:cubicBezTo>
                  <a:pt x="5726077" y="2803393"/>
                  <a:pt x="5726077" y="2803393"/>
                  <a:pt x="5726077" y="2789306"/>
                </a:cubicBezTo>
                <a:close/>
                <a:moveTo>
                  <a:pt x="7401680" y="2690693"/>
                </a:moveTo>
                <a:cubicBezTo>
                  <a:pt x="7415769" y="2704782"/>
                  <a:pt x="7415769" y="2718869"/>
                  <a:pt x="7415769" y="2747044"/>
                </a:cubicBezTo>
                <a:cubicBezTo>
                  <a:pt x="7415769" y="2747044"/>
                  <a:pt x="7415769" y="2761131"/>
                  <a:pt x="7415769" y="2761131"/>
                </a:cubicBezTo>
                <a:cubicBezTo>
                  <a:pt x="7415769" y="2732957"/>
                  <a:pt x="7401680" y="2704782"/>
                  <a:pt x="7401680" y="2690693"/>
                </a:cubicBezTo>
                <a:close/>
                <a:moveTo>
                  <a:pt x="5782430" y="2690693"/>
                </a:moveTo>
                <a:cubicBezTo>
                  <a:pt x="5796519" y="2704782"/>
                  <a:pt x="5796519" y="2718869"/>
                  <a:pt x="5796519" y="2747044"/>
                </a:cubicBezTo>
                <a:cubicBezTo>
                  <a:pt x="5796519" y="2747044"/>
                  <a:pt x="5796519" y="2761131"/>
                  <a:pt x="5796519" y="2761131"/>
                </a:cubicBezTo>
                <a:cubicBezTo>
                  <a:pt x="5796519" y="2732957"/>
                  <a:pt x="5782430" y="2704782"/>
                  <a:pt x="5782430" y="2690693"/>
                </a:cubicBezTo>
                <a:close/>
                <a:moveTo>
                  <a:pt x="7345327" y="2676606"/>
                </a:moveTo>
                <a:cubicBezTo>
                  <a:pt x="7359416" y="2704782"/>
                  <a:pt x="7359416" y="2747044"/>
                  <a:pt x="7373504" y="2789306"/>
                </a:cubicBezTo>
                <a:cubicBezTo>
                  <a:pt x="7373504" y="2817480"/>
                  <a:pt x="7387591" y="2859742"/>
                  <a:pt x="7387591" y="2887917"/>
                </a:cubicBezTo>
                <a:cubicBezTo>
                  <a:pt x="7387591" y="2902005"/>
                  <a:pt x="7401680" y="2916093"/>
                  <a:pt x="7401680" y="2930180"/>
                </a:cubicBezTo>
                <a:lnTo>
                  <a:pt x="7401680" y="2958355"/>
                </a:lnTo>
                <a:cubicBezTo>
                  <a:pt x="7387591" y="2902005"/>
                  <a:pt x="7373504" y="2845655"/>
                  <a:pt x="7359416" y="2775218"/>
                </a:cubicBezTo>
                <a:cubicBezTo>
                  <a:pt x="7345327" y="2761131"/>
                  <a:pt x="7345327" y="2747044"/>
                  <a:pt x="7345327" y="2732957"/>
                </a:cubicBezTo>
                <a:cubicBezTo>
                  <a:pt x="7345327" y="2732957"/>
                  <a:pt x="7345327" y="2729435"/>
                  <a:pt x="7345327" y="2724151"/>
                </a:cubicBezTo>
                <a:lnTo>
                  <a:pt x="7345327" y="2710725"/>
                </a:lnTo>
                <a:lnTo>
                  <a:pt x="7345327" y="2710064"/>
                </a:lnTo>
                <a:cubicBezTo>
                  <a:pt x="7345327" y="2708304"/>
                  <a:pt x="7345327" y="2704782"/>
                  <a:pt x="7345327" y="2704782"/>
                </a:cubicBezTo>
                <a:lnTo>
                  <a:pt x="7345327" y="2692455"/>
                </a:lnTo>
                <a:cubicBezTo>
                  <a:pt x="7345327" y="2690693"/>
                  <a:pt x="7345327" y="2690693"/>
                  <a:pt x="7345327" y="2690693"/>
                </a:cubicBezTo>
                <a:lnTo>
                  <a:pt x="7345327" y="2685411"/>
                </a:lnTo>
                <a:cubicBezTo>
                  <a:pt x="7345327" y="2680128"/>
                  <a:pt x="7345327" y="2676606"/>
                  <a:pt x="7345327" y="2676606"/>
                </a:cubicBezTo>
                <a:close/>
                <a:moveTo>
                  <a:pt x="5726077" y="2676606"/>
                </a:moveTo>
                <a:cubicBezTo>
                  <a:pt x="5740166" y="2704782"/>
                  <a:pt x="5740166" y="2747044"/>
                  <a:pt x="5754254" y="2789306"/>
                </a:cubicBezTo>
                <a:cubicBezTo>
                  <a:pt x="5754254" y="2817480"/>
                  <a:pt x="5768341" y="2859742"/>
                  <a:pt x="5768341" y="2887917"/>
                </a:cubicBezTo>
                <a:cubicBezTo>
                  <a:pt x="5768341" y="2902005"/>
                  <a:pt x="5782430" y="2916093"/>
                  <a:pt x="5782430" y="2930180"/>
                </a:cubicBezTo>
                <a:lnTo>
                  <a:pt x="5782430" y="2958355"/>
                </a:lnTo>
                <a:cubicBezTo>
                  <a:pt x="5768341" y="2902005"/>
                  <a:pt x="5754254" y="2845655"/>
                  <a:pt x="5740166" y="2775218"/>
                </a:cubicBezTo>
                <a:cubicBezTo>
                  <a:pt x="5726077" y="2761131"/>
                  <a:pt x="5726077" y="2747044"/>
                  <a:pt x="5726077" y="2732957"/>
                </a:cubicBezTo>
                <a:cubicBezTo>
                  <a:pt x="5726077" y="2732957"/>
                  <a:pt x="5726077" y="2729435"/>
                  <a:pt x="5726077" y="2724151"/>
                </a:cubicBezTo>
                <a:lnTo>
                  <a:pt x="5726077" y="2710725"/>
                </a:lnTo>
                <a:lnTo>
                  <a:pt x="5726077" y="2710064"/>
                </a:lnTo>
                <a:cubicBezTo>
                  <a:pt x="5726077" y="2708304"/>
                  <a:pt x="5726077" y="2704782"/>
                  <a:pt x="5726077" y="2704782"/>
                </a:cubicBezTo>
                <a:lnTo>
                  <a:pt x="5726077" y="2692455"/>
                </a:lnTo>
                <a:cubicBezTo>
                  <a:pt x="5726077" y="2690693"/>
                  <a:pt x="5726077" y="2690693"/>
                  <a:pt x="5726077" y="2690693"/>
                </a:cubicBezTo>
                <a:lnTo>
                  <a:pt x="5726077" y="2685411"/>
                </a:lnTo>
                <a:cubicBezTo>
                  <a:pt x="5726077" y="2680128"/>
                  <a:pt x="5726077" y="2676606"/>
                  <a:pt x="5726077" y="2676606"/>
                </a:cubicBezTo>
                <a:close/>
                <a:moveTo>
                  <a:pt x="7176268" y="2437121"/>
                </a:moveTo>
                <a:cubicBezTo>
                  <a:pt x="7176268" y="2437121"/>
                  <a:pt x="7190357" y="2437121"/>
                  <a:pt x="7176268" y="2451208"/>
                </a:cubicBezTo>
                <a:cubicBezTo>
                  <a:pt x="7176268" y="2437121"/>
                  <a:pt x="7176268" y="2437121"/>
                  <a:pt x="7176268" y="2437121"/>
                </a:cubicBezTo>
                <a:close/>
                <a:moveTo>
                  <a:pt x="5557018" y="2437121"/>
                </a:moveTo>
                <a:cubicBezTo>
                  <a:pt x="5557018" y="2437121"/>
                  <a:pt x="5571107" y="2437121"/>
                  <a:pt x="5557018" y="2451208"/>
                </a:cubicBezTo>
                <a:cubicBezTo>
                  <a:pt x="5557018" y="2437121"/>
                  <a:pt x="5557018" y="2437121"/>
                  <a:pt x="5557018" y="2437121"/>
                </a:cubicBezTo>
                <a:close/>
                <a:moveTo>
                  <a:pt x="7280169" y="2415990"/>
                </a:moveTo>
                <a:cubicBezTo>
                  <a:pt x="7285452" y="2430077"/>
                  <a:pt x="7288974" y="2444164"/>
                  <a:pt x="7288974" y="2451208"/>
                </a:cubicBezTo>
                <a:cubicBezTo>
                  <a:pt x="7288974" y="2437121"/>
                  <a:pt x="7285452" y="2426555"/>
                  <a:pt x="7280169" y="2415990"/>
                </a:cubicBezTo>
                <a:close/>
                <a:moveTo>
                  <a:pt x="5660919" y="2415990"/>
                </a:moveTo>
                <a:cubicBezTo>
                  <a:pt x="5666202" y="2430077"/>
                  <a:pt x="5669724" y="2444164"/>
                  <a:pt x="5669724" y="2451208"/>
                </a:cubicBezTo>
                <a:cubicBezTo>
                  <a:pt x="5669724" y="2437121"/>
                  <a:pt x="5666202" y="2426555"/>
                  <a:pt x="5660919" y="2415990"/>
                </a:cubicBezTo>
                <a:close/>
                <a:moveTo>
                  <a:pt x="3515093" y="2408946"/>
                </a:moveTo>
                <a:lnTo>
                  <a:pt x="3520376" y="2408946"/>
                </a:lnTo>
                <a:cubicBezTo>
                  <a:pt x="3523898" y="2408946"/>
                  <a:pt x="3527420" y="2408946"/>
                  <a:pt x="3527420" y="2408946"/>
                </a:cubicBezTo>
                <a:cubicBezTo>
                  <a:pt x="3527420" y="2423033"/>
                  <a:pt x="3513333" y="2423033"/>
                  <a:pt x="3513333" y="2437121"/>
                </a:cubicBezTo>
                <a:cubicBezTo>
                  <a:pt x="3499244" y="2451208"/>
                  <a:pt x="3499244" y="2465295"/>
                  <a:pt x="3485156" y="2479383"/>
                </a:cubicBezTo>
                <a:cubicBezTo>
                  <a:pt x="3485156" y="2479383"/>
                  <a:pt x="3485156" y="2465295"/>
                  <a:pt x="3485156" y="2465295"/>
                </a:cubicBezTo>
                <a:lnTo>
                  <a:pt x="3488287" y="2460599"/>
                </a:lnTo>
                <a:lnTo>
                  <a:pt x="3490439" y="2458252"/>
                </a:lnTo>
                <a:lnTo>
                  <a:pt x="3491417" y="2455904"/>
                </a:lnTo>
                <a:lnTo>
                  <a:pt x="3499244" y="2444164"/>
                </a:lnTo>
                <a:cubicBezTo>
                  <a:pt x="3502766" y="2437121"/>
                  <a:pt x="3506288" y="2430077"/>
                  <a:pt x="3513333" y="2423033"/>
                </a:cubicBezTo>
                <a:cubicBezTo>
                  <a:pt x="3513333" y="2415990"/>
                  <a:pt x="3513333" y="2412468"/>
                  <a:pt x="3515093" y="2408946"/>
                </a:cubicBezTo>
                <a:close/>
                <a:moveTo>
                  <a:pt x="7166821" y="2402814"/>
                </a:moveTo>
                <a:lnTo>
                  <a:pt x="7174508" y="2415990"/>
                </a:lnTo>
                <a:cubicBezTo>
                  <a:pt x="7176268" y="2423033"/>
                  <a:pt x="7176268" y="2430077"/>
                  <a:pt x="7176268" y="2437121"/>
                </a:cubicBezTo>
                <a:cubicBezTo>
                  <a:pt x="7176268" y="2430077"/>
                  <a:pt x="7172746" y="2423033"/>
                  <a:pt x="7169225" y="2414228"/>
                </a:cubicBezTo>
                <a:close/>
                <a:moveTo>
                  <a:pt x="5547571" y="2402814"/>
                </a:moveTo>
                <a:lnTo>
                  <a:pt x="5555258" y="2415990"/>
                </a:lnTo>
                <a:cubicBezTo>
                  <a:pt x="5557018" y="2423033"/>
                  <a:pt x="5557018" y="2430077"/>
                  <a:pt x="5557018" y="2437121"/>
                </a:cubicBezTo>
                <a:cubicBezTo>
                  <a:pt x="5557018" y="2430077"/>
                  <a:pt x="5553496" y="2423033"/>
                  <a:pt x="5549975" y="2414228"/>
                </a:cubicBezTo>
                <a:close/>
                <a:moveTo>
                  <a:pt x="7260798" y="2380771"/>
                </a:moveTo>
                <a:cubicBezTo>
                  <a:pt x="7267842" y="2387815"/>
                  <a:pt x="7274887" y="2401903"/>
                  <a:pt x="7280169" y="2415990"/>
                </a:cubicBezTo>
                <a:cubicBezTo>
                  <a:pt x="7274887" y="2405424"/>
                  <a:pt x="7267842" y="2394859"/>
                  <a:pt x="7260798" y="2380771"/>
                </a:cubicBezTo>
                <a:close/>
                <a:moveTo>
                  <a:pt x="7155418" y="2380771"/>
                </a:moveTo>
                <a:lnTo>
                  <a:pt x="7162181" y="2380771"/>
                </a:lnTo>
                <a:lnTo>
                  <a:pt x="7166821" y="2402814"/>
                </a:lnTo>
                <a:lnTo>
                  <a:pt x="7162181" y="2394859"/>
                </a:lnTo>
                <a:close/>
                <a:moveTo>
                  <a:pt x="5641548" y="2380771"/>
                </a:moveTo>
                <a:cubicBezTo>
                  <a:pt x="5648592" y="2387815"/>
                  <a:pt x="5655637" y="2401903"/>
                  <a:pt x="5660919" y="2415990"/>
                </a:cubicBezTo>
                <a:cubicBezTo>
                  <a:pt x="5655637" y="2405424"/>
                  <a:pt x="5648592" y="2394859"/>
                  <a:pt x="5641548" y="2380771"/>
                </a:cubicBezTo>
                <a:close/>
                <a:moveTo>
                  <a:pt x="5536168" y="2380771"/>
                </a:moveTo>
                <a:lnTo>
                  <a:pt x="5542931" y="2380771"/>
                </a:lnTo>
                <a:lnTo>
                  <a:pt x="5547571" y="2402814"/>
                </a:lnTo>
                <a:lnTo>
                  <a:pt x="5542931" y="2394859"/>
                </a:lnTo>
                <a:close/>
                <a:moveTo>
                  <a:pt x="7246710" y="2352596"/>
                </a:moveTo>
                <a:cubicBezTo>
                  <a:pt x="7246710" y="2352596"/>
                  <a:pt x="7246710" y="2352596"/>
                  <a:pt x="7260798" y="2366684"/>
                </a:cubicBezTo>
                <a:cubicBezTo>
                  <a:pt x="7260798" y="2366684"/>
                  <a:pt x="7260798" y="2380771"/>
                  <a:pt x="7260798" y="2380771"/>
                </a:cubicBezTo>
                <a:cubicBezTo>
                  <a:pt x="7260798" y="2380771"/>
                  <a:pt x="7260798" y="2380771"/>
                  <a:pt x="7260798" y="2394859"/>
                </a:cubicBezTo>
                <a:cubicBezTo>
                  <a:pt x="7246710" y="2380771"/>
                  <a:pt x="7246710" y="2366684"/>
                  <a:pt x="7246710" y="2352596"/>
                </a:cubicBezTo>
                <a:close/>
                <a:moveTo>
                  <a:pt x="5627460" y="2352596"/>
                </a:moveTo>
                <a:cubicBezTo>
                  <a:pt x="5627460" y="2352596"/>
                  <a:pt x="5627460" y="2352596"/>
                  <a:pt x="5641548" y="2366684"/>
                </a:cubicBezTo>
                <a:cubicBezTo>
                  <a:pt x="5641548" y="2366684"/>
                  <a:pt x="5641548" y="2380771"/>
                  <a:pt x="5641548" y="2380771"/>
                </a:cubicBezTo>
                <a:cubicBezTo>
                  <a:pt x="5641548" y="2380771"/>
                  <a:pt x="5641548" y="2380771"/>
                  <a:pt x="5641548" y="2394859"/>
                </a:cubicBezTo>
                <a:cubicBezTo>
                  <a:pt x="5627460" y="2380771"/>
                  <a:pt x="5627460" y="2366684"/>
                  <a:pt x="5627460" y="2352596"/>
                </a:cubicBezTo>
                <a:close/>
                <a:moveTo>
                  <a:pt x="3555597" y="2352596"/>
                </a:moveTo>
                <a:cubicBezTo>
                  <a:pt x="3569684" y="2352596"/>
                  <a:pt x="3569684" y="2352596"/>
                  <a:pt x="3569684" y="2352596"/>
                </a:cubicBezTo>
                <a:cubicBezTo>
                  <a:pt x="3555597" y="2366684"/>
                  <a:pt x="3541509" y="2394859"/>
                  <a:pt x="3527420" y="2408946"/>
                </a:cubicBezTo>
                <a:cubicBezTo>
                  <a:pt x="3527420" y="2394859"/>
                  <a:pt x="3527420" y="2394859"/>
                  <a:pt x="3527420" y="2394859"/>
                </a:cubicBezTo>
                <a:lnTo>
                  <a:pt x="3541509" y="2373728"/>
                </a:lnTo>
                <a:cubicBezTo>
                  <a:pt x="3545030" y="2370206"/>
                  <a:pt x="3548552" y="2366684"/>
                  <a:pt x="3555597" y="2366684"/>
                </a:cubicBezTo>
                <a:cubicBezTo>
                  <a:pt x="3555597" y="2352596"/>
                  <a:pt x="3555597" y="2352596"/>
                  <a:pt x="3555597" y="2352596"/>
                </a:cubicBezTo>
                <a:close/>
                <a:moveTo>
                  <a:pt x="3581308" y="2325830"/>
                </a:moveTo>
                <a:lnTo>
                  <a:pt x="3569684" y="2338508"/>
                </a:lnTo>
                <a:cubicBezTo>
                  <a:pt x="3569684" y="2338508"/>
                  <a:pt x="3569684" y="2334986"/>
                  <a:pt x="3571446" y="2331465"/>
                </a:cubicBezTo>
                <a:close/>
                <a:moveTo>
                  <a:pt x="3582600" y="2324421"/>
                </a:moveTo>
                <a:lnTo>
                  <a:pt x="3583773" y="2324421"/>
                </a:lnTo>
                <a:lnTo>
                  <a:pt x="3581308" y="2325830"/>
                </a:lnTo>
                <a:close/>
                <a:moveTo>
                  <a:pt x="7091739" y="2253985"/>
                </a:moveTo>
                <a:cubicBezTo>
                  <a:pt x="7091739" y="2253985"/>
                  <a:pt x="7105828" y="2268072"/>
                  <a:pt x="7105828" y="2268072"/>
                </a:cubicBezTo>
                <a:cubicBezTo>
                  <a:pt x="7119917" y="2282159"/>
                  <a:pt x="7119917" y="2282159"/>
                  <a:pt x="7119917" y="2296246"/>
                </a:cubicBezTo>
                <a:cubicBezTo>
                  <a:pt x="7126960" y="2317377"/>
                  <a:pt x="7134004" y="2334986"/>
                  <a:pt x="7141049" y="2350836"/>
                </a:cubicBezTo>
                <a:lnTo>
                  <a:pt x="7155418" y="2380771"/>
                </a:lnTo>
                <a:lnTo>
                  <a:pt x="7155136" y="2380771"/>
                </a:lnTo>
                <a:cubicBezTo>
                  <a:pt x="7151614" y="2380771"/>
                  <a:pt x="7148092" y="2380771"/>
                  <a:pt x="7148092" y="2380771"/>
                </a:cubicBezTo>
                <a:cubicBezTo>
                  <a:pt x="7148092" y="2380771"/>
                  <a:pt x="7148092" y="2366684"/>
                  <a:pt x="7134004" y="2366684"/>
                </a:cubicBezTo>
                <a:cubicBezTo>
                  <a:pt x="7134004" y="2366684"/>
                  <a:pt x="7134004" y="2352596"/>
                  <a:pt x="7134004" y="2352596"/>
                </a:cubicBezTo>
                <a:cubicBezTo>
                  <a:pt x="7134004" y="2352596"/>
                  <a:pt x="7134004" y="2338508"/>
                  <a:pt x="7134004" y="2338508"/>
                </a:cubicBezTo>
                <a:cubicBezTo>
                  <a:pt x="7119917" y="2324421"/>
                  <a:pt x="7105828" y="2296246"/>
                  <a:pt x="7091739" y="2268072"/>
                </a:cubicBezTo>
                <a:cubicBezTo>
                  <a:pt x="7091739" y="2268072"/>
                  <a:pt x="7091739" y="2268072"/>
                  <a:pt x="7091739" y="2253985"/>
                </a:cubicBezTo>
                <a:close/>
                <a:moveTo>
                  <a:pt x="5472489" y="2253985"/>
                </a:moveTo>
                <a:cubicBezTo>
                  <a:pt x="5472489" y="2253985"/>
                  <a:pt x="5486578" y="2268072"/>
                  <a:pt x="5486578" y="2268072"/>
                </a:cubicBezTo>
                <a:cubicBezTo>
                  <a:pt x="5500667" y="2282159"/>
                  <a:pt x="5500667" y="2282159"/>
                  <a:pt x="5500667" y="2296246"/>
                </a:cubicBezTo>
                <a:cubicBezTo>
                  <a:pt x="5507710" y="2317377"/>
                  <a:pt x="5514754" y="2334986"/>
                  <a:pt x="5521799" y="2350836"/>
                </a:cubicBezTo>
                <a:lnTo>
                  <a:pt x="5536168" y="2380771"/>
                </a:lnTo>
                <a:lnTo>
                  <a:pt x="5535886" y="2380771"/>
                </a:lnTo>
                <a:cubicBezTo>
                  <a:pt x="5532364" y="2380771"/>
                  <a:pt x="5528842" y="2380771"/>
                  <a:pt x="5528842" y="2380771"/>
                </a:cubicBezTo>
                <a:cubicBezTo>
                  <a:pt x="5528842" y="2380771"/>
                  <a:pt x="5528842" y="2366684"/>
                  <a:pt x="5514754" y="2366684"/>
                </a:cubicBezTo>
                <a:cubicBezTo>
                  <a:pt x="5514754" y="2366684"/>
                  <a:pt x="5514754" y="2352596"/>
                  <a:pt x="5514754" y="2352596"/>
                </a:cubicBezTo>
                <a:cubicBezTo>
                  <a:pt x="5514754" y="2352596"/>
                  <a:pt x="5514754" y="2338508"/>
                  <a:pt x="5514754" y="2338508"/>
                </a:cubicBezTo>
                <a:cubicBezTo>
                  <a:pt x="5500667" y="2324421"/>
                  <a:pt x="5486578" y="2296246"/>
                  <a:pt x="5472489" y="2268072"/>
                </a:cubicBezTo>
                <a:cubicBezTo>
                  <a:pt x="5472489" y="2268072"/>
                  <a:pt x="5472489" y="2268072"/>
                  <a:pt x="5472489" y="2253985"/>
                </a:cubicBezTo>
                <a:close/>
                <a:moveTo>
                  <a:pt x="101747" y="2036412"/>
                </a:moveTo>
                <a:lnTo>
                  <a:pt x="99595" y="2039152"/>
                </a:lnTo>
                <a:cubicBezTo>
                  <a:pt x="94312" y="2046196"/>
                  <a:pt x="90789" y="2049717"/>
                  <a:pt x="90789" y="2042674"/>
                </a:cubicBezTo>
                <a:close/>
                <a:moveTo>
                  <a:pt x="103469" y="2034221"/>
                </a:moveTo>
                <a:lnTo>
                  <a:pt x="103118" y="2035630"/>
                </a:lnTo>
                <a:lnTo>
                  <a:pt x="101747" y="2036412"/>
                </a:lnTo>
                <a:close/>
                <a:moveTo>
                  <a:pt x="104878" y="2014499"/>
                </a:moveTo>
                <a:cubicBezTo>
                  <a:pt x="104878" y="2014499"/>
                  <a:pt x="104878" y="2014499"/>
                  <a:pt x="118967" y="2014499"/>
                </a:cubicBezTo>
                <a:lnTo>
                  <a:pt x="103469" y="2034221"/>
                </a:lnTo>
                <a:lnTo>
                  <a:pt x="104878" y="2028587"/>
                </a:lnTo>
                <a:cubicBezTo>
                  <a:pt x="104878" y="2028587"/>
                  <a:pt x="104878" y="2028587"/>
                  <a:pt x="104878" y="2014499"/>
                </a:cubicBezTo>
                <a:close/>
                <a:moveTo>
                  <a:pt x="330290" y="1944061"/>
                </a:moveTo>
                <a:cubicBezTo>
                  <a:pt x="344378" y="1944061"/>
                  <a:pt x="330290" y="1958149"/>
                  <a:pt x="330290" y="1972236"/>
                </a:cubicBezTo>
                <a:cubicBezTo>
                  <a:pt x="330290" y="1958149"/>
                  <a:pt x="330290" y="1944061"/>
                  <a:pt x="330290" y="1944061"/>
                </a:cubicBezTo>
                <a:close/>
                <a:moveTo>
                  <a:pt x="6556388" y="1648227"/>
                </a:moveTo>
                <a:lnTo>
                  <a:pt x="6570476" y="1657031"/>
                </a:lnTo>
                <a:cubicBezTo>
                  <a:pt x="6573997" y="1662314"/>
                  <a:pt x="6577519" y="1669358"/>
                  <a:pt x="6584563" y="1676401"/>
                </a:cubicBezTo>
                <a:cubicBezTo>
                  <a:pt x="6577519" y="1669358"/>
                  <a:pt x="6570476" y="1662314"/>
                  <a:pt x="6561670" y="1653509"/>
                </a:cubicBezTo>
                <a:close/>
                <a:moveTo>
                  <a:pt x="4937138" y="1648227"/>
                </a:moveTo>
                <a:lnTo>
                  <a:pt x="4951226" y="1657031"/>
                </a:lnTo>
                <a:cubicBezTo>
                  <a:pt x="4954747" y="1662314"/>
                  <a:pt x="4958269" y="1669358"/>
                  <a:pt x="4965313" y="1676401"/>
                </a:cubicBezTo>
                <a:cubicBezTo>
                  <a:pt x="4958269" y="1669358"/>
                  <a:pt x="4951226" y="1662314"/>
                  <a:pt x="4942420" y="1653509"/>
                </a:cubicBezTo>
                <a:close/>
                <a:moveTo>
                  <a:pt x="6542300" y="1634140"/>
                </a:moveTo>
                <a:lnTo>
                  <a:pt x="6554627" y="1641183"/>
                </a:lnTo>
                <a:lnTo>
                  <a:pt x="6556387" y="1648227"/>
                </a:lnTo>
                <a:close/>
                <a:moveTo>
                  <a:pt x="4923050" y="1634140"/>
                </a:moveTo>
                <a:lnTo>
                  <a:pt x="4935377" y="1641183"/>
                </a:lnTo>
                <a:lnTo>
                  <a:pt x="4937137" y="1648227"/>
                </a:lnTo>
                <a:close/>
                <a:moveTo>
                  <a:pt x="6415505" y="1577789"/>
                </a:moveTo>
                <a:cubicBezTo>
                  <a:pt x="6429593" y="1591876"/>
                  <a:pt x="6443681" y="1591876"/>
                  <a:pt x="6457770" y="1605964"/>
                </a:cubicBezTo>
                <a:cubicBezTo>
                  <a:pt x="6485946" y="1620051"/>
                  <a:pt x="6500034" y="1648227"/>
                  <a:pt x="6528211" y="1676401"/>
                </a:cubicBezTo>
                <a:cubicBezTo>
                  <a:pt x="6528211" y="1676401"/>
                  <a:pt x="6542298" y="1690489"/>
                  <a:pt x="6542298" y="1690489"/>
                </a:cubicBezTo>
                <a:cubicBezTo>
                  <a:pt x="6514123" y="1662314"/>
                  <a:pt x="6500034" y="1648227"/>
                  <a:pt x="6485946" y="1634138"/>
                </a:cubicBezTo>
                <a:cubicBezTo>
                  <a:pt x="6471858" y="1634138"/>
                  <a:pt x="6471858" y="1634138"/>
                  <a:pt x="6457770" y="1620051"/>
                </a:cubicBezTo>
                <a:cubicBezTo>
                  <a:pt x="6443681" y="1605964"/>
                  <a:pt x="6429593" y="1605964"/>
                  <a:pt x="6429593" y="1605964"/>
                </a:cubicBezTo>
                <a:cubicBezTo>
                  <a:pt x="6429593" y="1591876"/>
                  <a:pt x="6415505" y="1591876"/>
                  <a:pt x="6415505" y="1577789"/>
                </a:cubicBezTo>
                <a:close/>
                <a:moveTo>
                  <a:pt x="4796255" y="1577789"/>
                </a:moveTo>
                <a:cubicBezTo>
                  <a:pt x="4810343" y="1591876"/>
                  <a:pt x="4824431" y="1591876"/>
                  <a:pt x="4838520" y="1605964"/>
                </a:cubicBezTo>
                <a:cubicBezTo>
                  <a:pt x="4866696" y="1620051"/>
                  <a:pt x="4880784" y="1648227"/>
                  <a:pt x="4908961" y="1676401"/>
                </a:cubicBezTo>
                <a:cubicBezTo>
                  <a:pt x="4908961" y="1676401"/>
                  <a:pt x="4923048" y="1690489"/>
                  <a:pt x="4923048" y="1690489"/>
                </a:cubicBezTo>
                <a:cubicBezTo>
                  <a:pt x="4894873" y="1662314"/>
                  <a:pt x="4880784" y="1648227"/>
                  <a:pt x="4866696" y="1634138"/>
                </a:cubicBezTo>
                <a:cubicBezTo>
                  <a:pt x="4852608" y="1634138"/>
                  <a:pt x="4852608" y="1634138"/>
                  <a:pt x="4838520" y="1620051"/>
                </a:cubicBezTo>
                <a:cubicBezTo>
                  <a:pt x="4824431" y="1605964"/>
                  <a:pt x="4810343" y="1605964"/>
                  <a:pt x="4810343" y="1605964"/>
                </a:cubicBezTo>
                <a:cubicBezTo>
                  <a:pt x="4810343" y="1591876"/>
                  <a:pt x="4796255" y="1591876"/>
                  <a:pt x="4796255" y="1577789"/>
                </a:cubicBezTo>
                <a:close/>
                <a:moveTo>
                  <a:pt x="6471858" y="1563702"/>
                </a:moveTo>
                <a:cubicBezTo>
                  <a:pt x="6471858" y="1563702"/>
                  <a:pt x="6485946" y="1577789"/>
                  <a:pt x="6485946" y="1577789"/>
                </a:cubicBezTo>
                <a:cubicBezTo>
                  <a:pt x="6500034" y="1591876"/>
                  <a:pt x="6500034" y="1591876"/>
                  <a:pt x="6514123" y="1591876"/>
                </a:cubicBezTo>
                <a:cubicBezTo>
                  <a:pt x="6521168" y="1598920"/>
                  <a:pt x="6528211" y="1605964"/>
                  <a:pt x="6533493" y="1613007"/>
                </a:cubicBezTo>
                <a:lnTo>
                  <a:pt x="6542298" y="1634138"/>
                </a:lnTo>
                <a:lnTo>
                  <a:pt x="6528211" y="1620051"/>
                </a:lnTo>
                <a:cubicBezTo>
                  <a:pt x="6528211" y="1620051"/>
                  <a:pt x="6528211" y="1620051"/>
                  <a:pt x="6514123" y="1620051"/>
                </a:cubicBezTo>
                <a:cubicBezTo>
                  <a:pt x="6514123" y="1620051"/>
                  <a:pt x="6514123" y="1620051"/>
                  <a:pt x="6514123" y="1605964"/>
                </a:cubicBezTo>
                <a:cubicBezTo>
                  <a:pt x="6500034" y="1605964"/>
                  <a:pt x="6500034" y="1591876"/>
                  <a:pt x="6485946" y="1591876"/>
                </a:cubicBezTo>
                <a:cubicBezTo>
                  <a:pt x="6485946" y="1577789"/>
                  <a:pt x="6471858" y="1577789"/>
                  <a:pt x="6471858" y="1563702"/>
                </a:cubicBezTo>
                <a:close/>
                <a:moveTo>
                  <a:pt x="4852608" y="1563702"/>
                </a:moveTo>
                <a:cubicBezTo>
                  <a:pt x="4852608" y="1563702"/>
                  <a:pt x="4866696" y="1577789"/>
                  <a:pt x="4866696" y="1577789"/>
                </a:cubicBezTo>
                <a:cubicBezTo>
                  <a:pt x="4880784" y="1591876"/>
                  <a:pt x="4880784" y="1591876"/>
                  <a:pt x="4894873" y="1591876"/>
                </a:cubicBezTo>
                <a:cubicBezTo>
                  <a:pt x="4901918" y="1598920"/>
                  <a:pt x="4908961" y="1605964"/>
                  <a:pt x="4914243" y="1613007"/>
                </a:cubicBezTo>
                <a:lnTo>
                  <a:pt x="4923048" y="1634138"/>
                </a:lnTo>
                <a:lnTo>
                  <a:pt x="4908961" y="1620051"/>
                </a:lnTo>
                <a:cubicBezTo>
                  <a:pt x="4908961" y="1620051"/>
                  <a:pt x="4908961" y="1620051"/>
                  <a:pt x="4894873" y="1620051"/>
                </a:cubicBezTo>
                <a:cubicBezTo>
                  <a:pt x="4894873" y="1620051"/>
                  <a:pt x="4894873" y="1620051"/>
                  <a:pt x="4894873" y="1605964"/>
                </a:cubicBezTo>
                <a:cubicBezTo>
                  <a:pt x="4880784" y="1605964"/>
                  <a:pt x="4880784" y="1591876"/>
                  <a:pt x="4866696" y="1591876"/>
                </a:cubicBezTo>
                <a:cubicBezTo>
                  <a:pt x="4866696" y="1577789"/>
                  <a:pt x="4852608" y="1577789"/>
                  <a:pt x="4852608" y="1563702"/>
                </a:cubicBezTo>
                <a:close/>
                <a:moveTo>
                  <a:pt x="6908593" y="1549616"/>
                </a:moveTo>
                <a:lnTo>
                  <a:pt x="6927964" y="1568985"/>
                </a:lnTo>
                <a:cubicBezTo>
                  <a:pt x="6936769" y="1577789"/>
                  <a:pt x="6943813" y="1584833"/>
                  <a:pt x="6950858" y="1591876"/>
                </a:cubicBezTo>
                <a:cubicBezTo>
                  <a:pt x="6950858" y="1591876"/>
                  <a:pt x="6964945" y="1605964"/>
                  <a:pt x="6964945" y="1605964"/>
                </a:cubicBezTo>
                <a:cubicBezTo>
                  <a:pt x="6950858" y="1598920"/>
                  <a:pt x="6940291" y="1591876"/>
                  <a:pt x="6931486" y="1583072"/>
                </a:cubicBezTo>
                <a:close/>
                <a:moveTo>
                  <a:pt x="5289343" y="1549616"/>
                </a:moveTo>
                <a:lnTo>
                  <a:pt x="5308714" y="1568985"/>
                </a:lnTo>
                <a:cubicBezTo>
                  <a:pt x="5317519" y="1577789"/>
                  <a:pt x="5324563" y="1584833"/>
                  <a:pt x="5331608" y="1591876"/>
                </a:cubicBezTo>
                <a:cubicBezTo>
                  <a:pt x="5331608" y="1591876"/>
                  <a:pt x="5345695" y="1605964"/>
                  <a:pt x="5345695" y="1605964"/>
                </a:cubicBezTo>
                <a:cubicBezTo>
                  <a:pt x="5331608" y="1598920"/>
                  <a:pt x="5321041" y="1591876"/>
                  <a:pt x="5312236" y="1583072"/>
                </a:cubicBezTo>
                <a:close/>
                <a:moveTo>
                  <a:pt x="6415505" y="1549614"/>
                </a:moveTo>
                <a:cubicBezTo>
                  <a:pt x="6429593" y="1549614"/>
                  <a:pt x="6429593" y="1563702"/>
                  <a:pt x="6429593" y="1563702"/>
                </a:cubicBezTo>
                <a:cubicBezTo>
                  <a:pt x="6429593" y="1563702"/>
                  <a:pt x="6429593" y="1563702"/>
                  <a:pt x="6415505" y="1549614"/>
                </a:cubicBezTo>
                <a:close/>
                <a:moveTo>
                  <a:pt x="4796255" y="1549614"/>
                </a:moveTo>
                <a:cubicBezTo>
                  <a:pt x="4810343" y="1549614"/>
                  <a:pt x="4810343" y="1563702"/>
                  <a:pt x="4810343" y="1563702"/>
                </a:cubicBezTo>
                <a:cubicBezTo>
                  <a:pt x="4810343" y="1563702"/>
                  <a:pt x="4810343" y="1563702"/>
                  <a:pt x="4796255" y="1549614"/>
                </a:cubicBezTo>
                <a:close/>
                <a:moveTo>
                  <a:pt x="6401417" y="1521440"/>
                </a:moveTo>
                <a:lnTo>
                  <a:pt x="6414624" y="1532005"/>
                </a:lnTo>
                <a:lnTo>
                  <a:pt x="6415505" y="1535527"/>
                </a:lnTo>
                <a:cubicBezTo>
                  <a:pt x="6401417" y="1535527"/>
                  <a:pt x="6401417" y="1521440"/>
                  <a:pt x="6401417" y="1521440"/>
                </a:cubicBezTo>
                <a:close/>
                <a:moveTo>
                  <a:pt x="4782167" y="1521440"/>
                </a:moveTo>
                <a:lnTo>
                  <a:pt x="4795374" y="1532005"/>
                </a:lnTo>
                <a:lnTo>
                  <a:pt x="4796255" y="1535527"/>
                </a:lnTo>
                <a:cubicBezTo>
                  <a:pt x="4782167" y="1535527"/>
                  <a:pt x="4782167" y="1521440"/>
                  <a:pt x="4782167" y="1521440"/>
                </a:cubicBezTo>
                <a:close/>
                <a:moveTo>
                  <a:pt x="6232358" y="1408740"/>
                </a:moveTo>
                <a:cubicBezTo>
                  <a:pt x="6232358" y="1408740"/>
                  <a:pt x="6232358" y="1408740"/>
                  <a:pt x="6246446" y="1422828"/>
                </a:cubicBezTo>
                <a:cubicBezTo>
                  <a:pt x="6260535" y="1422828"/>
                  <a:pt x="6260535" y="1436915"/>
                  <a:pt x="6260535" y="1436915"/>
                </a:cubicBezTo>
                <a:cubicBezTo>
                  <a:pt x="6274622" y="1436915"/>
                  <a:pt x="6288711" y="1451002"/>
                  <a:pt x="6288711" y="1451002"/>
                </a:cubicBezTo>
                <a:cubicBezTo>
                  <a:pt x="6302799" y="1465089"/>
                  <a:pt x="6302799" y="1465089"/>
                  <a:pt x="6302799" y="1465089"/>
                </a:cubicBezTo>
                <a:cubicBezTo>
                  <a:pt x="6288711" y="1465089"/>
                  <a:pt x="6274622" y="1451002"/>
                  <a:pt x="6260535" y="1451002"/>
                </a:cubicBezTo>
                <a:cubicBezTo>
                  <a:pt x="6246446" y="1436915"/>
                  <a:pt x="6232358" y="1436915"/>
                  <a:pt x="6232358" y="1422828"/>
                </a:cubicBezTo>
                <a:cubicBezTo>
                  <a:pt x="6232358" y="1422828"/>
                  <a:pt x="6232358" y="1422828"/>
                  <a:pt x="6232358" y="1408740"/>
                </a:cubicBezTo>
                <a:close/>
                <a:moveTo>
                  <a:pt x="6190093" y="1394653"/>
                </a:moveTo>
                <a:cubicBezTo>
                  <a:pt x="6204182" y="1394653"/>
                  <a:pt x="6204182" y="1394653"/>
                  <a:pt x="6204182" y="1408740"/>
                </a:cubicBezTo>
                <a:cubicBezTo>
                  <a:pt x="6218269" y="1408740"/>
                  <a:pt x="6232358" y="1408740"/>
                  <a:pt x="6232358" y="1422828"/>
                </a:cubicBezTo>
                <a:cubicBezTo>
                  <a:pt x="6204182" y="1422828"/>
                  <a:pt x="6204182" y="1422828"/>
                  <a:pt x="6190093" y="1408740"/>
                </a:cubicBezTo>
                <a:cubicBezTo>
                  <a:pt x="6190093" y="1394653"/>
                  <a:pt x="6190093" y="1394653"/>
                  <a:pt x="6190093" y="1394653"/>
                </a:cubicBezTo>
                <a:close/>
                <a:moveTo>
                  <a:pt x="6162613" y="1385447"/>
                </a:moveTo>
                <a:lnTo>
                  <a:pt x="6176005" y="1394653"/>
                </a:lnTo>
                <a:cubicBezTo>
                  <a:pt x="6168961" y="1394653"/>
                  <a:pt x="6165439" y="1394653"/>
                  <a:pt x="6163678" y="1392893"/>
                </a:cubicBezTo>
                <a:close/>
                <a:moveTo>
                  <a:pt x="6155514" y="1380566"/>
                </a:moveTo>
                <a:lnTo>
                  <a:pt x="6161916" y="1380566"/>
                </a:lnTo>
                <a:lnTo>
                  <a:pt x="6162613" y="1385447"/>
                </a:lnTo>
                <a:close/>
                <a:moveTo>
                  <a:pt x="5640652" y="1338304"/>
                </a:moveTo>
                <a:cubicBezTo>
                  <a:pt x="5654741" y="1338304"/>
                  <a:pt x="5654741" y="1352391"/>
                  <a:pt x="5654741" y="1352391"/>
                </a:cubicBezTo>
                <a:cubicBezTo>
                  <a:pt x="5654741" y="1352391"/>
                  <a:pt x="5640652" y="1352391"/>
                  <a:pt x="5640652" y="1352391"/>
                </a:cubicBezTo>
                <a:cubicBezTo>
                  <a:pt x="5640652" y="1352391"/>
                  <a:pt x="5640652" y="1352391"/>
                  <a:pt x="5640652" y="1338304"/>
                </a:cubicBezTo>
                <a:close/>
                <a:moveTo>
                  <a:pt x="5422004" y="1336050"/>
                </a:moveTo>
                <a:lnTo>
                  <a:pt x="5429329" y="1338304"/>
                </a:lnTo>
                <a:cubicBezTo>
                  <a:pt x="5429329" y="1338304"/>
                  <a:pt x="5425807" y="1338304"/>
                  <a:pt x="5422286" y="1336542"/>
                </a:cubicBezTo>
                <a:close/>
                <a:moveTo>
                  <a:pt x="5017218" y="1324216"/>
                </a:moveTo>
                <a:lnTo>
                  <a:pt x="5021666" y="1329499"/>
                </a:lnTo>
                <a:cubicBezTo>
                  <a:pt x="5032232" y="1338304"/>
                  <a:pt x="5042798" y="1345347"/>
                  <a:pt x="5049843" y="1352391"/>
                </a:cubicBezTo>
                <a:cubicBezTo>
                  <a:pt x="5056887" y="1359435"/>
                  <a:pt x="5063931" y="1366478"/>
                  <a:pt x="5072736" y="1373522"/>
                </a:cubicBezTo>
                <a:lnTo>
                  <a:pt x="5083889" y="1380566"/>
                </a:lnTo>
                <a:lnTo>
                  <a:pt x="5103065" y="1380566"/>
                </a:lnTo>
                <a:lnTo>
                  <a:pt x="5063931" y="1345347"/>
                </a:lnTo>
                <a:lnTo>
                  <a:pt x="5040451" y="1324216"/>
                </a:lnTo>
                <a:lnTo>
                  <a:pt x="5034860" y="1324216"/>
                </a:lnTo>
                <a:close/>
                <a:moveTo>
                  <a:pt x="5093358" y="1313046"/>
                </a:moveTo>
                <a:lnTo>
                  <a:pt x="5086586" y="1315541"/>
                </a:lnTo>
                <a:lnTo>
                  <a:pt x="5092107" y="1324216"/>
                </a:lnTo>
                <a:cubicBezTo>
                  <a:pt x="5099152" y="1324216"/>
                  <a:pt x="5099152" y="1324216"/>
                  <a:pt x="5097390" y="1322455"/>
                </a:cubicBezTo>
                <a:close/>
                <a:moveTo>
                  <a:pt x="5612477" y="1310129"/>
                </a:moveTo>
                <a:cubicBezTo>
                  <a:pt x="5612477" y="1310129"/>
                  <a:pt x="5626565" y="1310129"/>
                  <a:pt x="5626565" y="1310129"/>
                </a:cubicBezTo>
                <a:cubicBezTo>
                  <a:pt x="5626565" y="1310129"/>
                  <a:pt x="5626565" y="1310129"/>
                  <a:pt x="5640652" y="1324216"/>
                </a:cubicBezTo>
                <a:cubicBezTo>
                  <a:pt x="5626565" y="1324216"/>
                  <a:pt x="5626565" y="1324216"/>
                  <a:pt x="5626565" y="1324216"/>
                </a:cubicBezTo>
                <a:cubicBezTo>
                  <a:pt x="5626565" y="1324216"/>
                  <a:pt x="5626565" y="1310129"/>
                  <a:pt x="5612477" y="1310129"/>
                </a:cubicBezTo>
                <a:close/>
                <a:moveTo>
                  <a:pt x="6126036" y="740689"/>
                </a:moveTo>
                <a:lnTo>
                  <a:pt x="6127728" y="741995"/>
                </a:lnTo>
                <a:lnTo>
                  <a:pt x="6124935" y="741350"/>
                </a:lnTo>
                <a:cubicBezTo>
                  <a:pt x="6124055" y="740469"/>
                  <a:pt x="6124496" y="740029"/>
                  <a:pt x="6126036" y="740689"/>
                </a:cubicBezTo>
                <a:close/>
                <a:moveTo>
                  <a:pt x="5851976" y="633934"/>
                </a:moveTo>
                <a:cubicBezTo>
                  <a:pt x="5851976" y="633934"/>
                  <a:pt x="5866064" y="648021"/>
                  <a:pt x="5866064" y="648021"/>
                </a:cubicBezTo>
                <a:cubicBezTo>
                  <a:pt x="5866064" y="648021"/>
                  <a:pt x="5851976" y="648021"/>
                  <a:pt x="5851976" y="648021"/>
                </a:cubicBezTo>
                <a:cubicBezTo>
                  <a:pt x="5837888" y="633934"/>
                  <a:pt x="5823800" y="633934"/>
                  <a:pt x="5851976" y="633934"/>
                </a:cubicBezTo>
                <a:close/>
                <a:moveTo>
                  <a:pt x="3782948" y="616507"/>
                </a:moveTo>
                <a:lnTo>
                  <a:pt x="3766920" y="619846"/>
                </a:lnTo>
                <a:cubicBezTo>
                  <a:pt x="3752832" y="633934"/>
                  <a:pt x="3752832" y="633934"/>
                  <a:pt x="3752832" y="633934"/>
                </a:cubicBezTo>
                <a:lnTo>
                  <a:pt x="3799137" y="618500"/>
                </a:lnTo>
                <a:close/>
                <a:moveTo>
                  <a:pt x="3851449" y="591672"/>
                </a:moveTo>
                <a:cubicBezTo>
                  <a:pt x="3837361" y="591672"/>
                  <a:pt x="3823273" y="598715"/>
                  <a:pt x="3809185" y="605759"/>
                </a:cubicBezTo>
                <a:lnTo>
                  <a:pt x="3794263" y="612598"/>
                </a:lnTo>
                <a:lnTo>
                  <a:pt x="3801275" y="612803"/>
                </a:lnTo>
                <a:lnTo>
                  <a:pt x="3814919" y="613239"/>
                </a:lnTo>
                <a:lnTo>
                  <a:pt x="3862692" y="597316"/>
                </a:lnTo>
                <a:lnTo>
                  <a:pt x="3852344" y="591672"/>
                </a:lnTo>
                <a:close/>
                <a:moveTo>
                  <a:pt x="5725182" y="563496"/>
                </a:moveTo>
                <a:cubicBezTo>
                  <a:pt x="5725182" y="563496"/>
                  <a:pt x="5739270" y="563496"/>
                  <a:pt x="5739270" y="563496"/>
                </a:cubicBezTo>
                <a:cubicBezTo>
                  <a:pt x="5753358" y="563496"/>
                  <a:pt x="5767447" y="577583"/>
                  <a:pt x="5781535" y="577583"/>
                </a:cubicBezTo>
                <a:cubicBezTo>
                  <a:pt x="5795623" y="591672"/>
                  <a:pt x="5795623" y="591672"/>
                  <a:pt x="5781535" y="591672"/>
                </a:cubicBezTo>
                <a:cubicBezTo>
                  <a:pt x="5767447" y="591672"/>
                  <a:pt x="5767447" y="577583"/>
                  <a:pt x="5725182" y="563496"/>
                </a:cubicBezTo>
                <a:close/>
                <a:moveTo>
                  <a:pt x="3284877" y="436851"/>
                </a:moveTo>
                <a:lnTo>
                  <a:pt x="3282652" y="436930"/>
                </a:lnTo>
                <a:cubicBezTo>
                  <a:pt x="3275608" y="437371"/>
                  <a:pt x="3265042" y="438691"/>
                  <a:pt x="3265042" y="442653"/>
                </a:cubicBezTo>
                <a:lnTo>
                  <a:pt x="3270505" y="447246"/>
                </a:lnTo>
                <a:lnTo>
                  <a:pt x="3281317" y="439572"/>
                </a:lnTo>
                <a:close/>
                <a:moveTo>
                  <a:pt x="4922154" y="436710"/>
                </a:moveTo>
                <a:cubicBezTo>
                  <a:pt x="4922154" y="436710"/>
                  <a:pt x="4922154" y="436710"/>
                  <a:pt x="4936242" y="436710"/>
                </a:cubicBezTo>
                <a:cubicBezTo>
                  <a:pt x="4936242" y="436710"/>
                  <a:pt x="4950331" y="436710"/>
                  <a:pt x="4950331" y="436710"/>
                </a:cubicBezTo>
                <a:cubicBezTo>
                  <a:pt x="4950331" y="436710"/>
                  <a:pt x="4936242" y="450798"/>
                  <a:pt x="4922154" y="436710"/>
                </a:cubicBezTo>
                <a:close/>
                <a:moveTo>
                  <a:pt x="5989458" y="398334"/>
                </a:moveTo>
                <a:lnTo>
                  <a:pt x="5998141" y="401492"/>
                </a:lnTo>
                <a:cubicBezTo>
                  <a:pt x="6003424" y="405012"/>
                  <a:pt x="6006946" y="408534"/>
                  <a:pt x="6006946" y="408534"/>
                </a:cubicBezTo>
                <a:close/>
                <a:moveTo>
                  <a:pt x="4370208" y="398334"/>
                </a:moveTo>
                <a:lnTo>
                  <a:pt x="4378891" y="401492"/>
                </a:lnTo>
                <a:cubicBezTo>
                  <a:pt x="4384174" y="405012"/>
                  <a:pt x="4387696" y="408534"/>
                  <a:pt x="4387696" y="408534"/>
                </a:cubicBezTo>
                <a:close/>
                <a:moveTo>
                  <a:pt x="5982959" y="395971"/>
                </a:moveTo>
                <a:lnTo>
                  <a:pt x="5985815" y="396209"/>
                </a:lnTo>
                <a:lnTo>
                  <a:pt x="5989458" y="398334"/>
                </a:lnTo>
                <a:close/>
                <a:moveTo>
                  <a:pt x="4363709" y="395971"/>
                </a:moveTo>
                <a:lnTo>
                  <a:pt x="4366565" y="396209"/>
                </a:lnTo>
                <a:lnTo>
                  <a:pt x="4370208" y="398334"/>
                </a:lnTo>
                <a:close/>
                <a:moveTo>
                  <a:pt x="5880153" y="366272"/>
                </a:moveTo>
                <a:cubicBezTo>
                  <a:pt x="5908329" y="380360"/>
                  <a:pt x="5936506" y="380360"/>
                  <a:pt x="5978770" y="394447"/>
                </a:cubicBezTo>
                <a:lnTo>
                  <a:pt x="5982959" y="395971"/>
                </a:lnTo>
                <a:lnTo>
                  <a:pt x="5964682" y="394447"/>
                </a:lnTo>
                <a:close/>
                <a:moveTo>
                  <a:pt x="5837888" y="352185"/>
                </a:moveTo>
                <a:lnTo>
                  <a:pt x="5880153" y="366272"/>
                </a:lnTo>
                <a:lnTo>
                  <a:pt x="5867826" y="366272"/>
                </a:lnTo>
                <a:cubicBezTo>
                  <a:pt x="5866064" y="366272"/>
                  <a:pt x="5866064" y="366272"/>
                  <a:pt x="5866064" y="366272"/>
                </a:cubicBezTo>
                <a:cubicBezTo>
                  <a:pt x="5851976" y="366272"/>
                  <a:pt x="5837888" y="352185"/>
                  <a:pt x="5837888" y="352185"/>
                </a:cubicBezTo>
                <a:close/>
                <a:moveTo>
                  <a:pt x="4090949" y="338098"/>
                </a:moveTo>
                <a:cubicBezTo>
                  <a:pt x="4076861" y="352185"/>
                  <a:pt x="4062772" y="352185"/>
                  <a:pt x="4062772" y="352185"/>
                </a:cubicBezTo>
                <a:cubicBezTo>
                  <a:pt x="4062772" y="352185"/>
                  <a:pt x="4105037" y="352185"/>
                  <a:pt x="4105037" y="352185"/>
                </a:cubicBezTo>
                <a:cubicBezTo>
                  <a:pt x="4076861" y="366272"/>
                  <a:pt x="4034596" y="366272"/>
                  <a:pt x="4006419" y="380360"/>
                </a:cubicBezTo>
                <a:cubicBezTo>
                  <a:pt x="4006419" y="380360"/>
                  <a:pt x="3992331" y="380360"/>
                  <a:pt x="3992331" y="394447"/>
                </a:cubicBezTo>
                <a:cubicBezTo>
                  <a:pt x="3978244" y="394447"/>
                  <a:pt x="3978244" y="394447"/>
                  <a:pt x="3978244" y="394447"/>
                </a:cubicBezTo>
                <a:cubicBezTo>
                  <a:pt x="3978244" y="394447"/>
                  <a:pt x="3978244" y="394447"/>
                  <a:pt x="3964155" y="394447"/>
                </a:cubicBezTo>
                <a:cubicBezTo>
                  <a:pt x="3964155" y="408534"/>
                  <a:pt x="3950066" y="408534"/>
                  <a:pt x="3950066" y="408534"/>
                </a:cubicBezTo>
                <a:cubicBezTo>
                  <a:pt x="3950066" y="408534"/>
                  <a:pt x="3935979" y="422623"/>
                  <a:pt x="3907802" y="422623"/>
                </a:cubicBezTo>
                <a:cubicBezTo>
                  <a:pt x="3921891" y="436710"/>
                  <a:pt x="3921891" y="436710"/>
                  <a:pt x="3964155" y="408534"/>
                </a:cubicBezTo>
                <a:cubicBezTo>
                  <a:pt x="3992331" y="408534"/>
                  <a:pt x="4020508" y="394447"/>
                  <a:pt x="4034596" y="394447"/>
                </a:cubicBezTo>
                <a:cubicBezTo>
                  <a:pt x="4048684" y="394447"/>
                  <a:pt x="4076861" y="394447"/>
                  <a:pt x="4090949" y="380360"/>
                </a:cubicBezTo>
                <a:cubicBezTo>
                  <a:pt x="4090949" y="380360"/>
                  <a:pt x="4105037" y="380360"/>
                  <a:pt x="4105037" y="380360"/>
                </a:cubicBezTo>
                <a:cubicBezTo>
                  <a:pt x="4105037" y="380360"/>
                  <a:pt x="4133214" y="366272"/>
                  <a:pt x="4161390" y="352185"/>
                </a:cubicBezTo>
                <a:cubicBezTo>
                  <a:pt x="4168434" y="352185"/>
                  <a:pt x="4175478" y="352185"/>
                  <a:pt x="4184284" y="350424"/>
                </a:cubicBezTo>
                <a:lnTo>
                  <a:pt x="4185741" y="349887"/>
                </a:lnTo>
                <a:lnTo>
                  <a:pt x="4173732" y="344041"/>
                </a:lnTo>
                <a:cubicBezTo>
                  <a:pt x="4160524" y="338098"/>
                  <a:pt x="4155241" y="338098"/>
                  <a:pt x="4134108" y="338098"/>
                </a:cubicBezTo>
                <a:cubicBezTo>
                  <a:pt x="4134108" y="338098"/>
                  <a:pt x="4130586" y="338098"/>
                  <a:pt x="4125303" y="338098"/>
                </a:cubicBezTo>
                <a:lnTo>
                  <a:pt x="4119125" y="338098"/>
                </a:lnTo>
                <a:cubicBezTo>
                  <a:pt x="4119125" y="338098"/>
                  <a:pt x="4115603" y="338098"/>
                  <a:pt x="4110320" y="338098"/>
                </a:cubicBezTo>
                <a:lnTo>
                  <a:pt x="4105932" y="338098"/>
                </a:lnTo>
                <a:close/>
                <a:moveTo>
                  <a:pt x="5640652" y="309923"/>
                </a:moveTo>
                <a:cubicBezTo>
                  <a:pt x="5682917" y="309923"/>
                  <a:pt x="5739270" y="324010"/>
                  <a:pt x="5795623" y="338098"/>
                </a:cubicBezTo>
                <a:cubicBezTo>
                  <a:pt x="5809711" y="338098"/>
                  <a:pt x="5809711" y="338098"/>
                  <a:pt x="5837888" y="338098"/>
                </a:cubicBezTo>
                <a:cubicBezTo>
                  <a:pt x="5837888" y="352185"/>
                  <a:pt x="5837888" y="352185"/>
                  <a:pt x="5837888" y="352185"/>
                </a:cubicBezTo>
                <a:cubicBezTo>
                  <a:pt x="5823800" y="352185"/>
                  <a:pt x="5809711" y="352185"/>
                  <a:pt x="5809711" y="352185"/>
                </a:cubicBezTo>
                <a:cubicBezTo>
                  <a:pt x="5781535" y="338098"/>
                  <a:pt x="5781535" y="338098"/>
                  <a:pt x="5753358" y="338098"/>
                </a:cubicBezTo>
                <a:cubicBezTo>
                  <a:pt x="5753358" y="338098"/>
                  <a:pt x="5739270" y="338098"/>
                  <a:pt x="5725182" y="338098"/>
                </a:cubicBezTo>
                <a:cubicBezTo>
                  <a:pt x="5697005" y="324010"/>
                  <a:pt x="5668829" y="324010"/>
                  <a:pt x="5640652" y="309923"/>
                </a:cubicBezTo>
                <a:close/>
                <a:moveTo>
                  <a:pt x="3509384" y="303980"/>
                </a:moveTo>
                <a:cubicBezTo>
                  <a:pt x="3492214" y="301999"/>
                  <a:pt x="3479006" y="309923"/>
                  <a:pt x="3457874" y="309923"/>
                </a:cubicBezTo>
                <a:cubicBezTo>
                  <a:pt x="3443786" y="309923"/>
                  <a:pt x="3401521" y="309923"/>
                  <a:pt x="3373345" y="309923"/>
                </a:cubicBezTo>
                <a:cubicBezTo>
                  <a:pt x="3345168" y="309923"/>
                  <a:pt x="3331081" y="309923"/>
                  <a:pt x="3316993" y="309923"/>
                </a:cubicBezTo>
                <a:cubicBezTo>
                  <a:pt x="3316993" y="324010"/>
                  <a:pt x="3302904" y="324010"/>
                  <a:pt x="3288816" y="324010"/>
                </a:cubicBezTo>
                <a:cubicBezTo>
                  <a:pt x="3288816" y="324010"/>
                  <a:pt x="3274728" y="324010"/>
                  <a:pt x="3260639" y="324010"/>
                </a:cubicBezTo>
                <a:cubicBezTo>
                  <a:pt x="3260639" y="324010"/>
                  <a:pt x="3260639" y="324010"/>
                  <a:pt x="3246551" y="324010"/>
                </a:cubicBezTo>
                <a:cubicBezTo>
                  <a:pt x="3232462" y="324010"/>
                  <a:pt x="3232462" y="309923"/>
                  <a:pt x="3190198" y="324010"/>
                </a:cubicBezTo>
                <a:cubicBezTo>
                  <a:pt x="3176110" y="324010"/>
                  <a:pt x="3176110" y="324010"/>
                  <a:pt x="3176110" y="324010"/>
                </a:cubicBezTo>
                <a:cubicBezTo>
                  <a:pt x="3162022" y="324010"/>
                  <a:pt x="3162022" y="324010"/>
                  <a:pt x="3162022" y="324010"/>
                </a:cubicBezTo>
                <a:cubicBezTo>
                  <a:pt x="3147934" y="338098"/>
                  <a:pt x="3119756" y="338098"/>
                  <a:pt x="3105669" y="338098"/>
                </a:cubicBezTo>
                <a:cubicBezTo>
                  <a:pt x="3105669" y="338098"/>
                  <a:pt x="3091581" y="338098"/>
                  <a:pt x="3091581" y="338098"/>
                </a:cubicBezTo>
                <a:cubicBezTo>
                  <a:pt x="3077492" y="338098"/>
                  <a:pt x="3063405" y="338098"/>
                  <a:pt x="3035228" y="338098"/>
                </a:cubicBezTo>
                <a:cubicBezTo>
                  <a:pt x="3007052" y="338098"/>
                  <a:pt x="2992963" y="338098"/>
                  <a:pt x="2964786" y="352185"/>
                </a:cubicBezTo>
                <a:cubicBezTo>
                  <a:pt x="2950699" y="352185"/>
                  <a:pt x="2950699" y="352185"/>
                  <a:pt x="2950699" y="352185"/>
                </a:cubicBezTo>
                <a:cubicBezTo>
                  <a:pt x="2950699" y="352185"/>
                  <a:pt x="2936611" y="366272"/>
                  <a:pt x="2908433" y="366272"/>
                </a:cubicBezTo>
                <a:cubicBezTo>
                  <a:pt x="2908433" y="366272"/>
                  <a:pt x="2894345" y="366272"/>
                  <a:pt x="2894345" y="366272"/>
                </a:cubicBezTo>
                <a:cubicBezTo>
                  <a:pt x="2894345" y="366272"/>
                  <a:pt x="2880257" y="366272"/>
                  <a:pt x="2880257" y="366272"/>
                </a:cubicBezTo>
                <a:cubicBezTo>
                  <a:pt x="2866169" y="366272"/>
                  <a:pt x="2866169" y="366272"/>
                  <a:pt x="2866169" y="366272"/>
                </a:cubicBezTo>
                <a:cubicBezTo>
                  <a:pt x="2852080" y="366272"/>
                  <a:pt x="2837993" y="380360"/>
                  <a:pt x="2809816" y="380360"/>
                </a:cubicBezTo>
                <a:cubicBezTo>
                  <a:pt x="2809816" y="380360"/>
                  <a:pt x="2795729" y="380360"/>
                  <a:pt x="2781640" y="380360"/>
                </a:cubicBezTo>
                <a:cubicBezTo>
                  <a:pt x="2781640" y="380360"/>
                  <a:pt x="2781640" y="380360"/>
                  <a:pt x="2781640" y="394447"/>
                </a:cubicBezTo>
                <a:cubicBezTo>
                  <a:pt x="2767551" y="394447"/>
                  <a:pt x="2767551" y="394447"/>
                  <a:pt x="2767551" y="394447"/>
                </a:cubicBezTo>
                <a:cubicBezTo>
                  <a:pt x="2767551" y="394447"/>
                  <a:pt x="2753463" y="394447"/>
                  <a:pt x="2753463" y="394447"/>
                </a:cubicBezTo>
                <a:cubicBezTo>
                  <a:pt x="2753463" y="394447"/>
                  <a:pt x="2753463" y="394447"/>
                  <a:pt x="2739374" y="394447"/>
                </a:cubicBezTo>
                <a:cubicBezTo>
                  <a:pt x="2725287" y="408534"/>
                  <a:pt x="2697110" y="422623"/>
                  <a:pt x="2654846" y="422623"/>
                </a:cubicBezTo>
                <a:cubicBezTo>
                  <a:pt x="2640758" y="422623"/>
                  <a:pt x="2640758" y="422623"/>
                  <a:pt x="2640758" y="422623"/>
                </a:cubicBezTo>
                <a:cubicBezTo>
                  <a:pt x="2626670" y="422623"/>
                  <a:pt x="2612581" y="436710"/>
                  <a:pt x="2612581" y="436710"/>
                </a:cubicBezTo>
                <a:cubicBezTo>
                  <a:pt x="2598493" y="436710"/>
                  <a:pt x="2598493" y="436710"/>
                  <a:pt x="2598493" y="436710"/>
                </a:cubicBezTo>
                <a:cubicBezTo>
                  <a:pt x="2612581" y="436710"/>
                  <a:pt x="2584406" y="436710"/>
                  <a:pt x="2584406" y="450798"/>
                </a:cubicBezTo>
                <a:cubicBezTo>
                  <a:pt x="2584406" y="450798"/>
                  <a:pt x="2584406" y="450798"/>
                  <a:pt x="2570317" y="450798"/>
                </a:cubicBezTo>
                <a:cubicBezTo>
                  <a:pt x="2513964" y="464885"/>
                  <a:pt x="2485787" y="464885"/>
                  <a:pt x="2443523" y="493059"/>
                </a:cubicBezTo>
                <a:cubicBezTo>
                  <a:pt x="2429434" y="493059"/>
                  <a:pt x="2429434" y="493059"/>
                  <a:pt x="2415347" y="493059"/>
                </a:cubicBezTo>
                <a:cubicBezTo>
                  <a:pt x="2401258" y="507147"/>
                  <a:pt x="2401258" y="507147"/>
                  <a:pt x="2401258" y="507147"/>
                </a:cubicBezTo>
                <a:cubicBezTo>
                  <a:pt x="2387169" y="507147"/>
                  <a:pt x="2373081" y="521234"/>
                  <a:pt x="2358994" y="521234"/>
                </a:cubicBezTo>
                <a:cubicBezTo>
                  <a:pt x="2344905" y="535321"/>
                  <a:pt x="2330816" y="535321"/>
                  <a:pt x="2330816" y="535321"/>
                </a:cubicBezTo>
                <a:cubicBezTo>
                  <a:pt x="2316729" y="535321"/>
                  <a:pt x="2316729" y="535321"/>
                  <a:pt x="2316729" y="535321"/>
                </a:cubicBezTo>
                <a:cubicBezTo>
                  <a:pt x="2330816" y="535321"/>
                  <a:pt x="2302641" y="549409"/>
                  <a:pt x="2288552" y="563496"/>
                </a:cubicBezTo>
                <a:cubicBezTo>
                  <a:pt x="2288552" y="563496"/>
                  <a:pt x="2274464" y="563496"/>
                  <a:pt x="2274464" y="577583"/>
                </a:cubicBezTo>
                <a:cubicBezTo>
                  <a:pt x="2274464" y="577583"/>
                  <a:pt x="2260376" y="577583"/>
                  <a:pt x="2232199" y="591672"/>
                </a:cubicBezTo>
                <a:cubicBezTo>
                  <a:pt x="2204023" y="591672"/>
                  <a:pt x="2175846" y="619846"/>
                  <a:pt x="2147670" y="619846"/>
                </a:cubicBezTo>
                <a:cubicBezTo>
                  <a:pt x="2133582" y="633934"/>
                  <a:pt x="2133582" y="633934"/>
                  <a:pt x="2133582" y="633934"/>
                </a:cubicBezTo>
                <a:cubicBezTo>
                  <a:pt x="2175846" y="619846"/>
                  <a:pt x="2218111" y="605759"/>
                  <a:pt x="2260376" y="591672"/>
                </a:cubicBezTo>
                <a:cubicBezTo>
                  <a:pt x="2274464" y="577583"/>
                  <a:pt x="2288552" y="577583"/>
                  <a:pt x="2302641" y="577583"/>
                </a:cubicBezTo>
                <a:cubicBezTo>
                  <a:pt x="2302641" y="577583"/>
                  <a:pt x="2316729" y="577583"/>
                  <a:pt x="2316729" y="563496"/>
                </a:cubicBezTo>
                <a:cubicBezTo>
                  <a:pt x="2330816" y="563496"/>
                  <a:pt x="2330816" y="563496"/>
                  <a:pt x="2344905" y="563496"/>
                </a:cubicBezTo>
                <a:cubicBezTo>
                  <a:pt x="2344905" y="563496"/>
                  <a:pt x="2344905" y="549409"/>
                  <a:pt x="2344905" y="549409"/>
                </a:cubicBezTo>
                <a:cubicBezTo>
                  <a:pt x="2358994" y="549409"/>
                  <a:pt x="2373081" y="549409"/>
                  <a:pt x="2387169" y="549409"/>
                </a:cubicBezTo>
                <a:cubicBezTo>
                  <a:pt x="2387169" y="535321"/>
                  <a:pt x="2401258" y="535321"/>
                  <a:pt x="2401258" y="535321"/>
                </a:cubicBezTo>
                <a:cubicBezTo>
                  <a:pt x="2415347" y="535321"/>
                  <a:pt x="2415347" y="535321"/>
                  <a:pt x="2415347" y="535321"/>
                </a:cubicBezTo>
                <a:cubicBezTo>
                  <a:pt x="2415347" y="535321"/>
                  <a:pt x="2415347" y="535321"/>
                  <a:pt x="2429434" y="521234"/>
                </a:cubicBezTo>
                <a:cubicBezTo>
                  <a:pt x="2457611" y="521234"/>
                  <a:pt x="2471699" y="507147"/>
                  <a:pt x="2499875" y="507147"/>
                </a:cubicBezTo>
                <a:cubicBezTo>
                  <a:pt x="2542140" y="493059"/>
                  <a:pt x="2570317" y="493059"/>
                  <a:pt x="2598493" y="478972"/>
                </a:cubicBezTo>
                <a:cubicBezTo>
                  <a:pt x="2598493" y="478972"/>
                  <a:pt x="2626670" y="464885"/>
                  <a:pt x="2640758" y="464885"/>
                </a:cubicBezTo>
                <a:cubicBezTo>
                  <a:pt x="2612581" y="478972"/>
                  <a:pt x="2598493" y="478972"/>
                  <a:pt x="2626670" y="478972"/>
                </a:cubicBezTo>
                <a:cubicBezTo>
                  <a:pt x="2626670" y="478972"/>
                  <a:pt x="2640758" y="478972"/>
                  <a:pt x="2640758" y="493059"/>
                </a:cubicBezTo>
                <a:cubicBezTo>
                  <a:pt x="2640758" y="493059"/>
                  <a:pt x="2626670" y="493059"/>
                  <a:pt x="2612581" y="493059"/>
                </a:cubicBezTo>
                <a:cubicBezTo>
                  <a:pt x="2598493" y="493059"/>
                  <a:pt x="2612581" y="493059"/>
                  <a:pt x="2612581" y="507147"/>
                </a:cubicBezTo>
                <a:cubicBezTo>
                  <a:pt x="2626670" y="507147"/>
                  <a:pt x="2626670" y="493059"/>
                  <a:pt x="2640758" y="493059"/>
                </a:cubicBezTo>
                <a:cubicBezTo>
                  <a:pt x="2654846" y="493059"/>
                  <a:pt x="2654846" y="493059"/>
                  <a:pt x="2668934" y="493059"/>
                </a:cubicBezTo>
                <a:cubicBezTo>
                  <a:pt x="2697110" y="478972"/>
                  <a:pt x="2725287" y="478972"/>
                  <a:pt x="2753463" y="464885"/>
                </a:cubicBezTo>
                <a:cubicBezTo>
                  <a:pt x="2823905" y="450798"/>
                  <a:pt x="2894345" y="436710"/>
                  <a:pt x="2964786" y="436710"/>
                </a:cubicBezTo>
                <a:cubicBezTo>
                  <a:pt x="2992963" y="422623"/>
                  <a:pt x="3007052" y="422623"/>
                  <a:pt x="3021139" y="422623"/>
                </a:cubicBezTo>
                <a:lnTo>
                  <a:pt x="3049316" y="422623"/>
                </a:lnTo>
                <a:lnTo>
                  <a:pt x="3061643" y="422623"/>
                </a:lnTo>
                <a:cubicBezTo>
                  <a:pt x="3073970" y="422623"/>
                  <a:pt x="3084537" y="422623"/>
                  <a:pt x="3091581" y="422623"/>
                </a:cubicBezTo>
                <a:cubicBezTo>
                  <a:pt x="3091581" y="422623"/>
                  <a:pt x="3105669" y="422623"/>
                  <a:pt x="3105669" y="422623"/>
                </a:cubicBezTo>
                <a:cubicBezTo>
                  <a:pt x="3091581" y="408534"/>
                  <a:pt x="3077492" y="422623"/>
                  <a:pt x="3049316" y="422623"/>
                </a:cubicBezTo>
                <a:cubicBezTo>
                  <a:pt x="3063405" y="408534"/>
                  <a:pt x="3105669" y="408534"/>
                  <a:pt x="3119756" y="408534"/>
                </a:cubicBezTo>
                <a:lnTo>
                  <a:pt x="3133845" y="408534"/>
                </a:lnTo>
                <a:cubicBezTo>
                  <a:pt x="3133845" y="408534"/>
                  <a:pt x="3119756" y="408534"/>
                  <a:pt x="3133845" y="422623"/>
                </a:cubicBezTo>
                <a:cubicBezTo>
                  <a:pt x="3162022" y="422623"/>
                  <a:pt x="3147934" y="422623"/>
                  <a:pt x="3162022" y="436710"/>
                </a:cubicBezTo>
                <a:cubicBezTo>
                  <a:pt x="3176110" y="436710"/>
                  <a:pt x="3176110" y="436710"/>
                  <a:pt x="3190198" y="436710"/>
                </a:cubicBezTo>
                <a:cubicBezTo>
                  <a:pt x="3204287" y="436710"/>
                  <a:pt x="3218375" y="436710"/>
                  <a:pt x="3232462" y="436710"/>
                </a:cubicBezTo>
                <a:cubicBezTo>
                  <a:pt x="3246551" y="429667"/>
                  <a:pt x="3257117" y="426145"/>
                  <a:pt x="3265923" y="426145"/>
                </a:cubicBezTo>
                <a:lnTo>
                  <a:pt x="3286474" y="435630"/>
                </a:lnTo>
                <a:lnTo>
                  <a:pt x="3319619" y="410296"/>
                </a:lnTo>
                <a:cubicBezTo>
                  <a:pt x="3344273" y="390926"/>
                  <a:pt x="3365405" y="373316"/>
                  <a:pt x="3372450" y="366272"/>
                </a:cubicBezTo>
                <a:cubicBezTo>
                  <a:pt x="3386538" y="352185"/>
                  <a:pt x="3400627" y="352185"/>
                  <a:pt x="3414714" y="338098"/>
                </a:cubicBezTo>
                <a:cubicBezTo>
                  <a:pt x="3428803" y="338098"/>
                  <a:pt x="3442891" y="324010"/>
                  <a:pt x="3442891" y="338098"/>
                </a:cubicBezTo>
                <a:cubicBezTo>
                  <a:pt x="3456980" y="338098"/>
                  <a:pt x="3471067" y="324010"/>
                  <a:pt x="3485156" y="324010"/>
                </a:cubicBezTo>
                <a:lnTo>
                  <a:pt x="3513002" y="305116"/>
                </a:lnTo>
                <a:close/>
                <a:moveTo>
                  <a:pt x="3668303" y="267661"/>
                </a:moveTo>
                <a:lnTo>
                  <a:pt x="3611950" y="295836"/>
                </a:lnTo>
                <a:cubicBezTo>
                  <a:pt x="3597862" y="309923"/>
                  <a:pt x="3597862" y="309923"/>
                  <a:pt x="3583773" y="324010"/>
                </a:cubicBezTo>
                <a:cubicBezTo>
                  <a:pt x="3583773" y="324010"/>
                  <a:pt x="3555597" y="338098"/>
                  <a:pt x="3541509" y="338098"/>
                </a:cubicBezTo>
                <a:cubicBezTo>
                  <a:pt x="3513333" y="352185"/>
                  <a:pt x="3499244" y="352185"/>
                  <a:pt x="3471067" y="366272"/>
                </a:cubicBezTo>
                <a:cubicBezTo>
                  <a:pt x="3456980" y="380360"/>
                  <a:pt x="3442891" y="380360"/>
                  <a:pt x="3414714" y="394447"/>
                </a:cubicBezTo>
                <a:cubicBezTo>
                  <a:pt x="3414714" y="394447"/>
                  <a:pt x="3400627" y="408534"/>
                  <a:pt x="3386538" y="408534"/>
                </a:cubicBezTo>
                <a:cubicBezTo>
                  <a:pt x="3372450" y="422623"/>
                  <a:pt x="3358361" y="422623"/>
                  <a:pt x="3344274" y="436710"/>
                </a:cubicBezTo>
                <a:cubicBezTo>
                  <a:pt x="3344274" y="436710"/>
                  <a:pt x="3330185" y="450798"/>
                  <a:pt x="3330185" y="450798"/>
                </a:cubicBezTo>
                <a:lnTo>
                  <a:pt x="3326170" y="452257"/>
                </a:lnTo>
                <a:lnTo>
                  <a:pt x="3361765" y="457920"/>
                </a:lnTo>
                <a:lnTo>
                  <a:pt x="3414714" y="422623"/>
                </a:lnTo>
                <a:cubicBezTo>
                  <a:pt x="3414714" y="408534"/>
                  <a:pt x="3428803" y="408534"/>
                  <a:pt x="3456980" y="394447"/>
                </a:cubicBezTo>
                <a:cubicBezTo>
                  <a:pt x="3485156" y="380360"/>
                  <a:pt x="3513333" y="366272"/>
                  <a:pt x="3541509" y="352185"/>
                </a:cubicBezTo>
                <a:cubicBezTo>
                  <a:pt x="3541509" y="352185"/>
                  <a:pt x="3555597" y="352185"/>
                  <a:pt x="3555597" y="352185"/>
                </a:cubicBezTo>
                <a:cubicBezTo>
                  <a:pt x="3555597" y="352185"/>
                  <a:pt x="3569684" y="338098"/>
                  <a:pt x="3569684" y="338098"/>
                </a:cubicBezTo>
                <a:cubicBezTo>
                  <a:pt x="3583773" y="338098"/>
                  <a:pt x="3583773" y="338098"/>
                  <a:pt x="3597862" y="324010"/>
                </a:cubicBezTo>
                <a:cubicBezTo>
                  <a:pt x="3597862" y="324010"/>
                  <a:pt x="3611950" y="324010"/>
                  <a:pt x="3611950" y="309923"/>
                </a:cubicBezTo>
                <a:cubicBezTo>
                  <a:pt x="3626037" y="309923"/>
                  <a:pt x="3626037" y="309923"/>
                  <a:pt x="3611950" y="324010"/>
                </a:cubicBezTo>
                <a:cubicBezTo>
                  <a:pt x="3611950" y="324010"/>
                  <a:pt x="3626037" y="324010"/>
                  <a:pt x="3597862" y="338098"/>
                </a:cubicBezTo>
                <a:cubicBezTo>
                  <a:pt x="3611950" y="338098"/>
                  <a:pt x="3611950" y="352185"/>
                  <a:pt x="3569684" y="366272"/>
                </a:cubicBezTo>
                <a:cubicBezTo>
                  <a:pt x="3555597" y="373316"/>
                  <a:pt x="3541509" y="376838"/>
                  <a:pt x="3527421" y="380360"/>
                </a:cubicBezTo>
                <a:lnTo>
                  <a:pt x="3527420" y="380360"/>
                </a:lnTo>
                <a:lnTo>
                  <a:pt x="3527419" y="380360"/>
                </a:lnTo>
                <a:lnTo>
                  <a:pt x="3485156" y="394447"/>
                </a:lnTo>
                <a:cubicBezTo>
                  <a:pt x="3485156" y="408534"/>
                  <a:pt x="3456980" y="422623"/>
                  <a:pt x="3428803" y="422623"/>
                </a:cubicBezTo>
                <a:cubicBezTo>
                  <a:pt x="3428803" y="422623"/>
                  <a:pt x="3428803" y="422623"/>
                  <a:pt x="3428803" y="436710"/>
                </a:cubicBezTo>
                <a:cubicBezTo>
                  <a:pt x="3442891" y="422623"/>
                  <a:pt x="3471067" y="422623"/>
                  <a:pt x="3485156" y="408534"/>
                </a:cubicBezTo>
                <a:cubicBezTo>
                  <a:pt x="3492200" y="401491"/>
                  <a:pt x="3499244" y="397969"/>
                  <a:pt x="3506288" y="394447"/>
                </a:cubicBezTo>
                <a:lnTo>
                  <a:pt x="3527419" y="380360"/>
                </a:lnTo>
                <a:lnTo>
                  <a:pt x="3527421" y="380360"/>
                </a:lnTo>
                <a:lnTo>
                  <a:pt x="3534464" y="380360"/>
                </a:lnTo>
                <a:cubicBezTo>
                  <a:pt x="3537987" y="380360"/>
                  <a:pt x="3541509" y="380360"/>
                  <a:pt x="3541509" y="380360"/>
                </a:cubicBezTo>
                <a:cubicBezTo>
                  <a:pt x="3555597" y="380360"/>
                  <a:pt x="3569684" y="366272"/>
                  <a:pt x="3583773" y="366272"/>
                </a:cubicBezTo>
                <a:cubicBezTo>
                  <a:pt x="3541509" y="380360"/>
                  <a:pt x="3513333" y="394447"/>
                  <a:pt x="3485156" y="422623"/>
                </a:cubicBezTo>
                <a:cubicBezTo>
                  <a:pt x="3474589" y="433188"/>
                  <a:pt x="3456099" y="435830"/>
                  <a:pt x="3435627" y="448376"/>
                </a:cubicBezTo>
                <a:lnTo>
                  <a:pt x="3416316" y="463620"/>
                </a:lnTo>
                <a:lnTo>
                  <a:pt x="3471963" y="464885"/>
                </a:lnTo>
                <a:cubicBezTo>
                  <a:pt x="3486050" y="464885"/>
                  <a:pt x="3500139" y="464885"/>
                  <a:pt x="3500139" y="464885"/>
                </a:cubicBezTo>
                <a:cubicBezTo>
                  <a:pt x="3514227" y="464885"/>
                  <a:pt x="3514227" y="464885"/>
                  <a:pt x="3514227" y="464885"/>
                </a:cubicBezTo>
                <a:cubicBezTo>
                  <a:pt x="3528316" y="464885"/>
                  <a:pt x="3542404" y="464885"/>
                  <a:pt x="3554731" y="464885"/>
                </a:cubicBezTo>
                <a:lnTo>
                  <a:pt x="3555597" y="464885"/>
                </a:lnTo>
                <a:cubicBezTo>
                  <a:pt x="3555597" y="464885"/>
                  <a:pt x="3569684" y="450798"/>
                  <a:pt x="3583773" y="450798"/>
                </a:cubicBezTo>
                <a:cubicBezTo>
                  <a:pt x="3597862" y="450798"/>
                  <a:pt x="3611950" y="436710"/>
                  <a:pt x="3626037" y="436710"/>
                </a:cubicBezTo>
                <a:cubicBezTo>
                  <a:pt x="3654214" y="422623"/>
                  <a:pt x="3654214" y="422623"/>
                  <a:pt x="3682390" y="408534"/>
                </a:cubicBezTo>
                <a:cubicBezTo>
                  <a:pt x="3696479" y="394447"/>
                  <a:pt x="3696479" y="394447"/>
                  <a:pt x="3724655" y="380360"/>
                </a:cubicBezTo>
                <a:cubicBezTo>
                  <a:pt x="3738743" y="380360"/>
                  <a:pt x="3752832" y="366272"/>
                  <a:pt x="3766920" y="366272"/>
                </a:cubicBezTo>
                <a:cubicBezTo>
                  <a:pt x="3795096" y="352185"/>
                  <a:pt x="3795096" y="352185"/>
                  <a:pt x="3823273" y="338098"/>
                </a:cubicBezTo>
                <a:cubicBezTo>
                  <a:pt x="3823273" y="352185"/>
                  <a:pt x="3823273" y="352185"/>
                  <a:pt x="3823273" y="352185"/>
                </a:cubicBezTo>
                <a:cubicBezTo>
                  <a:pt x="3823273" y="352185"/>
                  <a:pt x="3809185" y="352185"/>
                  <a:pt x="3809185" y="352185"/>
                </a:cubicBezTo>
                <a:cubicBezTo>
                  <a:pt x="3809185" y="366272"/>
                  <a:pt x="3809185" y="366272"/>
                  <a:pt x="3809185" y="366272"/>
                </a:cubicBezTo>
                <a:cubicBezTo>
                  <a:pt x="3809185" y="366272"/>
                  <a:pt x="3795096" y="366272"/>
                  <a:pt x="3781008" y="380360"/>
                </a:cubicBezTo>
                <a:cubicBezTo>
                  <a:pt x="3781008" y="380360"/>
                  <a:pt x="3781008" y="380360"/>
                  <a:pt x="3795096" y="380360"/>
                </a:cubicBezTo>
                <a:cubicBezTo>
                  <a:pt x="3837361" y="366272"/>
                  <a:pt x="3879626" y="352185"/>
                  <a:pt x="3907802" y="338098"/>
                </a:cubicBezTo>
                <a:cubicBezTo>
                  <a:pt x="3935979" y="338098"/>
                  <a:pt x="3964155" y="324010"/>
                  <a:pt x="3978244" y="324010"/>
                </a:cubicBezTo>
                <a:lnTo>
                  <a:pt x="3999855" y="309154"/>
                </a:lnTo>
                <a:lnTo>
                  <a:pt x="3972094" y="308162"/>
                </a:lnTo>
                <a:cubicBezTo>
                  <a:pt x="3954484" y="306401"/>
                  <a:pt x="3936874" y="302880"/>
                  <a:pt x="3922785" y="295836"/>
                </a:cubicBezTo>
                <a:cubicBezTo>
                  <a:pt x="3922785" y="295836"/>
                  <a:pt x="3908697" y="295836"/>
                  <a:pt x="3908697" y="295836"/>
                </a:cubicBezTo>
                <a:cubicBezTo>
                  <a:pt x="3894609" y="295836"/>
                  <a:pt x="3880521" y="295836"/>
                  <a:pt x="3880521" y="295836"/>
                </a:cubicBezTo>
                <a:cubicBezTo>
                  <a:pt x="3866432" y="295836"/>
                  <a:pt x="3838256" y="281749"/>
                  <a:pt x="3824168" y="281749"/>
                </a:cubicBezTo>
                <a:cubicBezTo>
                  <a:pt x="3810079" y="281749"/>
                  <a:pt x="3810079" y="281749"/>
                  <a:pt x="3795992" y="281749"/>
                </a:cubicBezTo>
                <a:cubicBezTo>
                  <a:pt x="3767815" y="281749"/>
                  <a:pt x="3725550" y="281749"/>
                  <a:pt x="3697375" y="281749"/>
                </a:cubicBezTo>
                <a:cubicBezTo>
                  <a:pt x="3697375" y="267661"/>
                  <a:pt x="3683286" y="267661"/>
                  <a:pt x="3669198" y="267661"/>
                </a:cubicBezTo>
                <a:close/>
                <a:moveTo>
                  <a:pt x="3331081" y="267661"/>
                </a:moveTo>
                <a:cubicBezTo>
                  <a:pt x="3316993" y="267661"/>
                  <a:pt x="3288816" y="267661"/>
                  <a:pt x="3274728" y="281749"/>
                </a:cubicBezTo>
                <a:cubicBezTo>
                  <a:pt x="3260639" y="281749"/>
                  <a:pt x="3232462" y="281749"/>
                  <a:pt x="3218375" y="281749"/>
                </a:cubicBezTo>
                <a:cubicBezTo>
                  <a:pt x="3204287" y="281749"/>
                  <a:pt x="3204287" y="281749"/>
                  <a:pt x="3204287" y="281749"/>
                </a:cubicBezTo>
                <a:cubicBezTo>
                  <a:pt x="3204287" y="281749"/>
                  <a:pt x="3204287" y="281749"/>
                  <a:pt x="3190198" y="281749"/>
                </a:cubicBezTo>
                <a:cubicBezTo>
                  <a:pt x="3162022" y="281749"/>
                  <a:pt x="3176110" y="295836"/>
                  <a:pt x="3190198" y="295836"/>
                </a:cubicBezTo>
                <a:cubicBezTo>
                  <a:pt x="3190198" y="295836"/>
                  <a:pt x="3176110" y="295836"/>
                  <a:pt x="3162022" y="295836"/>
                </a:cubicBezTo>
                <a:cubicBezTo>
                  <a:pt x="3133845" y="295836"/>
                  <a:pt x="3119756" y="295836"/>
                  <a:pt x="3091581" y="295836"/>
                </a:cubicBezTo>
                <a:cubicBezTo>
                  <a:pt x="3063405" y="295836"/>
                  <a:pt x="3035228" y="295836"/>
                  <a:pt x="3007052" y="295836"/>
                </a:cubicBezTo>
                <a:cubicBezTo>
                  <a:pt x="3007052" y="295836"/>
                  <a:pt x="3007052" y="309923"/>
                  <a:pt x="3007052" y="309923"/>
                </a:cubicBezTo>
                <a:lnTo>
                  <a:pt x="3021139" y="309923"/>
                </a:lnTo>
                <a:cubicBezTo>
                  <a:pt x="3049316" y="309923"/>
                  <a:pt x="3063405" y="309923"/>
                  <a:pt x="3077492" y="309923"/>
                </a:cubicBezTo>
                <a:cubicBezTo>
                  <a:pt x="3105669" y="309923"/>
                  <a:pt x="3119756" y="309923"/>
                  <a:pt x="3133845" y="309923"/>
                </a:cubicBezTo>
                <a:cubicBezTo>
                  <a:pt x="3147934" y="309923"/>
                  <a:pt x="3147934" y="309923"/>
                  <a:pt x="3147934" y="309923"/>
                </a:cubicBezTo>
                <a:cubicBezTo>
                  <a:pt x="3176110" y="295836"/>
                  <a:pt x="3204287" y="309923"/>
                  <a:pt x="3232462" y="295836"/>
                </a:cubicBezTo>
                <a:cubicBezTo>
                  <a:pt x="3246551" y="295836"/>
                  <a:pt x="3260639" y="295836"/>
                  <a:pt x="3274728" y="295836"/>
                </a:cubicBezTo>
                <a:cubicBezTo>
                  <a:pt x="3288816" y="295836"/>
                  <a:pt x="3302904" y="295836"/>
                  <a:pt x="3302904" y="295836"/>
                </a:cubicBezTo>
                <a:cubicBezTo>
                  <a:pt x="3316993" y="295836"/>
                  <a:pt x="3316993" y="295836"/>
                  <a:pt x="3345168" y="295836"/>
                </a:cubicBezTo>
                <a:cubicBezTo>
                  <a:pt x="3359257" y="295836"/>
                  <a:pt x="3387433" y="295836"/>
                  <a:pt x="3415610" y="295836"/>
                </a:cubicBezTo>
                <a:cubicBezTo>
                  <a:pt x="3436742" y="295836"/>
                  <a:pt x="3457874" y="287912"/>
                  <a:pt x="3490894" y="289893"/>
                </a:cubicBezTo>
                <a:lnTo>
                  <a:pt x="3526990" y="295625"/>
                </a:lnTo>
                <a:lnTo>
                  <a:pt x="3534465" y="290553"/>
                </a:lnTo>
                <a:cubicBezTo>
                  <a:pt x="3552075" y="281749"/>
                  <a:pt x="3569685" y="274705"/>
                  <a:pt x="3583773" y="267661"/>
                </a:cubicBezTo>
                <a:lnTo>
                  <a:pt x="3579385" y="267661"/>
                </a:lnTo>
                <a:cubicBezTo>
                  <a:pt x="3574102" y="267661"/>
                  <a:pt x="3570580" y="267661"/>
                  <a:pt x="3570580" y="267661"/>
                </a:cubicBezTo>
                <a:cubicBezTo>
                  <a:pt x="3542404" y="267661"/>
                  <a:pt x="3514227" y="267661"/>
                  <a:pt x="3500139" y="267661"/>
                </a:cubicBezTo>
                <a:cubicBezTo>
                  <a:pt x="3500139" y="267661"/>
                  <a:pt x="3486050" y="267661"/>
                  <a:pt x="3471963" y="267661"/>
                </a:cubicBezTo>
                <a:cubicBezTo>
                  <a:pt x="3471963" y="267661"/>
                  <a:pt x="3471963" y="267661"/>
                  <a:pt x="3457874" y="267661"/>
                </a:cubicBezTo>
                <a:cubicBezTo>
                  <a:pt x="3429699" y="267661"/>
                  <a:pt x="3415610" y="267661"/>
                  <a:pt x="3387433" y="281749"/>
                </a:cubicBezTo>
                <a:cubicBezTo>
                  <a:pt x="3373345" y="281749"/>
                  <a:pt x="3359257" y="281749"/>
                  <a:pt x="3345168" y="267661"/>
                </a:cubicBezTo>
                <a:cubicBezTo>
                  <a:pt x="3345168" y="267661"/>
                  <a:pt x="3345168" y="267661"/>
                  <a:pt x="3331081" y="267661"/>
                </a:cubicBezTo>
                <a:close/>
                <a:moveTo>
                  <a:pt x="3686218" y="258704"/>
                </a:moveTo>
                <a:lnTo>
                  <a:pt x="3675744" y="263941"/>
                </a:lnTo>
                <a:lnTo>
                  <a:pt x="3683286" y="267661"/>
                </a:lnTo>
                <a:cubicBezTo>
                  <a:pt x="3697375" y="267661"/>
                  <a:pt x="3697375" y="267661"/>
                  <a:pt x="3697375" y="267661"/>
                </a:cubicBezTo>
                <a:cubicBezTo>
                  <a:pt x="3697375" y="267661"/>
                  <a:pt x="3693853" y="267661"/>
                  <a:pt x="3690330" y="265900"/>
                </a:cubicBezTo>
                <a:close/>
                <a:moveTo>
                  <a:pt x="2781640" y="0"/>
                </a:moveTo>
                <a:cubicBezTo>
                  <a:pt x="2781640" y="14087"/>
                  <a:pt x="2781640" y="14087"/>
                  <a:pt x="2781640" y="14087"/>
                </a:cubicBezTo>
                <a:cubicBezTo>
                  <a:pt x="2781640" y="14087"/>
                  <a:pt x="2781640" y="14087"/>
                  <a:pt x="2767551" y="14087"/>
                </a:cubicBezTo>
                <a:cubicBezTo>
                  <a:pt x="2767551" y="14087"/>
                  <a:pt x="2753463" y="28175"/>
                  <a:pt x="2739374" y="28175"/>
                </a:cubicBezTo>
                <a:cubicBezTo>
                  <a:pt x="2739374" y="28175"/>
                  <a:pt x="2725287" y="28175"/>
                  <a:pt x="2725287" y="28175"/>
                </a:cubicBezTo>
                <a:cubicBezTo>
                  <a:pt x="2711199" y="42262"/>
                  <a:pt x="2654846" y="56349"/>
                  <a:pt x="2612581" y="70438"/>
                </a:cubicBezTo>
                <a:cubicBezTo>
                  <a:pt x="2584406" y="70438"/>
                  <a:pt x="2570317" y="84525"/>
                  <a:pt x="2542140" y="84525"/>
                </a:cubicBezTo>
                <a:cubicBezTo>
                  <a:pt x="2528052" y="84525"/>
                  <a:pt x="2528052" y="84525"/>
                  <a:pt x="2513964" y="98612"/>
                </a:cubicBezTo>
                <a:cubicBezTo>
                  <a:pt x="2471699" y="112700"/>
                  <a:pt x="2429434" y="112700"/>
                  <a:pt x="2387169" y="126787"/>
                </a:cubicBezTo>
                <a:cubicBezTo>
                  <a:pt x="2387169" y="140874"/>
                  <a:pt x="2373081" y="140874"/>
                  <a:pt x="2358994" y="140874"/>
                </a:cubicBezTo>
                <a:cubicBezTo>
                  <a:pt x="2344905" y="140874"/>
                  <a:pt x="2344905" y="140874"/>
                  <a:pt x="2344905" y="140874"/>
                </a:cubicBezTo>
                <a:cubicBezTo>
                  <a:pt x="2330816" y="154962"/>
                  <a:pt x="2302641" y="169049"/>
                  <a:pt x="2302641" y="169049"/>
                </a:cubicBezTo>
                <a:cubicBezTo>
                  <a:pt x="2288552" y="169049"/>
                  <a:pt x="2274464" y="183136"/>
                  <a:pt x="2274464" y="183136"/>
                </a:cubicBezTo>
                <a:cubicBezTo>
                  <a:pt x="2260376" y="183136"/>
                  <a:pt x="2260376" y="183136"/>
                  <a:pt x="2260376" y="183136"/>
                </a:cubicBezTo>
                <a:cubicBezTo>
                  <a:pt x="2232199" y="197224"/>
                  <a:pt x="2218111" y="211311"/>
                  <a:pt x="2175846" y="225398"/>
                </a:cubicBezTo>
                <a:cubicBezTo>
                  <a:pt x="2147670" y="225398"/>
                  <a:pt x="2119493" y="239487"/>
                  <a:pt x="2091317" y="253574"/>
                </a:cubicBezTo>
                <a:cubicBezTo>
                  <a:pt x="2091317" y="253574"/>
                  <a:pt x="2091317" y="253574"/>
                  <a:pt x="2077229" y="253574"/>
                </a:cubicBezTo>
                <a:cubicBezTo>
                  <a:pt x="2049053" y="267661"/>
                  <a:pt x="2020876" y="281749"/>
                  <a:pt x="1992700" y="295836"/>
                </a:cubicBezTo>
                <a:cubicBezTo>
                  <a:pt x="1978611" y="309923"/>
                  <a:pt x="1978611" y="309923"/>
                  <a:pt x="1964523" y="324010"/>
                </a:cubicBezTo>
                <a:cubicBezTo>
                  <a:pt x="1964523" y="324010"/>
                  <a:pt x="1936347" y="338098"/>
                  <a:pt x="1922259" y="338098"/>
                </a:cubicBezTo>
                <a:cubicBezTo>
                  <a:pt x="1894083" y="352185"/>
                  <a:pt x="1879994" y="352185"/>
                  <a:pt x="1851817" y="366272"/>
                </a:cubicBezTo>
                <a:cubicBezTo>
                  <a:pt x="1837730" y="380360"/>
                  <a:pt x="1823641" y="380360"/>
                  <a:pt x="1795464" y="394447"/>
                </a:cubicBezTo>
                <a:cubicBezTo>
                  <a:pt x="1795464" y="394447"/>
                  <a:pt x="1781377" y="408534"/>
                  <a:pt x="1767288" y="408534"/>
                </a:cubicBezTo>
                <a:cubicBezTo>
                  <a:pt x="1753200" y="422623"/>
                  <a:pt x="1739111" y="422623"/>
                  <a:pt x="1725024" y="436710"/>
                </a:cubicBezTo>
                <a:cubicBezTo>
                  <a:pt x="1725024" y="436710"/>
                  <a:pt x="1710935" y="450798"/>
                  <a:pt x="1710935" y="450798"/>
                </a:cubicBezTo>
                <a:cubicBezTo>
                  <a:pt x="1696847" y="450798"/>
                  <a:pt x="1682758" y="464885"/>
                  <a:pt x="1682758" y="464885"/>
                </a:cubicBezTo>
                <a:cubicBezTo>
                  <a:pt x="1668671" y="478972"/>
                  <a:pt x="1668671" y="478972"/>
                  <a:pt x="1668671" y="478972"/>
                </a:cubicBezTo>
                <a:cubicBezTo>
                  <a:pt x="1668671" y="478972"/>
                  <a:pt x="1654582" y="478972"/>
                  <a:pt x="1654582" y="478972"/>
                </a:cubicBezTo>
                <a:cubicBezTo>
                  <a:pt x="1640494" y="493059"/>
                  <a:pt x="1626406" y="507147"/>
                  <a:pt x="1598229" y="535321"/>
                </a:cubicBezTo>
                <a:cubicBezTo>
                  <a:pt x="1555965" y="563496"/>
                  <a:pt x="1527788" y="577583"/>
                  <a:pt x="1485523" y="605759"/>
                </a:cubicBezTo>
                <a:cubicBezTo>
                  <a:pt x="1499612" y="605759"/>
                  <a:pt x="1499612" y="605759"/>
                  <a:pt x="1527788" y="591672"/>
                </a:cubicBezTo>
                <a:cubicBezTo>
                  <a:pt x="1541876" y="577583"/>
                  <a:pt x="1570053" y="549409"/>
                  <a:pt x="1598229" y="535321"/>
                </a:cubicBezTo>
                <a:cubicBezTo>
                  <a:pt x="1612318" y="521234"/>
                  <a:pt x="1640494" y="507147"/>
                  <a:pt x="1668671" y="507147"/>
                </a:cubicBezTo>
                <a:cubicBezTo>
                  <a:pt x="1710935" y="478972"/>
                  <a:pt x="1753200" y="450798"/>
                  <a:pt x="1795464" y="422623"/>
                </a:cubicBezTo>
                <a:cubicBezTo>
                  <a:pt x="1795464" y="408534"/>
                  <a:pt x="1809553" y="408534"/>
                  <a:pt x="1837730" y="394447"/>
                </a:cubicBezTo>
                <a:cubicBezTo>
                  <a:pt x="1865906" y="380360"/>
                  <a:pt x="1894083" y="366272"/>
                  <a:pt x="1922259" y="352185"/>
                </a:cubicBezTo>
                <a:cubicBezTo>
                  <a:pt x="1922259" y="352185"/>
                  <a:pt x="1936347" y="352185"/>
                  <a:pt x="1936347" y="352185"/>
                </a:cubicBezTo>
                <a:cubicBezTo>
                  <a:pt x="1936347" y="352185"/>
                  <a:pt x="1950434" y="338098"/>
                  <a:pt x="1950434" y="338098"/>
                </a:cubicBezTo>
                <a:cubicBezTo>
                  <a:pt x="1964523" y="338098"/>
                  <a:pt x="1964523" y="338098"/>
                  <a:pt x="1978611" y="324010"/>
                </a:cubicBezTo>
                <a:cubicBezTo>
                  <a:pt x="1978611" y="324010"/>
                  <a:pt x="1992700" y="324010"/>
                  <a:pt x="1992700" y="309923"/>
                </a:cubicBezTo>
                <a:cubicBezTo>
                  <a:pt x="2006787" y="309923"/>
                  <a:pt x="2006787" y="309923"/>
                  <a:pt x="1992700" y="324010"/>
                </a:cubicBezTo>
                <a:cubicBezTo>
                  <a:pt x="1992700" y="324010"/>
                  <a:pt x="2006787" y="324010"/>
                  <a:pt x="1978611" y="338098"/>
                </a:cubicBezTo>
                <a:cubicBezTo>
                  <a:pt x="1992700" y="338098"/>
                  <a:pt x="1992700" y="352185"/>
                  <a:pt x="1950434" y="366272"/>
                </a:cubicBezTo>
                <a:cubicBezTo>
                  <a:pt x="1936347" y="373316"/>
                  <a:pt x="1922259" y="376838"/>
                  <a:pt x="1908171" y="380360"/>
                </a:cubicBezTo>
                <a:lnTo>
                  <a:pt x="1908170" y="380360"/>
                </a:lnTo>
                <a:lnTo>
                  <a:pt x="1908169" y="380360"/>
                </a:lnTo>
                <a:lnTo>
                  <a:pt x="1865906" y="394447"/>
                </a:lnTo>
                <a:cubicBezTo>
                  <a:pt x="1865906" y="408534"/>
                  <a:pt x="1837730" y="422623"/>
                  <a:pt x="1809553" y="422623"/>
                </a:cubicBezTo>
                <a:cubicBezTo>
                  <a:pt x="1809553" y="422623"/>
                  <a:pt x="1809553" y="422623"/>
                  <a:pt x="1809553" y="436710"/>
                </a:cubicBezTo>
                <a:cubicBezTo>
                  <a:pt x="1823641" y="422623"/>
                  <a:pt x="1851817" y="422623"/>
                  <a:pt x="1865906" y="408534"/>
                </a:cubicBezTo>
                <a:cubicBezTo>
                  <a:pt x="1872950" y="401491"/>
                  <a:pt x="1879994" y="397969"/>
                  <a:pt x="1887038" y="394447"/>
                </a:cubicBezTo>
                <a:lnTo>
                  <a:pt x="1908169" y="380360"/>
                </a:lnTo>
                <a:lnTo>
                  <a:pt x="1908171" y="380360"/>
                </a:lnTo>
                <a:lnTo>
                  <a:pt x="1915214" y="380360"/>
                </a:lnTo>
                <a:cubicBezTo>
                  <a:pt x="1918737" y="380360"/>
                  <a:pt x="1922259" y="380360"/>
                  <a:pt x="1922259" y="380360"/>
                </a:cubicBezTo>
                <a:cubicBezTo>
                  <a:pt x="1936347" y="380360"/>
                  <a:pt x="1950434" y="366272"/>
                  <a:pt x="1964523" y="366272"/>
                </a:cubicBezTo>
                <a:cubicBezTo>
                  <a:pt x="1922259" y="380360"/>
                  <a:pt x="1894083" y="394447"/>
                  <a:pt x="1865906" y="422623"/>
                </a:cubicBezTo>
                <a:cubicBezTo>
                  <a:pt x="1851817" y="436710"/>
                  <a:pt x="1823641" y="436710"/>
                  <a:pt x="1795464" y="464885"/>
                </a:cubicBezTo>
                <a:cubicBezTo>
                  <a:pt x="1753200" y="478972"/>
                  <a:pt x="1725024" y="507147"/>
                  <a:pt x="1696847" y="535321"/>
                </a:cubicBezTo>
                <a:cubicBezTo>
                  <a:pt x="1654582" y="549409"/>
                  <a:pt x="1626406" y="577583"/>
                  <a:pt x="1626406" y="577583"/>
                </a:cubicBezTo>
                <a:cubicBezTo>
                  <a:pt x="1626406" y="591672"/>
                  <a:pt x="1612318" y="591672"/>
                  <a:pt x="1612318" y="591672"/>
                </a:cubicBezTo>
                <a:cubicBezTo>
                  <a:pt x="1598229" y="605759"/>
                  <a:pt x="1612318" y="591672"/>
                  <a:pt x="1598229" y="591672"/>
                </a:cubicBezTo>
                <a:cubicBezTo>
                  <a:pt x="1584141" y="605759"/>
                  <a:pt x="1570053" y="619846"/>
                  <a:pt x="1555965" y="633934"/>
                </a:cubicBezTo>
                <a:cubicBezTo>
                  <a:pt x="1541876" y="633934"/>
                  <a:pt x="1541876" y="633934"/>
                  <a:pt x="1527788" y="648021"/>
                </a:cubicBezTo>
                <a:cubicBezTo>
                  <a:pt x="1527788" y="648021"/>
                  <a:pt x="1527788" y="662108"/>
                  <a:pt x="1499612" y="676196"/>
                </a:cubicBezTo>
                <a:cubicBezTo>
                  <a:pt x="1485523" y="690283"/>
                  <a:pt x="1471435" y="704370"/>
                  <a:pt x="1457348" y="704370"/>
                </a:cubicBezTo>
                <a:cubicBezTo>
                  <a:pt x="1429170" y="732545"/>
                  <a:pt x="1429170" y="732545"/>
                  <a:pt x="1457348" y="732545"/>
                </a:cubicBezTo>
                <a:cubicBezTo>
                  <a:pt x="1450303" y="732545"/>
                  <a:pt x="1443259" y="736067"/>
                  <a:pt x="1437976" y="741350"/>
                </a:cubicBezTo>
                <a:lnTo>
                  <a:pt x="1432447" y="753512"/>
                </a:lnTo>
                <a:lnTo>
                  <a:pt x="1423888" y="758959"/>
                </a:lnTo>
                <a:cubicBezTo>
                  <a:pt x="1418605" y="760719"/>
                  <a:pt x="1415083" y="760719"/>
                  <a:pt x="1415083" y="760719"/>
                </a:cubicBezTo>
                <a:cubicBezTo>
                  <a:pt x="1415083" y="774808"/>
                  <a:pt x="1415083" y="760719"/>
                  <a:pt x="1429170" y="760719"/>
                </a:cubicBezTo>
                <a:lnTo>
                  <a:pt x="1432447" y="753512"/>
                </a:lnTo>
                <a:lnTo>
                  <a:pt x="1443259" y="746632"/>
                </a:lnTo>
                <a:cubicBezTo>
                  <a:pt x="1443259" y="746632"/>
                  <a:pt x="1457348" y="732545"/>
                  <a:pt x="1471435" y="732545"/>
                </a:cubicBezTo>
                <a:cubicBezTo>
                  <a:pt x="1471435" y="732545"/>
                  <a:pt x="1471435" y="732545"/>
                  <a:pt x="1485523" y="718457"/>
                </a:cubicBezTo>
                <a:cubicBezTo>
                  <a:pt x="1485523" y="704370"/>
                  <a:pt x="1513700" y="690283"/>
                  <a:pt x="1541876" y="676196"/>
                </a:cubicBezTo>
                <a:cubicBezTo>
                  <a:pt x="1555965" y="662108"/>
                  <a:pt x="1570053" y="662108"/>
                  <a:pt x="1570053" y="648021"/>
                </a:cubicBezTo>
                <a:cubicBezTo>
                  <a:pt x="1584141" y="648021"/>
                  <a:pt x="1584141" y="648021"/>
                  <a:pt x="1598229" y="633934"/>
                </a:cubicBezTo>
                <a:cubicBezTo>
                  <a:pt x="1598229" y="648021"/>
                  <a:pt x="1584141" y="648021"/>
                  <a:pt x="1570053" y="662108"/>
                </a:cubicBezTo>
                <a:cubicBezTo>
                  <a:pt x="1541876" y="676196"/>
                  <a:pt x="1541876" y="676196"/>
                  <a:pt x="1541876" y="690283"/>
                </a:cubicBezTo>
                <a:cubicBezTo>
                  <a:pt x="1541876" y="690283"/>
                  <a:pt x="1541876" y="690283"/>
                  <a:pt x="1555965" y="676196"/>
                </a:cubicBezTo>
                <a:cubicBezTo>
                  <a:pt x="1570053" y="676196"/>
                  <a:pt x="1570053" y="676196"/>
                  <a:pt x="1570053" y="676196"/>
                </a:cubicBezTo>
                <a:cubicBezTo>
                  <a:pt x="1570053" y="662108"/>
                  <a:pt x="1584141" y="662108"/>
                  <a:pt x="1598229" y="648021"/>
                </a:cubicBezTo>
                <a:cubicBezTo>
                  <a:pt x="1612318" y="633934"/>
                  <a:pt x="1640494" y="633934"/>
                  <a:pt x="1654582" y="619846"/>
                </a:cubicBezTo>
                <a:cubicBezTo>
                  <a:pt x="1654582" y="619846"/>
                  <a:pt x="1654582" y="605759"/>
                  <a:pt x="1668671" y="605759"/>
                </a:cubicBezTo>
                <a:cubicBezTo>
                  <a:pt x="1682758" y="591672"/>
                  <a:pt x="1682758" y="591672"/>
                  <a:pt x="1696847" y="577583"/>
                </a:cubicBezTo>
                <a:cubicBezTo>
                  <a:pt x="1725024" y="577583"/>
                  <a:pt x="1739111" y="577583"/>
                  <a:pt x="1753200" y="549409"/>
                </a:cubicBezTo>
                <a:cubicBezTo>
                  <a:pt x="1767288" y="549409"/>
                  <a:pt x="1767288" y="549409"/>
                  <a:pt x="1781377" y="535321"/>
                </a:cubicBezTo>
                <a:cubicBezTo>
                  <a:pt x="1823641" y="521234"/>
                  <a:pt x="1823641" y="507147"/>
                  <a:pt x="1837730" y="521234"/>
                </a:cubicBezTo>
                <a:cubicBezTo>
                  <a:pt x="1837730" y="521234"/>
                  <a:pt x="1865906" y="507147"/>
                  <a:pt x="1879994" y="507147"/>
                </a:cubicBezTo>
                <a:cubicBezTo>
                  <a:pt x="1894083" y="493059"/>
                  <a:pt x="1894083" y="493059"/>
                  <a:pt x="1908170" y="493059"/>
                </a:cubicBezTo>
                <a:cubicBezTo>
                  <a:pt x="1908170" y="478972"/>
                  <a:pt x="1922259" y="478972"/>
                  <a:pt x="1936347" y="464885"/>
                </a:cubicBezTo>
                <a:cubicBezTo>
                  <a:pt x="1936347" y="464885"/>
                  <a:pt x="1950434" y="450798"/>
                  <a:pt x="1964523" y="450798"/>
                </a:cubicBezTo>
                <a:cubicBezTo>
                  <a:pt x="1978611" y="450798"/>
                  <a:pt x="1992700" y="436710"/>
                  <a:pt x="2006787" y="436710"/>
                </a:cubicBezTo>
                <a:cubicBezTo>
                  <a:pt x="2034965" y="422623"/>
                  <a:pt x="2034965" y="422623"/>
                  <a:pt x="2063140" y="408534"/>
                </a:cubicBezTo>
                <a:cubicBezTo>
                  <a:pt x="2077229" y="394447"/>
                  <a:pt x="2077229" y="394447"/>
                  <a:pt x="2105405" y="380360"/>
                </a:cubicBezTo>
                <a:cubicBezTo>
                  <a:pt x="2119493" y="380360"/>
                  <a:pt x="2133582" y="366272"/>
                  <a:pt x="2147670" y="366272"/>
                </a:cubicBezTo>
                <a:cubicBezTo>
                  <a:pt x="2175846" y="352185"/>
                  <a:pt x="2175846" y="352185"/>
                  <a:pt x="2204023" y="338098"/>
                </a:cubicBezTo>
                <a:cubicBezTo>
                  <a:pt x="2204023" y="352185"/>
                  <a:pt x="2204023" y="352185"/>
                  <a:pt x="2204023" y="352185"/>
                </a:cubicBezTo>
                <a:cubicBezTo>
                  <a:pt x="2204023" y="352185"/>
                  <a:pt x="2189935" y="352185"/>
                  <a:pt x="2189935" y="352185"/>
                </a:cubicBezTo>
                <a:cubicBezTo>
                  <a:pt x="2189935" y="366272"/>
                  <a:pt x="2189935" y="366272"/>
                  <a:pt x="2189935" y="366272"/>
                </a:cubicBezTo>
                <a:cubicBezTo>
                  <a:pt x="2189935" y="366272"/>
                  <a:pt x="2175846" y="366272"/>
                  <a:pt x="2161758" y="380360"/>
                </a:cubicBezTo>
                <a:cubicBezTo>
                  <a:pt x="2161758" y="380360"/>
                  <a:pt x="2161758" y="380360"/>
                  <a:pt x="2175846" y="380360"/>
                </a:cubicBezTo>
                <a:cubicBezTo>
                  <a:pt x="2218111" y="366272"/>
                  <a:pt x="2260376" y="352185"/>
                  <a:pt x="2288552" y="338098"/>
                </a:cubicBezTo>
                <a:cubicBezTo>
                  <a:pt x="2316729" y="338098"/>
                  <a:pt x="2344905" y="324010"/>
                  <a:pt x="2358994" y="324010"/>
                </a:cubicBezTo>
                <a:cubicBezTo>
                  <a:pt x="2373081" y="309923"/>
                  <a:pt x="2401258" y="295836"/>
                  <a:pt x="2415347" y="295836"/>
                </a:cubicBezTo>
                <a:cubicBezTo>
                  <a:pt x="2443523" y="281749"/>
                  <a:pt x="2485787" y="267661"/>
                  <a:pt x="2528052" y="253574"/>
                </a:cubicBezTo>
                <a:cubicBezTo>
                  <a:pt x="2542140" y="253574"/>
                  <a:pt x="2556228" y="253574"/>
                  <a:pt x="2584406" y="239487"/>
                </a:cubicBezTo>
                <a:cubicBezTo>
                  <a:pt x="2598493" y="239487"/>
                  <a:pt x="2612581" y="239487"/>
                  <a:pt x="2612581" y="239487"/>
                </a:cubicBezTo>
                <a:cubicBezTo>
                  <a:pt x="2654846" y="239487"/>
                  <a:pt x="2640758" y="239487"/>
                  <a:pt x="2640758" y="253574"/>
                </a:cubicBezTo>
                <a:lnTo>
                  <a:pt x="2654846" y="253574"/>
                </a:lnTo>
                <a:cubicBezTo>
                  <a:pt x="2654846" y="267661"/>
                  <a:pt x="2654846" y="267661"/>
                  <a:pt x="2654846" y="281749"/>
                </a:cubicBezTo>
                <a:cubicBezTo>
                  <a:pt x="2626670" y="281749"/>
                  <a:pt x="2598493" y="295836"/>
                  <a:pt x="2598493" y="295836"/>
                </a:cubicBezTo>
                <a:cubicBezTo>
                  <a:pt x="2584406" y="309923"/>
                  <a:pt x="2556228" y="309923"/>
                  <a:pt x="2528052" y="324010"/>
                </a:cubicBezTo>
                <a:cubicBezTo>
                  <a:pt x="2528052" y="324010"/>
                  <a:pt x="2513964" y="324010"/>
                  <a:pt x="2499875" y="338098"/>
                </a:cubicBezTo>
                <a:cubicBezTo>
                  <a:pt x="2499875" y="338098"/>
                  <a:pt x="2485787" y="338098"/>
                  <a:pt x="2471699" y="338098"/>
                </a:cubicBezTo>
                <a:cubicBezTo>
                  <a:pt x="2457611" y="352185"/>
                  <a:pt x="2443523" y="352185"/>
                  <a:pt x="2443523" y="352185"/>
                </a:cubicBezTo>
                <a:cubicBezTo>
                  <a:pt x="2443523" y="352185"/>
                  <a:pt x="2485787" y="352185"/>
                  <a:pt x="2485787" y="352185"/>
                </a:cubicBezTo>
                <a:cubicBezTo>
                  <a:pt x="2457611" y="366272"/>
                  <a:pt x="2415347" y="366272"/>
                  <a:pt x="2387169" y="380360"/>
                </a:cubicBezTo>
                <a:cubicBezTo>
                  <a:pt x="2387169" y="380360"/>
                  <a:pt x="2373081" y="380360"/>
                  <a:pt x="2373081" y="394447"/>
                </a:cubicBezTo>
                <a:cubicBezTo>
                  <a:pt x="2358994" y="394447"/>
                  <a:pt x="2358994" y="394447"/>
                  <a:pt x="2358994" y="394447"/>
                </a:cubicBezTo>
                <a:cubicBezTo>
                  <a:pt x="2358994" y="394447"/>
                  <a:pt x="2358994" y="394447"/>
                  <a:pt x="2344905" y="394447"/>
                </a:cubicBezTo>
                <a:cubicBezTo>
                  <a:pt x="2344905" y="408534"/>
                  <a:pt x="2330816" y="408534"/>
                  <a:pt x="2330816" y="408534"/>
                </a:cubicBezTo>
                <a:cubicBezTo>
                  <a:pt x="2330816" y="408534"/>
                  <a:pt x="2316729" y="422623"/>
                  <a:pt x="2288552" y="422623"/>
                </a:cubicBezTo>
                <a:cubicBezTo>
                  <a:pt x="2302641" y="436710"/>
                  <a:pt x="2302641" y="436710"/>
                  <a:pt x="2344905" y="408534"/>
                </a:cubicBezTo>
                <a:cubicBezTo>
                  <a:pt x="2373081" y="408534"/>
                  <a:pt x="2401258" y="394447"/>
                  <a:pt x="2415347" y="394447"/>
                </a:cubicBezTo>
                <a:cubicBezTo>
                  <a:pt x="2429434" y="394447"/>
                  <a:pt x="2457611" y="394447"/>
                  <a:pt x="2471699" y="380360"/>
                </a:cubicBezTo>
                <a:cubicBezTo>
                  <a:pt x="2471699" y="380360"/>
                  <a:pt x="2485787" y="380360"/>
                  <a:pt x="2485787" y="380360"/>
                </a:cubicBezTo>
                <a:cubicBezTo>
                  <a:pt x="2485787" y="380360"/>
                  <a:pt x="2513964" y="366272"/>
                  <a:pt x="2542140" y="352185"/>
                </a:cubicBezTo>
                <a:cubicBezTo>
                  <a:pt x="2556228" y="352185"/>
                  <a:pt x="2570317" y="352185"/>
                  <a:pt x="2598493" y="338098"/>
                </a:cubicBezTo>
                <a:cubicBezTo>
                  <a:pt x="2612581" y="338098"/>
                  <a:pt x="2626670" y="338098"/>
                  <a:pt x="2654846" y="324010"/>
                </a:cubicBezTo>
                <a:cubicBezTo>
                  <a:pt x="2654846" y="324010"/>
                  <a:pt x="2654846" y="324010"/>
                  <a:pt x="2668934" y="324010"/>
                </a:cubicBezTo>
                <a:cubicBezTo>
                  <a:pt x="2683023" y="324010"/>
                  <a:pt x="2697110" y="324010"/>
                  <a:pt x="2711199" y="309923"/>
                </a:cubicBezTo>
                <a:cubicBezTo>
                  <a:pt x="2711199" y="309923"/>
                  <a:pt x="2711199" y="309923"/>
                  <a:pt x="2725287" y="309923"/>
                </a:cubicBezTo>
                <a:cubicBezTo>
                  <a:pt x="2725287" y="309923"/>
                  <a:pt x="2725287" y="309923"/>
                  <a:pt x="2739374" y="309923"/>
                </a:cubicBezTo>
                <a:cubicBezTo>
                  <a:pt x="2739374" y="309923"/>
                  <a:pt x="2739374" y="295836"/>
                  <a:pt x="2753463" y="295836"/>
                </a:cubicBezTo>
                <a:cubicBezTo>
                  <a:pt x="2795729" y="295836"/>
                  <a:pt x="2823905" y="281749"/>
                  <a:pt x="2866169" y="281749"/>
                </a:cubicBezTo>
                <a:cubicBezTo>
                  <a:pt x="2866169" y="281749"/>
                  <a:pt x="2866169" y="281749"/>
                  <a:pt x="2922522" y="281749"/>
                </a:cubicBezTo>
                <a:cubicBezTo>
                  <a:pt x="2922522" y="267661"/>
                  <a:pt x="2922522" y="267661"/>
                  <a:pt x="2922522" y="267661"/>
                </a:cubicBezTo>
                <a:cubicBezTo>
                  <a:pt x="2936611" y="267661"/>
                  <a:pt x="2936611" y="267661"/>
                  <a:pt x="2936611" y="267661"/>
                </a:cubicBezTo>
                <a:cubicBezTo>
                  <a:pt x="2950699" y="267661"/>
                  <a:pt x="2964786" y="267661"/>
                  <a:pt x="2964786" y="267661"/>
                </a:cubicBezTo>
                <a:cubicBezTo>
                  <a:pt x="2978875" y="267661"/>
                  <a:pt x="2992963" y="267661"/>
                  <a:pt x="3007052" y="267661"/>
                </a:cubicBezTo>
                <a:cubicBezTo>
                  <a:pt x="3021139" y="267661"/>
                  <a:pt x="3035228" y="267661"/>
                  <a:pt x="3035228" y="253574"/>
                </a:cubicBezTo>
                <a:cubicBezTo>
                  <a:pt x="3077492" y="253574"/>
                  <a:pt x="3105669" y="253574"/>
                  <a:pt x="3147934" y="253574"/>
                </a:cubicBezTo>
                <a:cubicBezTo>
                  <a:pt x="3147934" y="253574"/>
                  <a:pt x="3147934" y="239487"/>
                  <a:pt x="3147934" y="239487"/>
                </a:cubicBezTo>
                <a:cubicBezTo>
                  <a:pt x="3162022" y="239487"/>
                  <a:pt x="3176110" y="239487"/>
                  <a:pt x="3190198" y="239487"/>
                </a:cubicBezTo>
                <a:lnTo>
                  <a:pt x="3204287" y="239487"/>
                </a:lnTo>
                <a:cubicBezTo>
                  <a:pt x="3190198" y="253574"/>
                  <a:pt x="3190198" y="253574"/>
                  <a:pt x="3176110" y="253574"/>
                </a:cubicBezTo>
                <a:lnTo>
                  <a:pt x="3188437" y="253574"/>
                </a:lnTo>
                <a:cubicBezTo>
                  <a:pt x="3197242" y="253574"/>
                  <a:pt x="3204287" y="253574"/>
                  <a:pt x="3204287" y="253574"/>
                </a:cubicBezTo>
                <a:cubicBezTo>
                  <a:pt x="3204287" y="253574"/>
                  <a:pt x="3218375" y="253574"/>
                  <a:pt x="3218375" y="253574"/>
                </a:cubicBezTo>
                <a:lnTo>
                  <a:pt x="3232462" y="253574"/>
                </a:lnTo>
                <a:lnTo>
                  <a:pt x="3241268" y="253574"/>
                </a:lnTo>
                <a:cubicBezTo>
                  <a:pt x="3246551" y="253574"/>
                  <a:pt x="3253595" y="253574"/>
                  <a:pt x="3260639" y="253574"/>
                </a:cubicBezTo>
                <a:cubicBezTo>
                  <a:pt x="3288816" y="239487"/>
                  <a:pt x="3316993" y="239487"/>
                  <a:pt x="3331081" y="239487"/>
                </a:cubicBezTo>
                <a:cubicBezTo>
                  <a:pt x="3331081" y="239487"/>
                  <a:pt x="3334603" y="239487"/>
                  <a:pt x="3338125" y="239487"/>
                </a:cubicBezTo>
                <a:lnTo>
                  <a:pt x="3339445" y="239487"/>
                </a:lnTo>
                <a:lnTo>
                  <a:pt x="3341646" y="239487"/>
                </a:lnTo>
                <a:lnTo>
                  <a:pt x="3345168" y="239487"/>
                </a:lnTo>
                <a:lnTo>
                  <a:pt x="3359257" y="239487"/>
                </a:lnTo>
                <a:cubicBezTo>
                  <a:pt x="3373345" y="239487"/>
                  <a:pt x="3373345" y="239487"/>
                  <a:pt x="3373345" y="239487"/>
                </a:cubicBezTo>
                <a:cubicBezTo>
                  <a:pt x="3359257" y="253574"/>
                  <a:pt x="3359257" y="253574"/>
                  <a:pt x="3373345" y="253574"/>
                </a:cubicBezTo>
                <a:lnTo>
                  <a:pt x="3401521" y="253574"/>
                </a:lnTo>
                <a:lnTo>
                  <a:pt x="3406805" y="253574"/>
                </a:lnTo>
                <a:lnTo>
                  <a:pt x="3420893" y="253574"/>
                </a:lnTo>
                <a:lnTo>
                  <a:pt x="3429699" y="253574"/>
                </a:lnTo>
                <a:cubicBezTo>
                  <a:pt x="3433220" y="253574"/>
                  <a:pt x="3433220" y="253574"/>
                  <a:pt x="3431239" y="253574"/>
                </a:cubicBezTo>
                <a:lnTo>
                  <a:pt x="3457874" y="253574"/>
                </a:lnTo>
                <a:cubicBezTo>
                  <a:pt x="3464918" y="253574"/>
                  <a:pt x="3475485" y="253574"/>
                  <a:pt x="3486050" y="253574"/>
                </a:cubicBezTo>
                <a:cubicBezTo>
                  <a:pt x="3496617" y="253574"/>
                  <a:pt x="3507183" y="253574"/>
                  <a:pt x="3514227" y="253574"/>
                </a:cubicBezTo>
                <a:cubicBezTo>
                  <a:pt x="3528316" y="253574"/>
                  <a:pt x="3528316" y="253574"/>
                  <a:pt x="3542404" y="253574"/>
                </a:cubicBezTo>
                <a:cubicBezTo>
                  <a:pt x="3556492" y="253574"/>
                  <a:pt x="3542404" y="253574"/>
                  <a:pt x="3556492" y="239487"/>
                </a:cubicBezTo>
                <a:cubicBezTo>
                  <a:pt x="3570580" y="253574"/>
                  <a:pt x="3570580" y="253574"/>
                  <a:pt x="3584669" y="253574"/>
                </a:cubicBezTo>
                <a:cubicBezTo>
                  <a:pt x="3584669" y="253574"/>
                  <a:pt x="3584669" y="253574"/>
                  <a:pt x="3598756" y="253574"/>
                </a:cubicBezTo>
                <a:cubicBezTo>
                  <a:pt x="3598756" y="253574"/>
                  <a:pt x="3598756" y="253574"/>
                  <a:pt x="3600517" y="253574"/>
                </a:cubicBezTo>
                <a:lnTo>
                  <a:pt x="3611950" y="253574"/>
                </a:lnTo>
                <a:cubicBezTo>
                  <a:pt x="3611950" y="239487"/>
                  <a:pt x="3640126" y="239487"/>
                  <a:pt x="3654214" y="225398"/>
                </a:cubicBezTo>
                <a:cubicBezTo>
                  <a:pt x="3682390" y="225398"/>
                  <a:pt x="3696479" y="211311"/>
                  <a:pt x="3710567" y="197224"/>
                </a:cubicBezTo>
                <a:cubicBezTo>
                  <a:pt x="3752832" y="183136"/>
                  <a:pt x="3809185" y="169049"/>
                  <a:pt x="3851449" y="140874"/>
                </a:cubicBezTo>
                <a:cubicBezTo>
                  <a:pt x="3879626" y="126787"/>
                  <a:pt x="3907802" y="126787"/>
                  <a:pt x="3935979" y="112700"/>
                </a:cubicBezTo>
                <a:cubicBezTo>
                  <a:pt x="3964155" y="98612"/>
                  <a:pt x="3992331" y="84525"/>
                  <a:pt x="4034596" y="84525"/>
                </a:cubicBezTo>
                <a:cubicBezTo>
                  <a:pt x="4048684" y="84525"/>
                  <a:pt x="4048684" y="70438"/>
                  <a:pt x="4048684" y="70438"/>
                </a:cubicBezTo>
                <a:cubicBezTo>
                  <a:pt x="4062772" y="70438"/>
                  <a:pt x="4062772" y="70438"/>
                  <a:pt x="4076861" y="70438"/>
                </a:cubicBezTo>
                <a:cubicBezTo>
                  <a:pt x="4147302" y="56349"/>
                  <a:pt x="4217743" y="28175"/>
                  <a:pt x="4288184" y="14087"/>
                </a:cubicBezTo>
                <a:cubicBezTo>
                  <a:pt x="4302273" y="14087"/>
                  <a:pt x="4316360" y="14087"/>
                  <a:pt x="4330449" y="14087"/>
                </a:cubicBezTo>
                <a:cubicBezTo>
                  <a:pt x="4372713" y="0"/>
                  <a:pt x="4400890" y="0"/>
                  <a:pt x="4400890" y="0"/>
                </a:cubicBezTo>
                <a:cubicBezTo>
                  <a:pt x="4400890" y="14087"/>
                  <a:pt x="4400890" y="14087"/>
                  <a:pt x="4400890" y="14087"/>
                </a:cubicBezTo>
                <a:cubicBezTo>
                  <a:pt x="4400890" y="14087"/>
                  <a:pt x="4400890" y="14087"/>
                  <a:pt x="4386801" y="14087"/>
                </a:cubicBezTo>
                <a:cubicBezTo>
                  <a:pt x="4386801" y="14087"/>
                  <a:pt x="4372713" y="28175"/>
                  <a:pt x="4358624" y="28175"/>
                </a:cubicBezTo>
                <a:cubicBezTo>
                  <a:pt x="4358624" y="28175"/>
                  <a:pt x="4344537" y="28175"/>
                  <a:pt x="4344537" y="28175"/>
                </a:cubicBezTo>
                <a:cubicBezTo>
                  <a:pt x="4330449" y="42262"/>
                  <a:pt x="4274096" y="56349"/>
                  <a:pt x="4231831" y="70438"/>
                </a:cubicBezTo>
                <a:cubicBezTo>
                  <a:pt x="4203655" y="70438"/>
                  <a:pt x="4189567" y="84525"/>
                  <a:pt x="4161390" y="84525"/>
                </a:cubicBezTo>
                <a:cubicBezTo>
                  <a:pt x="4147302" y="84525"/>
                  <a:pt x="4147302" y="84525"/>
                  <a:pt x="4133214" y="98612"/>
                </a:cubicBezTo>
                <a:cubicBezTo>
                  <a:pt x="4090949" y="112700"/>
                  <a:pt x="4048684" y="112700"/>
                  <a:pt x="4006419" y="126787"/>
                </a:cubicBezTo>
                <a:cubicBezTo>
                  <a:pt x="4006419" y="140874"/>
                  <a:pt x="3992331" y="140874"/>
                  <a:pt x="3978244" y="140874"/>
                </a:cubicBezTo>
                <a:cubicBezTo>
                  <a:pt x="3964155" y="140874"/>
                  <a:pt x="3964155" y="140874"/>
                  <a:pt x="3964155" y="140874"/>
                </a:cubicBezTo>
                <a:cubicBezTo>
                  <a:pt x="3950066" y="154962"/>
                  <a:pt x="3921891" y="169049"/>
                  <a:pt x="3921891" y="169049"/>
                </a:cubicBezTo>
                <a:cubicBezTo>
                  <a:pt x="3907802" y="169049"/>
                  <a:pt x="3893713" y="183136"/>
                  <a:pt x="3893713" y="183136"/>
                </a:cubicBezTo>
                <a:cubicBezTo>
                  <a:pt x="3879626" y="183136"/>
                  <a:pt x="3879626" y="183136"/>
                  <a:pt x="3879626" y="183136"/>
                </a:cubicBezTo>
                <a:cubicBezTo>
                  <a:pt x="3851449" y="197224"/>
                  <a:pt x="3837361" y="211311"/>
                  <a:pt x="3795096" y="225398"/>
                </a:cubicBezTo>
                <a:cubicBezTo>
                  <a:pt x="3766920" y="225398"/>
                  <a:pt x="3738743" y="239487"/>
                  <a:pt x="3710567" y="253574"/>
                </a:cubicBezTo>
                <a:cubicBezTo>
                  <a:pt x="3710567" y="253574"/>
                  <a:pt x="3710567" y="253574"/>
                  <a:pt x="3696479" y="253574"/>
                </a:cubicBezTo>
                <a:lnTo>
                  <a:pt x="3691453" y="256087"/>
                </a:lnTo>
                <a:lnTo>
                  <a:pt x="3706180" y="260618"/>
                </a:lnTo>
                <a:cubicBezTo>
                  <a:pt x="3714985" y="264140"/>
                  <a:pt x="3725551" y="267661"/>
                  <a:pt x="3739639" y="267661"/>
                </a:cubicBezTo>
                <a:lnTo>
                  <a:pt x="3743161" y="267661"/>
                </a:lnTo>
                <a:cubicBezTo>
                  <a:pt x="3750205" y="267661"/>
                  <a:pt x="3760771" y="267661"/>
                  <a:pt x="3767815" y="267661"/>
                </a:cubicBezTo>
                <a:cubicBezTo>
                  <a:pt x="3810079" y="267661"/>
                  <a:pt x="3866432" y="281749"/>
                  <a:pt x="3908697" y="281749"/>
                </a:cubicBezTo>
                <a:cubicBezTo>
                  <a:pt x="3929829" y="288792"/>
                  <a:pt x="3947440" y="292314"/>
                  <a:pt x="3965050" y="295836"/>
                </a:cubicBezTo>
                <a:lnTo>
                  <a:pt x="4004780" y="305768"/>
                </a:lnTo>
                <a:lnTo>
                  <a:pt x="4006420" y="304641"/>
                </a:lnTo>
                <a:cubicBezTo>
                  <a:pt x="4016986" y="299358"/>
                  <a:pt x="4027552" y="295836"/>
                  <a:pt x="4034596" y="295836"/>
                </a:cubicBezTo>
                <a:cubicBezTo>
                  <a:pt x="4062772" y="281749"/>
                  <a:pt x="4105037" y="267661"/>
                  <a:pt x="4147302" y="253574"/>
                </a:cubicBezTo>
                <a:cubicBezTo>
                  <a:pt x="4161390" y="253574"/>
                  <a:pt x="4175478" y="253574"/>
                  <a:pt x="4203655" y="239487"/>
                </a:cubicBezTo>
                <a:cubicBezTo>
                  <a:pt x="4217743" y="239487"/>
                  <a:pt x="4231831" y="239487"/>
                  <a:pt x="4231831" y="239487"/>
                </a:cubicBezTo>
                <a:cubicBezTo>
                  <a:pt x="4274096" y="239487"/>
                  <a:pt x="4260008" y="239487"/>
                  <a:pt x="4260008" y="253574"/>
                </a:cubicBezTo>
                <a:lnTo>
                  <a:pt x="4274096" y="253574"/>
                </a:lnTo>
                <a:cubicBezTo>
                  <a:pt x="4274096" y="267661"/>
                  <a:pt x="4274096" y="267661"/>
                  <a:pt x="4274096" y="281749"/>
                </a:cubicBezTo>
                <a:cubicBezTo>
                  <a:pt x="4245920" y="281749"/>
                  <a:pt x="4217743" y="295836"/>
                  <a:pt x="4217743" y="295836"/>
                </a:cubicBezTo>
                <a:cubicBezTo>
                  <a:pt x="4203655" y="309923"/>
                  <a:pt x="4175478" y="309923"/>
                  <a:pt x="4147302" y="324010"/>
                </a:cubicBezTo>
                <a:cubicBezTo>
                  <a:pt x="4147302" y="324010"/>
                  <a:pt x="4143780" y="324010"/>
                  <a:pt x="4138497" y="325771"/>
                </a:cubicBezTo>
                <a:lnTo>
                  <a:pt x="4134519" y="328303"/>
                </a:lnTo>
                <a:lnTo>
                  <a:pt x="4176373" y="338098"/>
                </a:lnTo>
                <a:cubicBezTo>
                  <a:pt x="4186939" y="338098"/>
                  <a:pt x="4189581" y="338098"/>
                  <a:pt x="4202128" y="338098"/>
                </a:cubicBezTo>
                <a:lnTo>
                  <a:pt x="4217743" y="338098"/>
                </a:lnTo>
                <a:cubicBezTo>
                  <a:pt x="4231831" y="338098"/>
                  <a:pt x="4245920" y="338098"/>
                  <a:pt x="4274096" y="324010"/>
                </a:cubicBezTo>
                <a:cubicBezTo>
                  <a:pt x="4274096" y="324010"/>
                  <a:pt x="4274096" y="324010"/>
                  <a:pt x="4288184" y="324010"/>
                </a:cubicBezTo>
                <a:cubicBezTo>
                  <a:pt x="4302273" y="324010"/>
                  <a:pt x="4316360" y="324010"/>
                  <a:pt x="4330449" y="309923"/>
                </a:cubicBezTo>
                <a:cubicBezTo>
                  <a:pt x="4330449" y="309923"/>
                  <a:pt x="4330449" y="309923"/>
                  <a:pt x="4344537" y="309923"/>
                </a:cubicBezTo>
                <a:cubicBezTo>
                  <a:pt x="4344537" y="309923"/>
                  <a:pt x="4344537" y="309923"/>
                  <a:pt x="4358624" y="309923"/>
                </a:cubicBezTo>
                <a:cubicBezTo>
                  <a:pt x="4358624" y="309923"/>
                  <a:pt x="4358624" y="295836"/>
                  <a:pt x="4372713" y="295836"/>
                </a:cubicBezTo>
                <a:cubicBezTo>
                  <a:pt x="4414979" y="295836"/>
                  <a:pt x="4443154" y="281749"/>
                  <a:pt x="4485419" y="281749"/>
                </a:cubicBezTo>
                <a:cubicBezTo>
                  <a:pt x="4485419" y="281749"/>
                  <a:pt x="4485419" y="281749"/>
                  <a:pt x="4541772" y="281749"/>
                </a:cubicBezTo>
                <a:cubicBezTo>
                  <a:pt x="4541772" y="267661"/>
                  <a:pt x="4541772" y="267661"/>
                  <a:pt x="4541772" y="267661"/>
                </a:cubicBezTo>
                <a:cubicBezTo>
                  <a:pt x="4555860" y="267661"/>
                  <a:pt x="4555860" y="267661"/>
                  <a:pt x="4555860" y="267661"/>
                </a:cubicBezTo>
                <a:cubicBezTo>
                  <a:pt x="4569949" y="267661"/>
                  <a:pt x="4584036" y="267661"/>
                  <a:pt x="4584036" y="267661"/>
                </a:cubicBezTo>
                <a:cubicBezTo>
                  <a:pt x="4598125" y="267661"/>
                  <a:pt x="4612213" y="267661"/>
                  <a:pt x="4626302" y="267661"/>
                </a:cubicBezTo>
                <a:cubicBezTo>
                  <a:pt x="4640389" y="267661"/>
                  <a:pt x="4654478" y="267661"/>
                  <a:pt x="4654478" y="253574"/>
                </a:cubicBezTo>
                <a:cubicBezTo>
                  <a:pt x="4696742" y="253574"/>
                  <a:pt x="4724919" y="253574"/>
                  <a:pt x="4767184" y="253574"/>
                </a:cubicBezTo>
                <a:cubicBezTo>
                  <a:pt x="4767184" y="253574"/>
                  <a:pt x="4767184" y="239487"/>
                  <a:pt x="4767184" y="239487"/>
                </a:cubicBezTo>
                <a:cubicBezTo>
                  <a:pt x="4781272" y="239487"/>
                  <a:pt x="4795359" y="239487"/>
                  <a:pt x="4809448" y="239487"/>
                </a:cubicBezTo>
                <a:lnTo>
                  <a:pt x="4823537" y="239487"/>
                </a:lnTo>
                <a:cubicBezTo>
                  <a:pt x="4809448" y="253574"/>
                  <a:pt x="4809448" y="253574"/>
                  <a:pt x="4795359" y="253574"/>
                </a:cubicBezTo>
                <a:lnTo>
                  <a:pt x="4807686" y="253574"/>
                </a:lnTo>
                <a:cubicBezTo>
                  <a:pt x="4816492" y="253574"/>
                  <a:pt x="4823537" y="253574"/>
                  <a:pt x="4823537" y="253574"/>
                </a:cubicBezTo>
                <a:cubicBezTo>
                  <a:pt x="4823537" y="253574"/>
                  <a:pt x="4837625" y="253574"/>
                  <a:pt x="4837625" y="253574"/>
                </a:cubicBezTo>
                <a:lnTo>
                  <a:pt x="4851712" y="253574"/>
                </a:lnTo>
                <a:lnTo>
                  <a:pt x="4860518" y="253574"/>
                </a:lnTo>
                <a:cubicBezTo>
                  <a:pt x="4865801" y="253574"/>
                  <a:pt x="4872845" y="253574"/>
                  <a:pt x="4879889" y="253574"/>
                </a:cubicBezTo>
                <a:cubicBezTo>
                  <a:pt x="4908065" y="239487"/>
                  <a:pt x="4936242" y="239487"/>
                  <a:pt x="4950331" y="239487"/>
                </a:cubicBezTo>
                <a:cubicBezTo>
                  <a:pt x="4950331" y="239487"/>
                  <a:pt x="4953853" y="239487"/>
                  <a:pt x="4957375" y="239487"/>
                </a:cubicBezTo>
                <a:lnTo>
                  <a:pt x="4958695" y="239487"/>
                </a:lnTo>
                <a:lnTo>
                  <a:pt x="4960896" y="239487"/>
                </a:lnTo>
                <a:lnTo>
                  <a:pt x="4964418" y="239487"/>
                </a:lnTo>
                <a:lnTo>
                  <a:pt x="4978507" y="239487"/>
                </a:lnTo>
                <a:cubicBezTo>
                  <a:pt x="4992595" y="239487"/>
                  <a:pt x="4992595" y="239487"/>
                  <a:pt x="4992595" y="239487"/>
                </a:cubicBezTo>
                <a:cubicBezTo>
                  <a:pt x="4978507" y="253574"/>
                  <a:pt x="4978507" y="253574"/>
                  <a:pt x="4992595" y="253574"/>
                </a:cubicBezTo>
                <a:lnTo>
                  <a:pt x="5020771" y="253574"/>
                </a:lnTo>
                <a:lnTo>
                  <a:pt x="5026055" y="253574"/>
                </a:lnTo>
                <a:lnTo>
                  <a:pt x="5040143" y="253574"/>
                </a:lnTo>
                <a:lnTo>
                  <a:pt x="5048948" y="253574"/>
                </a:lnTo>
                <a:cubicBezTo>
                  <a:pt x="5052470" y="253574"/>
                  <a:pt x="5052470" y="253574"/>
                  <a:pt x="5050489" y="253574"/>
                </a:cubicBezTo>
                <a:lnTo>
                  <a:pt x="5077124" y="253574"/>
                </a:lnTo>
                <a:cubicBezTo>
                  <a:pt x="5084168" y="253574"/>
                  <a:pt x="5094735" y="253574"/>
                  <a:pt x="5105300" y="253574"/>
                </a:cubicBezTo>
                <a:cubicBezTo>
                  <a:pt x="5115867" y="253574"/>
                  <a:pt x="5126433" y="253574"/>
                  <a:pt x="5133477" y="253574"/>
                </a:cubicBezTo>
                <a:cubicBezTo>
                  <a:pt x="5147566" y="253574"/>
                  <a:pt x="5147566" y="253574"/>
                  <a:pt x="5161654" y="253574"/>
                </a:cubicBezTo>
                <a:cubicBezTo>
                  <a:pt x="5175742" y="253574"/>
                  <a:pt x="5161654" y="253574"/>
                  <a:pt x="5175742" y="239487"/>
                </a:cubicBezTo>
                <a:cubicBezTo>
                  <a:pt x="5189830" y="253574"/>
                  <a:pt x="5189830" y="253574"/>
                  <a:pt x="5203919" y="253574"/>
                </a:cubicBezTo>
                <a:cubicBezTo>
                  <a:pt x="5203919" y="253574"/>
                  <a:pt x="5203919" y="253574"/>
                  <a:pt x="5218006" y="253574"/>
                </a:cubicBezTo>
                <a:cubicBezTo>
                  <a:pt x="5218006" y="253574"/>
                  <a:pt x="5218006" y="253574"/>
                  <a:pt x="5232094" y="253574"/>
                </a:cubicBezTo>
                <a:cubicBezTo>
                  <a:pt x="5232094" y="253574"/>
                  <a:pt x="5232094" y="253574"/>
                  <a:pt x="5246183" y="253574"/>
                </a:cubicBezTo>
                <a:cubicBezTo>
                  <a:pt x="5246183" y="253574"/>
                  <a:pt x="5246183" y="253574"/>
                  <a:pt x="5260270" y="253574"/>
                </a:cubicBezTo>
                <a:cubicBezTo>
                  <a:pt x="5274359" y="253574"/>
                  <a:pt x="5274359" y="253574"/>
                  <a:pt x="5302536" y="267661"/>
                </a:cubicBezTo>
                <a:cubicBezTo>
                  <a:pt x="5316625" y="267661"/>
                  <a:pt x="5316625" y="267661"/>
                  <a:pt x="5316625" y="267661"/>
                </a:cubicBezTo>
                <a:cubicBezTo>
                  <a:pt x="5316625" y="267661"/>
                  <a:pt x="5302536" y="267661"/>
                  <a:pt x="5302536" y="253574"/>
                </a:cubicBezTo>
                <a:cubicBezTo>
                  <a:pt x="5316625" y="253574"/>
                  <a:pt x="5330712" y="267661"/>
                  <a:pt x="5358889" y="267661"/>
                </a:cubicBezTo>
                <a:lnTo>
                  <a:pt x="5362410" y="267661"/>
                </a:lnTo>
                <a:cubicBezTo>
                  <a:pt x="5369455" y="267661"/>
                  <a:pt x="5380021" y="267661"/>
                  <a:pt x="5387065" y="267661"/>
                </a:cubicBezTo>
                <a:cubicBezTo>
                  <a:pt x="5429329" y="267661"/>
                  <a:pt x="5485682" y="281749"/>
                  <a:pt x="5527947" y="281749"/>
                </a:cubicBezTo>
                <a:cubicBezTo>
                  <a:pt x="5570212" y="295836"/>
                  <a:pt x="5598388" y="295836"/>
                  <a:pt x="5640652" y="309923"/>
                </a:cubicBezTo>
                <a:cubicBezTo>
                  <a:pt x="5612477" y="309923"/>
                  <a:pt x="5570212" y="309923"/>
                  <a:pt x="5542035" y="295836"/>
                </a:cubicBezTo>
                <a:cubicBezTo>
                  <a:pt x="5542035" y="295836"/>
                  <a:pt x="5527947" y="295836"/>
                  <a:pt x="5527947" y="295836"/>
                </a:cubicBezTo>
                <a:cubicBezTo>
                  <a:pt x="5513859" y="295836"/>
                  <a:pt x="5499771" y="295836"/>
                  <a:pt x="5499771" y="295836"/>
                </a:cubicBezTo>
                <a:cubicBezTo>
                  <a:pt x="5485682" y="295836"/>
                  <a:pt x="5457506" y="281749"/>
                  <a:pt x="5443418" y="281749"/>
                </a:cubicBezTo>
                <a:cubicBezTo>
                  <a:pt x="5429329" y="281749"/>
                  <a:pt x="5429329" y="281749"/>
                  <a:pt x="5415242" y="281749"/>
                </a:cubicBezTo>
                <a:cubicBezTo>
                  <a:pt x="5387065" y="281749"/>
                  <a:pt x="5344800" y="281749"/>
                  <a:pt x="5316625" y="281749"/>
                </a:cubicBezTo>
                <a:cubicBezTo>
                  <a:pt x="5316625" y="267661"/>
                  <a:pt x="5302536" y="267661"/>
                  <a:pt x="5288447" y="267661"/>
                </a:cubicBezTo>
                <a:cubicBezTo>
                  <a:pt x="5274359" y="267661"/>
                  <a:pt x="5260270" y="267661"/>
                  <a:pt x="5232094" y="267661"/>
                </a:cubicBezTo>
                <a:cubicBezTo>
                  <a:pt x="5232094" y="267661"/>
                  <a:pt x="5232094" y="267661"/>
                  <a:pt x="5230333" y="267661"/>
                </a:cubicBezTo>
                <a:lnTo>
                  <a:pt x="5228573" y="267661"/>
                </a:lnTo>
                <a:cubicBezTo>
                  <a:pt x="5228573" y="267661"/>
                  <a:pt x="5225051" y="267661"/>
                  <a:pt x="5218006" y="267661"/>
                </a:cubicBezTo>
                <a:cubicBezTo>
                  <a:pt x="5203919" y="267661"/>
                  <a:pt x="5189830" y="267661"/>
                  <a:pt x="5189830" y="267661"/>
                </a:cubicBezTo>
                <a:cubicBezTo>
                  <a:pt x="5161654" y="267661"/>
                  <a:pt x="5133477" y="267661"/>
                  <a:pt x="5119389" y="267661"/>
                </a:cubicBezTo>
                <a:cubicBezTo>
                  <a:pt x="5119389" y="267661"/>
                  <a:pt x="5105300" y="267661"/>
                  <a:pt x="5091213" y="267661"/>
                </a:cubicBezTo>
                <a:cubicBezTo>
                  <a:pt x="5091213" y="267661"/>
                  <a:pt x="5091213" y="267661"/>
                  <a:pt x="5077124" y="267661"/>
                </a:cubicBezTo>
                <a:cubicBezTo>
                  <a:pt x="5048948" y="267661"/>
                  <a:pt x="5034860" y="267661"/>
                  <a:pt x="5006683" y="281749"/>
                </a:cubicBezTo>
                <a:cubicBezTo>
                  <a:pt x="4992595" y="281749"/>
                  <a:pt x="4978507" y="281749"/>
                  <a:pt x="4964418" y="267661"/>
                </a:cubicBezTo>
                <a:cubicBezTo>
                  <a:pt x="4964418" y="267661"/>
                  <a:pt x="4964418" y="267661"/>
                  <a:pt x="4950331" y="267661"/>
                </a:cubicBezTo>
                <a:cubicBezTo>
                  <a:pt x="4936242" y="267661"/>
                  <a:pt x="4908065" y="267661"/>
                  <a:pt x="4893978" y="281749"/>
                </a:cubicBezTo>
                <a:cubicBezTo>
                  <a:pt x="4879889" y="281749"/>
                  <a:pt x="4851712" y="281749"/>
                  <a:pt x="4837625" y="281749"/>
                </a:cubicBezTo>
                <a:cubicBezTo>
                  <a:pt x="4823537" y="281749"/>
                  <a:pt x="4823537" y="281749"/>
                  <a:pt x="4823537" y="281749"/>
                </a:cubicBezTo>
                <a:cubicBezTo>
                  <a:pt x="4823537" y="281749"/>
                  <a:pt x="4823537" y="281749"/>
                  <a:pt x="4809448" y="281749"/>
                </a:cubicBezTo>
                <a:cubicBezTo>
                  <a:pt x="4781272" y="281749"/>
                  <a:pt x="4795359" y="295836"/>
                  <a:pt x="4809448" y="295836"/>
                </a:cubicBezTo>
                <a:cubicBezTo>
                  <a:pt x="4809448" y="295836"/>
                  <a:pt x="4795359" y="295836"/>
                  <a:pt x="4781272" y="295836"/>
                </a:cubicBezTo>
                <a:cubicBezTo>
                  <a:pt x="4753095" y="295836"/>
                  <a:pt x="4739006" y="295836"/>
                  <a:pt x="4710831" y="295836"/>
                </a:cubicBezTo>
                <a:cubicBezTo>
                  <a:pt x="4682655" y="295836"/>
                  <a:pt x="4654478" y="295836"/>
                  <a:pt x="4626302" y="295836"/>
                </a:cubicBezTo>
                <a:cubicBezTo>
                  <a:pt x="4626302" y="295836"/>
                  <a:pt x="4626302" y="309923"/>
                  <a:pt x="4626302" y="309923"/>
                </a:cubicBezTo>
                <a:lnTo>
                  <a:pt x="4640389" y="309923"/>
                </a:lnTo>
                <a:cubicBezTo>
                  <a:pt x="4668566" y="309923"/>
                  <a:pt x="4682655" y="309923"/>
                  <a:pt x="4696742" y="309923"/>
                </a:cubicBezTo>
                <a:cubicBezTo>
                  <a:pt x="4724919" y="309923"/>
                  <a:pt x="4739006" y="309923"/>
                  <a:pt x="4753095" y="309923"/>
                </a:cubicBezTo>
                <a:cubicBezTo>
                  <a:pt x="4767184" y="309923"/>
                  <a:pt x="4767184" y="309923"/>
                  <a:pt x="4767184" y="309923"/>
                </a:cubicBezTo>
                <a:cubicBezTo>
                  <a:pt x="4795359" y="295836"/>
                  <a:pt x="4823537" y="309923"/>
                  <a:pt x="4851712" y="295836"/>
                </a:cubicBezTo>
                <a:cubicBezTo>
                  <a:pt x="4865801" y="295836"/>
                  <a:pt x="4879889" y="295836"/>
                  <a:pt x="4893978" y="295836"/>
                </a:cubicBezTo>
                <a:cubicBezTo>
                  <a:pt x="4908065" y="295836"/>
                  <a:pt x="4922154" y="295836"/>
                  <a:pt x="4922154" y="295836"/>
                </a:cubicBezTo>
                <a:cubicBezTo>
                  <a:pt x="4936242" y="295836"/>
                  <a:pt x="4936242" y="295836"/>
                  <a:pt x="4964418" y="295836"/>
                </a:cubicBezTo>
                <a:cubicBezTo>
                  <a:pt x="4978507" y="295836"/>
                  <a:pt x="5006683" y="295836"/>
                  <a:pt x="5034860" y="295836"/>
                </a:cubicBezTo>
                <a:cubicBezTo>
                  <a:pt x="5063036" y="295836"/>
                  <a:pt x="5091213" y="281749"/>
                  <a:pt x="5147566" y="295836"/>
                </a:cubicBezTo>
                <a:cubicBezTo>
                  <a:pt x="5161654" y="295836"/>
                  <a:pt x="5189830" y="295836"/>
                  <a:pt x="5189830" y="309923"/>
                </a:cubicBezTo>
                <a:cubicBezTo>
                  <a:pt x="5189830" y="309923"/>
                  <a:pt x="5189830" y="309923"/>
                  <a:pt x="5175742" y="309923"/>
                </a:cubicBezTo>
                <a:cubicBezTo>
                  <a:pt x="5175742" y="309923"/>
                  <a:pt x="5161654" y="309923"/>
                  <a:pt x="5147566" y="309923"/>
                </a:cubicBezTo>
                <a:cubicBezTo>
                  <a:pt x="5119389" y="295836"/>
                  <a:pt x="5105300" y="309923"/>
                  <a:pt x="5077124" y="309923"/>
                </a:cubicBezTo>
                <a:cubicBezTo>
                  <a:pt x="5063036" y="309923"/>
                  <a:pt x="5020771" y="309923"/>
                  <a:pt x="4992595" y="309923"/>
                </a:cubicBezTo>
                <a:cubicBezTo>
                  <a:pt x="4964418" y="309923"/>
                  <a:pt x="4950331" y="309923"/>
                  <a:pt x="4936242" y="309923"/>
                </a:cubicBezTo>
                <a:cubicBezTo>
                  <a:pt x="4936242" y="324010"/>
                  <a:pt x="4922154" y="324010"/>
                  <a:pt x="4908065" y="324010"/>
                </a:cubicBezTo>
                <a:cubicBezTo>
                  <a:pt x="4908065" y="324010"/>
                  <a:pt x="4893978" y="324010"/>
                  <a:pt x="4879889" y="324010"/>
                </a:cubicBezTo>
                <a:cubicBezTo>
                  <a:pt x="4879889" y="324010"/>
                  <a:pt x="4879889" y="324010"/>
                  <a:pt x="4865801" y="324010"/>
                </a:cubicBezTo>
                <a:cubicBezTo>
                  <a:pt x="4851712" y="324010"/>
                  <a:pt x="4851712" y="309923"/>
                  <a:pt x="4809448" y="324010"/>
                </a:cubicBezTo>
                <a:cubicBezTo>
                  <a:pt x="4795359" y="324010"/>
                  <a:pt x="4795359" y="324010"/>
                  <a:pt x="4795359" y="324010"/>
                </a:cubicBezTo>
                <a:cubicBezTo>
                  <a:pt x="4781272" y="324010"/>
                  <a:pt x="4781272" y="324010"/>
                  <a:pt x="4781272" y="324010"/>
                </a:cubicBezTo>
                <a:cubicBezTo>
                  <a:pt x="4767184" y="338098"/>
                  <a:pt x="4739006" y="338098"/>
                  <a:pt x="4724919" y="338098"/>
                </a:cubicBezTo>
                <a:cubicBezTo>
                  <a:pt x="4724919" y="338098"/>
                  <a:pt x="4710831" y="338098"/>
                  <a:pt x="4710831" y="338098"/>
                </a:cubicBezTo>
                <a:cubicBezTo>
                  <a:pt x="4696742" y="338098"/>
                  <a:pt x="4682655" y="338098"/>
                  <a:pt x="4654478" y="338098"/>
                </a:cubicBezTo>
                <a:cubicBezTo>
                  <a:pt x="4626302" y="338098"/>
                  <a:pt x="4612213" y="338098"/>
                  <a:pt x="4584036" y="352185"/>
                </a:cubicBezTo>
                <a:cubicBezTo>
                  <a:pt x="4569949" y="352185"/>
                  <a:pt x="4569949" y="352185"/>
                  <a:pt x="4569949" y="352185"/>
                </a:cubicBezTo>
                <a:cubicBezTo>
                  <a:pt x="4569949" y="352185"/>
                  <a:pt x="4555860" y="366272"/>
                  <a:pt x="4527683" y="366272"/>
                </a:cubicBezTo>
                <a:cubicBezTo>
                  <a:pt x="4527683" y="366272"/>
                  <a:pt x="4513595" y="366272"/>
                  <a:pt x="4513595" y="366272"/>
                </a:cubicBezTo>
                <a:cubicBezTo>
                  <a:pt x="4513595" y="366272"/>
                  <a:pt x="4499507" y="366272"/>
                  <a:pt x="4499507" y="366272"/>
                </a:cubicBezTo>
                <a:cubicBezTo>
                  <a:pt x="4485419" y="366272"/>
                  <a:pt x="4485419" y="366272"/>
                  <a:pt x="4485419" y="366272"/>
                </a:cubicBezTo>
                <a:cubicBezTo>
                  <a:pt x="4471330" y="366272"/>
                  <a:pt x="4457243" y="380360"/>
                  <a:pt x="4429066" y="380360"/>
                </a:cubicBezTo>
                <a:cubicBezTo>
                  <a:pt x="4429066" y="380360"/>
                  <a:pt x="4414979" y="380360"/>
                  <a:pt x="4400890" y="380360"/>
                </a:cubicBezTo>
                <a:cubicBezTo>
                  <a:pt x="4400890" y="380360"/>
                  <a:pt x="4400890" y="380360"/>
                  <a:pt x="4400890" y="394447"/>
                </a:cubicBezTo>
                <a:cubicBezTo>
                  <a:pt x="4386801" y="394447"/>
                  <a:pt x="4386801" y="394447"/>
                  <a:pt x="4386801" y="394447"/>
                </a:cubicBezTo>
                <a:cubicBezTo>
                  <a:pt x="4386801" y="394447"/>
                  <a:pt x="4372713" y="394447"/>
                  <a:pt x="4372713" y="394447"/>
                </a:cubicBezTo>
                <a:cubicBezTo>
                  <a:pt x="4372713" y="394447"/>
                  <a:pt x="4372713" y="394447"/>
                  <a:pt x="4370952" y="394447"/>
                </a:cubicBezTo>
                <a:lnTo>
                  <a:pt x="4359520" y="394447"/>
                </a:lnTo>
                <a:lnTo>
                  <a:pt x="4363709" y="395971"/>
                </a:lnTo>
                <a:lnTo>
                  <a:pt x="4357040" y="395415"/>
                </a:lnTo>
                <a:lnTo>
                  <a:pt x="4326927" y="413818"/>
                </a:lnTo>
                <a:cubicBezTo>
                  <a:pt x="4312838" y="419101"/>
                  <a:pt x="4295228" y="422623"/>
                  <a:pt x="4274096" y="422623"/>
                </a:cubicBezTo>
                <a:cubicBezTo>
                  <a:pt x="4260008" y="422623"/>
                  <a:pt x="4260008" y="422623"/>
                  <a:pt x="4260008" y="422623"/>
                </a:cubicBezTo>
                <a:cubicBezTo>
                  <a:pt x="4245920" y="422623"/>
                  <a:pt x="4231831" y="436710"/>
                  <a:pt x="4231831" y="436710"/>
                </a:cubicBezTo>
                <a:cubicBezTo>
                  <a:pt x="4217743" y="436710"/>
                  <a:pt x="4217743" y="436710"/>
                  <a:pt x="4217743" y="436710"/>
                </a:cubicBezTo>
                <a:cubicBezTo>
                  <a:pt x="4231831" y="436710"/>
                  <a:pt x="4203655" y="436710"/>
                  <a:pt x="4203655" y="450798"/>
                </a:cubicBezTo>
                <a:cubicBezTo>
                  <a:pt x="4203655" y="450798"/>
                  <a:pt x="4203655" y="450798"/>
                  <a:pt x="4189567" y="450798"/>
                </a:cubicBezTo>
                <a:cubicBezTo>
                  <a:pt x="4133214" y="464885"/>
                  <a:pt x="4105037" y="464885"/>
                  <a:pt x="4062772" y="493059"/>
                </a:cubicBezTo>
                <a:cubicBezTo>
                  <a:pt x="4048684" y="493059"/>
                  <a:pt x="4048684" y="493059"/>
                  <a:pt x="4034596" y="493059"/>
                </a:cubicBezTo>
                <a:cubicBezTo>
                  <a:pt x="4020508" y="507147"/>
                  <a:pt x="4020508" y="507147"/>
                  <a:pt x="4020508" y="507147"/>
                </a:cubicBezTo>
                <a:cubicBezTo>
                  <a:pt x="4006419" y="507147"/>
                  <a:pt x="3992331" y="521234"/>
                  <a:pt x="3978244" y="521234"/>
                </a:cubicBezTo>
                <a:lnTo>
                  <a:pt x="3967380" y="528146"/>
                </a:lnTo>
                <a:lnTo>
                  <a:pt x="3984422" y="535321"/>
                </a:lnTo>
                <a:lnTo>
                  <a:pt x="4006652" y="549001"/>
                </a:lnTo>
                <a:lnTo>
                  <a:pt x="4013464" y="537082"/>
                </a:lnTo>
                <a:cubicBezTo>
                  <a:pt x="4016986" y="535321"/>
                  <a:pt x="4020508" y="535321"/>
                  <a:pt x="4020508" y="535321"/>
                </a:cubicBezTo>
                <a:cubicBezTo>
                  <a:pt x="4034596" y="535321"/>
                  <a:pt x="4034596" y="535321"/>
                  <a:pt x="4034596" y="535321"/>
                </a:cubicBezTo>
                <a:cubicBezTo>
                  <a:pt x="4034596" y="535321"/>
                  <a:pt x="4034596" y="535321"/>
                  <a:pt x="4048684" y="521234"/>
                </a:cubicBezTo>
                <a:cubicBezTo>
                  <a:pt x="4076861" y="521234"/>
                  <a:pt x="4090949" y="507147"/>
                  <a:pt x="4119125" y="507147"/>
                </a:cubicBezTo>
                <a:cubicBezTo>
                  <a:pt x="4161390" y="493059"/>
                  <a:pt x="4189567" y="493059"/>
                  <a:pt x="4217743" y="478972"/>
                </a:cubicBezTo>
                <a:cubicBezTo>
                  <a:pt x="4217743" y="478972"/>
                  <a:pt x="4245920" y="464885"/>
                  <a:pt x="4260008" y="464885"/>
                </a:cubicBezTo>
                <a:cubicBezTo>
                  <a:pt x="4231831" y="478972"/>
                  <a:pt x="4217743" y="478972"/>
                  <a:pt x="4245920" y="478972"/>
                </a:cubicBezTo>
                <a:cubicBezTo>
                  <a:pt x="4245920" y="478972"/>
                  <a:pt x="4260008" y="478972"/>
                  <a:pt x="4260008" y="493059"/>
                </a:cubicBezTo>
                <a:cubicBezTo>
                  <a:pt x="4260008" y="493059"/>
                  <a:pt x="4245920" y="493059"/>
                  <a:pt x="4231831" y="493059"/>
                </a:cubicBezTo>
                <a:cubicBezTo>
                  <a:pt x="4217743" y="493059"/>
                  <a:pt x="4231831" y="493059"/>
                  <a:pt x="4231831" y="507147"/>
                </a:cubicBezTo>
                <a:cubicBezTo>
                  <a:pt x="4245920" y="507147"/>
                  <a:pt x="4245920" y="493059"/>
                  <a:pt x="4260008" y="493059"/>
                </a:cubicBezTo>
                <a:cubicBezTo>
                  <a:pt x="4274096" y="493059"/>
                  <a:pt x="4274096" y="493059"/>
                  <a:pt x="4288184" y="493059"/>
                </a:cubicBezTo>
                <a:cubicBezTo>
                  <a:pt x="4316360" y="478972"/>
                  <a:pt x="4344537" y="478972"/>
                  <a:pt x="4372713" y="464885"/>
                </a:cubicBezTo>
                <a:cubicBezTo>
                  <a:pt x="4443154" y="450798"/>
                  <a:pt x="4513595" y="436710"/>
                  <a:pt x="4584036" y="436710"/>
                </a:cubicBezTo>
                <a:cubicBezTo>
                  <a:pt x="4612213" y="422623"/>
                  <a:pt x="4626302" y="422623"/>
                  <a:pt x="4640389" y="422623"/>
                </a:cubicBezTo>
                <a:lnTo>
                  <a:pt x="4668566" y="422623"/>
                </a:lnTo>
                <a:lnTo>
                  <a:pt x="4680893" y="422623"/>
                </a:lnTo>
                <a:cubicBezTo>
                  <a:pt x="4693220" y="422623"/>
                  <a:pt x="4703787" y="422623"/>
                  <a:pt x="4710831" y="422623"/>
                </a:cubicBezTo>
                <a:cubicBezTo>
                  <a:pt x="4710831" y="422623"/>
                  <a:pt x="4724919" y="422623"/>
                  <a:pt x="4724919" y="422623"/>
                </a:cubicBezTo>
                <a:cubicBezTo>
                  <a:pt x="4710831" y="408534"/>
                  <a:pt x="4696742" y="422623"/>
                  <a:pt x="4668566" y="422623"/>
                </a:cubicBezTo>
                <a:cubicBezTo>
                  <a:pt x="4682655" y="408534"/>
                  <a:pt x="4724919" y="408534"/>
                  <a:pt x="4739006" y="408534"/>
                </a:cubicBezTo>
                <a:lnTo>
                  <a:pt x="4753095" y="408534"/>
                </a:lnTo>
                <a:cubicBezTo>
                  <a:pt x="4753095" y="408534"/>
                  <a:pt x="4739006" y="408534"/>
                  <a:pt x="4753095" y="422623"/>
                </a:cubicBezTo>
                <a:cubicBezTo>
                  <a:pt x="4781272" y="422623"/>
                  <a:pt x="4767184" y="422623"/>
                  <a:pt x="4781272" y="436710"/>
                </a:cubicBezTo>
                <a:cubicBezTo>
                  <a:pt x="4795359" y="436710"/>
                  <a:pt x="4795359" y="436710"/>
                  <a:pt x="4809448" y="436710"/>
                </a:cubicBezTo>
                <a:cubicBezTo>
                  <a:pt x="4823537" y="436710"/>
                  <a:pt x="4837625" y="436710"/>
                  <a:pt x="4851712" y="436710"/>
                </a:cubicBezTo>
                <a:cubicBezTo>
                  <a:pt x="4879889" y="422623"/>
                  <a:pt x="4893978" y="422623"/>
                  <a:pt x="4908065" y="436710"/>
                </a:cubicBezTo>
                <a:cubicBezTo>
                  <a:pt x="4908065" y="436710"/>
                  <a:pt x="4865801" y="436710"/>
                  <a:pt x="4893978" y="450798"/>
                </a:cubicBezTo>
                <a:cubicBezTo>
                  <a:pt x="4893978" y="450798"/>
                  <a:pt x="4908065" y="450798"/>
                  <a:pt x="4908065" y="450798"/>
                </a:cubicBezTo>
                <a:cubicBezTo>
                  <a:pt x="4908065" y="450798"/>
                  <a:pt x="4922154" y="450798"/>
                  <a:pt x="4936242" y="450798"/>
                </a:cubicBezTo>
                <a:cubicBezTo>
                  <a:pt x="4992595" y="464885"/>
                  <a:pt x="5034860" y="464885"/>
                  <a:pt x="5091213" y="464885"/>
                </a:cubicBezTo>
                <a:cubicBezTo>
                  <a:pt x="5105300" y="464885"/>
                  <a:pt x="5119389" y="464885"/>
                  <a:pt x="5119389" y="464885"/>
                </a:cubicBezTo>
                <a:cubicBezTo>
                  <a:pt x="5133477" y="464885"/>
                  <a:pt x="5133477" y="464885"/>
                  <a:pt x="5133477" y="464885"/>
                </a:cubicBezTo>
                <a:cubicBezTo>
                  <a:pt x="5161654" y="464885"/>
                  <a:pt x="5189830" y="464885"/>
                  <a:pt x="5203919" y="464885"/>
                </a:cubicBezTo>
                <a:cubicBezTo>
                  <a:pt x="5232094" y="478972"/>
                  <a:pt x="5260270" y="478972"/>
                  <a:pt x="5274359" y="478972"/>
                </a:cubicBezTo>
                <a:cubicBezTo>
                  <a:pt x="5288447" y="478972"/>
                  <a:pt x="5302536" y="478972"/>
                  <a:pt x="5316625" y="493059"/>
                </a:cubicBezTo>
                <a:cubicBezTo>
                  <a:pt x="5330712" y="493059"/>
                  <a:pt x="5344800" y="493059"/>
                  <a:pt x="5344800" y="493059"/>
                </a:cubicBezTo>
                <a:lnTo>
                  <a:pt x="5358889" y="493059"/>
                </a:lnTo>
                <a:lnTo>
                  <a:pt x="5362411" y="493059"/>
                </a:lnTo>
                <a:lnTo>
                  <a:pt x="5365933" y="493059"/>
                </a:lnTo>
                <a:lnTo>
                  <a:pt x="5367694" y="493059"/>
                </a:lnTo>
                <a:lnTo>
                  <a:pt x="5372976" y="493059"/>
                </a:lnTo>
                <a:cubicBezTo>
                  <a:pt x="5401153" y="493059"/>
                  <a:pt x="5429329" y="507147"/>
                  <a:pt x="5457506" y="507147"/>
                </a:cubicBezTo>
                <a:cubicBezTo>
                  <a:pt x="5471594" y="507147"/>
                  <a:pt x="5471594" y="507147"/>
                  <a:pt x="5513859" y="507147"/>
                </a:cubicBezTo>
                <a:cubicBezTo>
                  <a:pt x="5527947" y="521234"/>
                  <a:pt x="5542035" y="521234"/>
                  <a:pt x="5542035" y="521234"/>
                </a:cubicBezTo>
                <a:cubicBezTo>
                  <a:pt x="5556124" y="521234"/>
                  <a:pt x="5570212" y="521234"/>
                  <a:pt x="5570212" y="521234"/>
                </a:cubicBezTo>
                <a:cubicBezTo>
                  <a:pt x="5598388" y="535321"/>
                  <a:pt x="5612477" y="535321"/>
                  <a:pt x="5626565" y="549409"/>
                </a:cubicBezTo>
                <a:cubicBezTo>
                  <a:pt x="5640652" y="549409"/>
                  <a:pt x="5640652" y="549409"/>
                  <a:pt x="5654741" y="549409"/>
                </a:cubicBezTo>
                <a:cubicBezTo>
                  <a:pt x="5654741" y="549409"/>
                  <a:pt x="5682917" y="563496"/>
                  <a:pt x="5682917" y="549409"/>
                </a:cubicBezTo>
                <a:cubicBezTo>
                  <a:pt x="5697005" y="549409"/>
                  <a:pt x="5725182" y="563496"/>
                  <a:pt x="5725182" y="563496"/>
                </a:cubicBezTo>
                <a:cubicBezTo>
                  <a:pt x="5711094" y="563496"/>
                  <a:pt x="5711094" y="563496"/>
                  <a:pt x="5697005" y="563496"/>
                </a:cubicBezTo>
                <a:cubicBezTo>
                  <a:pt x="5725182" y="577583"/>
                  <a:pt x="5753358" y="577583"/>
                  <a:pt x="5781535" y="591672"/>
                </a:cubicBezTo>
                <a:cubicBezTo>
                  <a:pt x="5781535" y="605759"/>
                  <a:pt x="5795623" y="605759"/>
                  <a:pt x="5795623" y="605759"/>
                </a:cubicBezTo>
                <a:cubicBezTo>
                  <a:pt x="5795623" y="605759"/>
                  <a:pt x="5795623" y="605759"/>
                  <a:pt x="5781535" y="605759"/>
                </a:cubicBezTo>
                <a:cubicBezTo>
                  <a:pt x="5795623" y="619846"/>
                  <a:pt x="5795623" y="619846"/>
                  <a:pt x="5781535" y="619846"/>
                </a:cubicBezTo>
                <a:cubicBezTo>
                  <a:pt x="5774492" y="619846"/>
                  <a:pt x="5767447" y="616325"/>
                  <a:pt x="5760403" y="612803"/>
                </a:cubicBezTo>
                <a:lnTo>
                  <a:pt x="5729877" y="594489"/>
                </a:lnTo>
                <a:lnTo>
                  <a:pt x="5721661" y="584628"/>
                </a:lnTo>
                <a:cubicBezTo>
                  <a:pt x="5711094" y="577583"/>
                  <a:pt x="5697005" y="570540"/>
                  <a:pt x="5682917" y="563496"/>
                </a:cubicBezTo>
                <a:cubicBezTo>
                  <a:pt x="5682917" y="577583"/>
                  <a:pt x="5682917" y="577583"/>
                  <a:pt x="5682917" y="577583"/>
                </a:cubicBezTo>
                <a:cubicBezTo>
                  <a:pt x="5725182" y="591672"/>
                  <a:pt x="5682917" y="577583"/>
                  <a:pt x="5668829" y="577583"/>
                </a:cubicBezTo>
                <a:cubicBezTo>
                  <a:pt x="5668829" y="577583"/>
                  <a:pt x="5668829" y="577583"/>
                  <a:pt x="5654741" y="577583"/>
                </a:cubicBezTo>
                <a:lnTo>
                  <a:pt x="5635018" y="567722"/>
                </a:lnTo>
                <a:lnTo>
                  <a:pt x="5633609" y="565257"/>
                </a:lnTo>
                <a:cubicBezTo>
                  <a:pt x="5630087" y="563496"/>
                  <a:pt x="5626565" y="563496"/>
                  <a:pt x="5626565" y="563496"/>
                </a:cubicBezTo>
                <a:lnTo>
                  <a:pt x="5635018" y="567722"/>
                </a:lnTo>
                <a:lnTo>
                  <a:pt x="5640652" y="577583"/>
                </a:lnTo>
                <a:cubicBezTo>
                  <a:pt x="5640652" y="577583"/>
                  <a:pt x="5644174" y="577583"/>
                  <a:pt x="5647697" y="577583"/>
                </a:cubicBezTo>
                <a:lnTo>
                  <a:pt x="5654741" y="577583"/>
                </a:lnTo>
                <a:cubicBezTo>
                  <a:pt x="5665308" y="581105"/>
                  <a:pt x="5675873" y="584627"/>
                  <a:pt x="5682917" y="591672"/>
                </a:cubicBezTo>
                <a:cubicBezTo>
                  <a:pt x="5697005" y="591672"/>
                  <a:pt x="5725182" y="591672"/>
                  <a:pt x="5725182" y="591672"/>
                </a:cubicBezTo>
                <a:lnTo>
                  <a:pt x="5729877" y="594489"/>
                </a:lnTo>
                <a:lnTo>
                  <a:pt x="5739270" y="605759"/>
                </a:lnTo>
                <a:cubicBezTo>
                  <a:pt x="5746315" y="605759"/>
                  <a:pt x="5753358" y="609281"/>
                  <a:pt x="5760403" y="612803"/>
                </a:cubicBezTo>
                <a:cubicBezTo>
                  <a:pt x="5770969" y="619846"/>
                  <a:pt x="5781535" y="626890"/>
                  <a:pt x="5795623" y="633934"/>
                </a:cubicBezTo>
                <a:cubicBezTo>
                  <a:pt x="5795623" y="633934"/>
                  <a:pt x="5809711" y="633934"/>
                  <a:pt x="5823800" y="633934"/>
                </a:cubicBezTo>
                <a:cubicBezTo>
                  <a:pt x="5823800" y="633934"/>
                  <a:pt x="5823800" y="633934"/>
                  <a:pt x="5823800" y="648021"/>
                </a:cubicBezTo>
                <a:cubicBezTo>
                  <a:pt x="5837888" y="648021"/>
                  <a:pt x="5837888" y="648021"/>
                  <a:pt x="5851976" y="648021"/>
                </a:cubicBezTo>
                <a:lnTo>
                  <a:pt x="5866064" y="657882"/>
                </a:lnTo>
                <a:lnTo>
                  <a:pt x="5866064" y="662108"/>
                </a:lnTo>
                <a:cubicBezTo>
                  <a:pt x="5873109" y="662108"/>
                  <a:pt x="5873109" y="662108"/>
                  <a:pt x="5869587" y="660347"/>
                </a:cubicBezTo>
                <a:lnTo>
                  <a:pt x="5866064" y="657882"/>
                </a:lnTo>
                <a:lnTo>
                  <a:pt x="5866064" y="655065"/>
                </a:lnTo>
                <a:cubicBezTo>
                  <a:pt x="5866064" y="651543"/>
                  <a:pt x="5866064" y="648021"/>
                  <a:pt x="5866064" y="648021"/>
                </a:cubicBezTo>
                <a:cubicBezTo>
                  <a:pt x="5880153" y="648021"/>
                  <a:pt x="5894240" y="662108"/>
                  <a:pt x="5908329" y="662108"/>
                </a:cubicBezTo>
                <a:cubicBezTo>
                  <a:pt x="5936506" y="676196"/>
                  <a:pt x="5964682" y="690283"/>
                  <a:pt x="5992859" y="704370"/>
                </a:cubicBezTo>
                <a:cubicBezTo>
                  <a:pt x="6006946" y="718457"/>
                  <a:pt x="6021035" y="718457"/>
                  <a:pt x="6035123" y="732545"/>
                </a:cubicBezTo>
                <a:cubicBezTo>
                  <a:pt x="6035123" y="732545"/>
                  <a:pt x="6035123" y="732545"/>
                  <a:pt x="6049212" y="732545"/>
                </a:cubicBezTo>
                <a:cubicBezTo>
                  <a:pt x="6063299" y="732545"/>
                  <a:pt x="6063299" y="732545"/>
                  <a:pt x="6035123" y="718457"/>
                </a:cubicBezTo>
                <a:cubicBezTo>
                  <a:pt x="6021035" y="704370"/>
                  <a:pt x="6006946" y="704370"/>
                  <a:pt x="6006946" y="690283"/>
                </a:cubicBezTo>
                <a:cubicBezTo>
                  <a:pt x="6006946" y="690283"/>
                  <a:pt x="6049212" y="718457"/>
                  <a:pt x="6063299" y="718457"/>
                </a:cubicBezTo>
                <a:cubicBezTo>
                  <a:pt x="6063299" y="732545"/>
                  <a:pt x="6077388" y="732545"/>
                  <a:pt x="6105565" y="746632"/>
                </a:cubicBezTo>
                <a:cubicBezTo>
                  <a:pt x="6091476" y="746632"/>
                  <a:pt x="6091476" y="732545"/>
                  <a:pt x="6077388" y="732545"/>
                </a:cubicBezTo>
                <a:cubicBezTo>
                  <a:pt x="6091476" y="732545"/>
                  <a:pt x="6105565" y="746632"/>
                  <a:pt x="6119652" y="746632"/>
                </a:cubicBezTo>
                <a:cubicBezTo>
                  <a:pt x="6119652" y="746632"/>
                  <a:pt x="6119652" y="746632"/>
                  <a:pt x="6133741" y="760719"/>
                </a:cubicBezTo>
                <a:cubicBezTo>
                  <a:pt x="6133741" y="746632"/>
                  <a:pt x="6133741" y="746632"/>
                  <a:pt x="6133741" y="746632"/>
                </a:cubicBezTo>
                <a:lnTo>
                  <a:pt x="6127728" y="741995"/>
                </a:lnTo>
                <a:lnTo>
                  <a:pt x="6147829" y="746632"/>
                </a:lnTo>
                <a:cubicBezTo>
                  <a:pt x="6147829" y="746632"/>
                  <a:pt x="6147829" y="746632"/>
                  <a:pt x="6176005" y="760719"/>
                </a:cubicBezTo>
                <a:cubicBezTo>
                  <a:pt x="6190093" y="774808"/>
                  <a:pt x="6218269" y="788895"/>
                  <a:pt x="6246446" y="802983"/>
                </a:cubicBezTo>
                <a:cubicBezTo>
                  <a:pt x="6246446" y="802983"/>
                  <a:pt x="6246446" y="802983"/>
                  <a:pt x="6260535" y="802983"/>
                </a:cubicBezTo>
                <a:cubicBezTo>
                  <a:pt x="6274622" y="817070"/>
                  <a:pt x="6274622" y="817070"/>
                  <a:pt x="6274622" y="802983"/>
                </a:cubicBezTo>
                <a:cubicBezTo>
                  <a:pt x="6260535" y="788895"/>
                  <a:pt x="6274622" y="802983"/>
                  <a:pt x="6302799" y="817070"/>
                </a:cubicBezTo>
                <a:cubicBezTo>
                  <a:pt x="6316888" y="831157"/>
                  <a:pt x="6330975" y="831157"/>
                  <a:pt x="6330975" y="845244"/>
                </a:cubicBezTo>
                <a:cubicBezTo>
                  <a:pt x="6330975" y="845244"/>
                  <a:pt x="6345064" y="845244"/>
                  <a:pt x="6345064" y="845244"/>
                </a:cubicBezTo>
                <a:cubicBezTo>
                  <a:pt x="6359152" y="859332"/>
                  <a:pt x="6387328" y="873419"/>
                  <a:pt x="6387328" y="887506"/>
                </a:cubicBezTo>
                <a:cubicBezTo>
                  <a:pt x="6401417" y="901594"/>
                  <a:pt x="6429593" y="915681"/>
                  <a:pt x="6457770" y="929768"/>
                </a:cubicBezTo>
                <a:cubicBezTo>
                  <a:pt x="6471858" y="943856"/>
                  <a:pt x="6471858" y="943856"/>
                  <a:pt x="6471858" y="943856"/>
                </a:cubicBezTo>
                <a:cubicBezTo>
                  <a:pt x="6485946" y="943856"/>
                  <a:pt x="6514123" y="957944"/>
                  <a:pt x="6528211" y="972031"/>
                </a:cubicBezTo>
                <a:cubicBezTo>
                  <a:pt x="6528211" y="972031"/>
                  <a:pt x="6542298" y="986119"/>
                  <a:pt x="6556387" y="986119"/>
                </a:cubicBezTo>
                <a:cubicBezTo>
                  <a:pt x="6570476" y="1000206"/>
                  <a:pt x="6584563" y="1014293"/>
                  <a:pt x="6598651" y="1028381"/>
                </a:cubicBezTo>
                <a:cubicBezTo>
                  <a:pt x="6626829" y="1042468"/>
                  <a:pt x="6640916" y="1042468"/>
                  <a:pt x="6655004" y="1070642"/>
                </a:cubicBezTo>
                <a:cubicBezTo>
                  <a:pt x="6612740" y="1042468"/>
                  <a:pt x="6598651" y="1042468"/>
                  <a:pt x="6570476" y="1014293"/>
                </a:cubicBezTo>
                <a:cubicBezTo>
                  <a:pt x="6528211" y="986119"/>
                  <a:pt x="6485946" y="957944"/>
                  <a:pt x="6443681" y="943856"/>
                </a:cubicBezTo>
                <a:cubicBezTo>
                  <a:pt x="6429593" y="929768"/>
                  <a:pt x="6415505" y="929768"/>
                  <a:pt x="6401417" y="915681"/>
                </a:cubicBezTo>
                <a:cubicBezTo>
                  <a:pt x="6387328" y="901594"/>
                  <a:pt x="6373240" y="901594"/>
                  <a:pt x="6359152" y="887506"/>
                </a:cubicBezTo>
                <a:cubicBezTo>
                  <a:pt x="6345064" y="887506"/>
                  <a:pt x="6330975" y="887506"/>
                  <a:pt x="6316888" y="873419"/>
                </a:cubicBezTo>
                <a:cubicBezTo>
                  <a:pt x="6316888" y="873419"/>
                  <a:pt x="6302799" y="859332"/>
                  <a:pt x="6288711" y="859332"/>
                </a:cubicBezTo>
                <a:cubicBezTo>
                  <a:pt x="6274622" y="859332"/>
                  <a:pt x="6260535" y="845244"/>
                  <a:pt x="6246446" y="831157"/>
                </a:cubicBezTo>
                <a:cubicBezTo>
                  <a:pt x="6246446" y="831157"/>
                  <a:pt x="6246446" y="831157"/>
                  <a:pt x="6218269" y="831157"/>
                </a:cubicBezTo>
                <a:cubicBezTo>
                  <a:pt x="6218269" y="817070"/>
                  <a:pt x="6204182" y="817070"/>
                  <a:pt x="6204182" y="817070"/>
                </a:cubicBezTo>
                <a:cubicBezTo>
                  <a:pt x="6190093" y="817070"/>
                  <a:pt x="6190093" y="802983"/>
                  <a:pt x="6176005" y="802983"/>
                </a:cubicBezTo>
                <a:cubicBezTo>
                  <a:pt x="6147829" y="788895"/>
                  <a:pt x="6119652" y="788895"/>
                  <a:pt x="6091476" y="774808"/>
                </a:cubicBezTo>
                <a:cubicBezTo>
                  <a:pt x="6077388" y="760719"/>
                  <a:pt x="6063299" y="760719"/>
                  <a:pt x="6035123" y="746632"/>
                </a:cubicBezTo>
                <a:cubicBezTo>
                  <a:pt x="6035123" y="746632"/>
                  <a:pt x="6021035" y="746632"/>
                  <a:pt x="6006946" y="732545"/>
                </a:cubicBezTo>
                <a:cubicBezTo>
                  <a:pt x="5992859" y="732545"/>
                  <a:pt x="5992859" y="732545"/>
                  <a:pt x="5978770" y="718457"/>
                </a:cubicBezTo>
                <a:cubicBezTo>
                  <a:pt x="5964682" y="718457"/>
                  <a:pt x="5964682" y="718457"/>
                  <a:pt x="5950593" y="718457"/>
                </a:cubicBezTo>
                <a:cubicBezTo>
                  <a:pt x="5950593" y="718457"/>
                  <a:pt x="5936506" y="718457"/>
                  <a:pt x="5922417" y="718457"/>
                </a:cubicBezTo>
                <a:cubicBezTo>
                  <a:pt x="5894240" y="704370"/>
                  <a:pt x="5866064" y="690283"/>
                  <a:pt x="5837888" y="690283"/>
                </a:cubicBezTo>
                <a:cubicBezTo>
                  <a:pt x="5837888" y="690283"/>
                  <a:pt x="5837888" y="676196"/>
                  <a:pt x="5837888" y="676196"/>
                </a:cubicBezTo>
                <a:cubicBezTo>
                  <a:pt x="5837888" y="676196"/>
                  <a:pt x="5837888" y="676196"/>
                  <a:pt x="5823800" y="676196"/>
                </a:cubicBezTo>
                <a:cubicBezTo>
                  <a:pt x="5809711" y="676196"/>
                  <a:pt x="5809711" y="676196"/>
                  <a:pt x="5809711" y="676196"/>
                </a:cubicBezTo>
                <a:cubicBezTo>
                  <a:pt x="5809711" y="676196"/>
                  <a:pt x="5809711" y="676196"/>
                  <a:pt x="5795623" y="676196"/>
                </a:cubicBezTo>
                <a:cubicBezTo>
                  <a:pt x="5795623" y="676196"/>
                  <a:pt x="5795623" y="676196"/>
                  <a:pt x="5795623" y="662108"/>
                </a:cubicBezTo>
                <a:cubicBezTo>
                  <a:pt x="5767447" y="662108"/>
                  <a:pt x="5767447" y="662108"/>
                  <a:pt x="5753358" y="648021"/>
                </a:cubicBezTo>
                <a:cubicBezTo>
                  <a:pt x="5725182" y="648021"/>
                  <a:pt x="5697005" y="633934"/>
                  <a:pt x="5654741" y="633934"/>
                </a:cubicBezTo>
                <a:cubicBezTo>
                  <a:pt x="5640652" y="619846"/>
                  <a:pt x="5640652" y="633934"/>
                  <a:pt x="5626565" y="619846"/>
                </a:cubicBezTo>
                <a:cubicBezTo>
                  <a:pt x="5584299" y="619846"/>
                  <a:pt x="5542035" y="605759"/>
                  <a:pt x="5499771" y="591672"/>
                </a:cubicBezTo>
                <a:cubicBezTo>
                  <a:pt x="5499771" y="605759"/>
                  <a:pt x="5485682" y="605759"/>
                  <a:pt x="5471594" y="591672"/>
                </a:cubicBezTo>
                <a:cubicBezTo>
                  <a:pt x="5457506" y="591672"/>
                  <a:pt x="5457506" y="591672"/>
                  <a:pt x="5457506" y="591672"/>
                </a:cubicBezTo>
                <a:cubicBezTo>
                  <a:pt x="5415242" y="577583"/>
                  <a:pt x="5401153" y="577583"/>
                  <a:pt x="5372976" y="577583"/>
                </a:cubicBezTo>
                <a:cubicBezTo>
                  <a:pt x="5358889" y="577583"/>
                  <a:pt x="5344800" y="577583"/>
                  <a:pt x="5330712" y="577583"/>
                </a:cubicBezTo>
                <a:cubicBezTo>
                  <a:pt x="5330712" y="577583"/>
                  <a:pt x="5316625" y="577583"/>
                  <a:pt x="5302536" y="577583"/>
                </a:cubicBezTo>
                <a:cubicBezTo>
                  <a:pt x="5246183" y="577583"/>
                  <a:pt x="5175742" y="563496"/>
                  <a:pt x="5091213" y="577583"/>
                </a:cubicBezTo>
                <a:cubicBezTo>
                  <a:pt x="5063036" y="577583"/>
                  <a:pt x="5048948" y="563496"/>
                  <a:pt x="5034860" y="563496"/>
                </a:cubicBezTo>
                <a:cubicBezTo>
                  <a:pt x="5048948" y="577583"/>
                  <a:pt x="5048948" y="577583"/>
                  <a:pt x="5091213" y="577583"/>
                </a:cubicBezTo>
                <a:cubicBezTo>
                  <a:pt x="5105300" y="577583"/>
                  <a:pt x="5119389" y="577583"/>
                  <a:pt x="5133477" y="577583"/>
                </a:cubicBezTo>
                <a:cubicBezTo>
                  <a:pt x="5175742" y="577583"/>
                  <a:pt x="5203919" y="577583"/>
                  <a:pt x="5232094" y="591672"/>
                </a:cubicBezTo>
                <a:cubicBezTo>
                  <a:pt x="5232094" y="591672"/>
                  <a:pt x="5232094" y="591672"/>
                  <a:pt x="5246183" y="591672"/>
                </a:cubicBezTo>
                <a:cubicBezTo>
                  <a:pt x="5246183" y="591672"/>
                  <a:pt x="5260270" y="591672"/>
                  <a:pt x="5288447" y="591672"/>
                </a:cubicBezTo>
                <a:cubicBezTo>
                  <a:pt x="5288447" y="591672"/>
                  <a:pt x="5302536" y="591672"/>
                  <a:pt x="5302536" y="591672"/>
                </a:cubicBezTo>
                <a:cubicBezTo>
                  <a:pt x="5316625" y="591672"/>
                  <a:pt x="5330712" y="605759"/>
                  <a:pt x="5358889" y="605759"/>
                </a:cubicBezTo>
                <a:cubicBezTo>
                  <a:pt x="5401153" y="619846"/>
                  <a:pt x="5443418" y="605759"/>
                  <a:pt x="5471594" y="619846"/>
                </a:cubicBezTo>
                <a:cubicBezTo>
                  <a:pt x="5485682" y="619846"/>
                  <a:pt x="5485682" y="619846"/>
                  <a:pt x="5499771" y="619846"/>
                </a:cubicBezTo>
                <a:cubicBezTo>
                  <a:pt x="5499771" y="633934"/>
                  <a:pt x="5499771" y="633934"/>
                  <a:pt x="5485682" y="633934"/>
                </a:cubicBezTo>
                <a:cubicBezTo>
                  <a:pt x="5485682" y="633934"/>
                  <a:pt x="5457506" y="619846"/>
                  <a:pt x="5457506" y="619846"/>
                </a:cubicBezTo>
                <a:cubicBezTo>
                  <a:pt x="5443418" y="619846"/>
                  <a:pt x="5443418" y="619846"/>
                  <a:pt x="5429329" y="619846"/>
                </a:cubicBezTo>
                <a:cubicBezTo>
                  <a:pt x="5358889" y="605759"/>
                  <a:pt x="5274359" y="605759"/>
                  <a:pt x="5189830" y="591672"/>
                </a:cubicBezTo>
                <a:cubicBezTo>
                  <a:pt x="5189830" y="591672"/>
                  <a:pt x="5189830" y="591672"/>
                  <a:pt x="5175742" y="591672"/>
                </a:cubicBezTo>
                <a:cubicBezTo>
                  <a:pt x="5161654" y="591672"/>
                  <a:pt x="5161654" y="591672"/>
                  <a:pt x="5161654" y="591672"/>
                </a:cubicBezTo>
                <a:cubicBezTo>
                  <a:pt x="5147566" y="591672"/>
                  <a:pt x="5147566" y="591672"/>
                  <a:pt x="5133477" y="605759"/>
                </a:cubicBezTo>
                <a:cubicBezTo>
                  <a:pt x="5133477" y="605759"/>
                  <a:pt x="5119389" y="605759"/>
                  <a:pt x="5119389" y="605759"/>
                </a:cubicBezTo>
                <a:cubicBezTo>
                  <a:pt x="5105300" y="591672"/>
                  <a:pt x="5105300" y="591672"/>
                  <a:pt x="5091213" y="605759"/>
                </a:cubicBezTo>
                <a:cubicBezTo>
                  <a:pt x="5105300" y="605759"/>
                  <a:pt x="5119389" y="605759"/>
                  <a:pt x="5119389" y="605759"/>
                </a:cubicBezTo>
                <a:cubicBezTo>
                  <a:pt x="5119389" y="605759"/>
                  <a:pt x="5147566" y="619846"/>
                  <a:pt x="5175742" y="619846"/>
                </a:cubicBezTo>
                <a:cubicBezTo>
                  <a:pt x="5189830" y="619846"/>
                  <a:pt x="5189830" y="619846"/>
                  <a:pt x="5203919" y="619846"/>
                </a:cubicBezTo>
                <a:cubicBezTo>
                  <a:pt x="5210962" y="619846"/>
                  <a:pt x="5214484" y="619846"/>
                  <a:pt x="5218006" y="619846"/>
                </a:cubicBezTo>
                <a:lnTo>
                  <a:pt x="5221528" y="619846"/>
                </a:lnTo>
                <a:lnTo>
                  <a:pt x="5232094" y="619846"/>
                </a:lnTo>
                <a:cubicBezTo>
                  <a:pt x="5260270" y="633934"/>
                  <a:pt x="5274359" y="633934"/>
                  <a:pt x="5316625" y="633934"/>
                </a:cubicBezTo>
                <a:cubicBezTo>
                  <a:pt x="5302536" y="633934"/>
                  <a:pt x="5288447" y="633934"/>
                  <a:pt x="5274359" y="633934"/>
                </a:cubicBezTo>
                <a:cubicBezTo>
                  <a:pt x="5274359" y="633934"/>
                  <a:pt x="5288447" y="633934"/>
                  <a:pt x="5302536" y="648021"/>
                </a:cubicBezTo>
                <a:cubicBezTo>
                  <a:pt x="5302536" y="648021"/>
                  <a:pt x="5302536" y="648021"/>
                  <a:pt x="5316625" y="648021"/>
                </a:cubicBezTo>
                <a:cubicBezTo>
                  <a:pt x="5316625" y="648021"/>
                  <a:pt x="5330712" y="648021"/>
                  <a:pt x="5330712" y="648021"/>
                </a:cubicBezTo>
                <a:cubicBezTo>
                  <a:pt x="5344800" y="648021"/>
                  <a:pt x="5358889" y="648021"/>
                  <a:pt x="5372976" y="648021"/>
                </a:cubicBezTo>
                <a:cubicBezTo>
                  <a:pt x="5443418" y="648021"/>
                  <a:pt x="5499771" y="676196"/>
                  <a:pt x="5556124" y="676196"/>
                </a:cubicBezTo>
                <a:cubicBezTo>
                  <a:pt x="5556124" y="676196"/>
                  <a:pt x="5570212" y="690283"/>
                  <a:pt x="5584299" y="690283"/>
                </a:cubicBezTo>
                <a:cubicBezTo>
                  <a:pt x="5584299" y="690283"/>
                  <a:pt x="5598388" y="690283"/>
                  <a:pt x="5612477" y="690283"/>
                </a:cubicBezTo>
                <a:cubicBezTo>
                  <a:pt x="5612477" y="690283"/>
                  <a:pt x="5612477" y="690283"/>
                  <a:pt x="5626565" y="690283"/>
                </a:cubicBezTo>
                <a:cubicBezTo>
                  <a:pt x="5626565" y="690283"/>
                  <a:pt x="5626565" y="690283"/>
                  <a:pt x="5654741" y="704370"/>
                </a:cubicBezTo>
                <a:cubicBezTo>
                  <a:pt x="5654741" y="704370"/>
                  <a:pt x="5668829" y="704370"/>
                  <a:pt x="5668829" y="704370"/>
                </a:cubicBezTo>
                <a:cubicBezTo>
                  <a:pt x="5668829" y="704370"/>
                  <a:pt x="5682917" y="704370"/>
                  <a:pt x="5682917" y="704370"/>
                </a:cubicBezTo>
                <a:cubicBezTo>
                  <a:pt x="5711094" y="704370"/>
                  <a:pt x="5725182" y="718457"/>
                  <a:pt x="5739270" y="718457"/>
                </a:cubicBezTo>
                <a:cubicBezTo>
                  <a:pt x="5753358" y="732545"/>
                  <a:pt x="5753358" y="732545"/>
                  <a:pt x="5767447" y="746632"/>
                </a:cubicBezTo>
                <a:cubicBezTo>
                  <a:pt x="5781535" y="760719"/>
                  <a:pt x="5795623" y="760719"/>
                  <a:pt x="5809711" y="760719"/>
                </a:cubicBezTo>
                <a:cubicBezTo>
                  <a:pt x="5795623" y="760719"/>
                  <a:pt x="5795623" y="760719"/>
                  <a:pt x="5781535" y="760719"/>
                </a:cubicBezTo>
                <a:cubicBezTo>
                  <a:pt x="5767447" y="760719"/>
                  <a:pt x="5767447" y="760719"/>
                  <a:pt x="5767447" y="760719"/>
                </a:cubicBezTo>
                <a:cubicBezTo>
                  <a:pt x="5767447" y="760719"/>
                  <a:pt x="5781535" y="774808"/>
                  <a:pt x="5781535" y="774808"/>
                </a:cubicBezTo>
                <a:cubicBezTo>
                  <a:pt x="5795623" y="774808"/>
                  <a:pt x="5809711" y="774808"/>
                  <a:pt x="5809711" y="774808"/>
                </a:cubicBezTo>
                <a:cubicBezTo>
                  <a:pt x="5837888" y="788895"/>
                  <a:pt x="5851976" y="788895"/>
                  <a:pt x="5866064" y="802983"/>
                </a:cubicBezTo>
                <a:cubicBezTo>
                  <a:pt x="5880153" y="802983"/>
                  <a:pt x="5880153" y="802983"/>
                  <a:pt x="5880153" y="802983"/>
                </a:cubicBezTo>
                <a:cubicBezTo>
                  <a:pt x="5894240" y="802983"/>
                  <a:pt x="5894240" y="802983"/>
                  <a:pt x="5894240" y="802983"/>
                </a:cubicBezTo>
                <a:cubicBezTo>
                  <a:pt x="5922417" y="817070"/>
                  <a:pt x="5950593" y="831157"/>
                  <a:pt x="5978770" y="845244"/>
                </a:cubicBezTo>
                <a:cubicBezTo>
                  <a:pt x="6006946" y="859332"/>
                  <a:pt x="6035123" y="859332"/>
                  <a:pt x="6063299" y="887506"/>
                </a:cubicBezTo>
                <a:cubicBezTo>
                  <a:pt x="6063299" y="887506"/>
                  <a:pt x="6077388" y="901594"/>
                  <a:pt x="6077388" y="901594"/>
                </a:cubicBezTo>
                <a:cubicBezTo>
                  <a:pt x="6063299" y="887506"/>
                  <a:pt x="6105565" y="901594"/>
                  <a:pt x="6077388" y="887506"/>
                </a:cubicBezTo>
                <a:cubicBezTo>
                  <a:pt x="6063299" y="873419"/>
                  <a:pt x="6049212" y="873419"/>
                  <a:pt x="6063299" y="873419"/>
                </a:cubicBezTo>
                <a:cubicBezTo>
                  <a:pt x="6077388" y="873419"/>
                  <a:pt x="6091476" y="887506"/>
                  <a:pt x="6119652" y="901594"/>
                </a:cubicBezTo>
                <a:cubicBezTo>
                  <a:pt x="6133741" y="915681"/>
                  <a:pt x="6161916" y="929768"/>
                  <a:pt x="6190093" y="943856"/>
                </a:cubicBezTo>
                <a:cubicBezTo>
                  <a:pt x="6204182" y="957944"/>
                  <a:pt x="6232358" y="972031"/>
                  <a:pt x="6260535" y="986119"/>
                </a:cubicBezTo>
                <a:cubicBezTo>
                  <a:pt x="6260535" y="986119"/>
                  <a:pt x="6274622" y="1000206"/>
                  <a:pt x="6274622" y="986119"/>
                </a:cubicBezTo>
                <a:cubicBezTo>
                  <a:pt x="6274622" y="986119"/>
                  <a:pt x="6260535" y="986119"/>
                  <a:pt x="6260535" y="986119"/>
                </a:cubicBezTo>
                <a:cubicBezTo>
                  <a:pt x="6246446" y="972031"/>
                  <a:pt x="6218269" y="957944"/>
                  <a:pt x="6190093" y="943856"/>
                </a:cubicBezTo>
                <a:cubicBezTo>
                  <a:pt x="6190093" y="943856"/>
                  <a:pt x="6204182" y="943856"/>
                  <a:pt x="6232358" y="957944"/>
                </a:cubicBezTo>
                <a:cubicBezTo>
                  <a:pt x="6246446" y="972031"/>
                  <a:pt x="6274622" y="986119"/>
                  <a:pt x="6302799" y="1000206"/>
                </a:cubicBezTo>
                <a:cubicBezTo>
                  <a:pt x="6302799" y="1000206"/>
                  <a:pt x="6316888" y="1000206"/>
                  <a:pt x="6316888" y="1014293"/>
                </a:cubicBezTo>
                <a:cubicBezTo>
                  <a:pt x="6316888" y="1014293"/>
                  <a:pt x="6345064" y="1028381"/>
                  <a:pt x="6359152" y="1042468"/>
                </a:cubicBezTo>
                <a:cubicBezTo>
                  <a:pt x="6387328" y="1056555"/>
                  <a:pt x="6429593" y="1084730"/>
                  <a:pt x="6457770" y="1112904"/>
                </a:cubicBezTo>
                <a:cubicBezTo>
                  <a:pt x="6485946" y="1126993"/>
                  <a:pt x="6514123" y="1155168"/>
                  <a:pt x="6542298" y="1169255"/>
                </a:cubicBezTo>
                <a:cubicBezTo>
                  <a:pt x="6542298" y="1183342"/>
                  <a:pt x="6556387" y="1183342"/>
                  <a:pt x="6556387" y="1183342"/>
                </a:cubicBezTo>
                <a:cubicBezTo>
                  <a:pt x="6584563" y="1211517"/>
                  <a:pt x="6612740" y="1225604"/>
                  <a:pt x="6655004" y="1267866"/>
                </a:cubicBezTo>
                <a:cubicBezTo>
                  <a:pt x="6669093" y="1267866"/>
                  <a:pt x="6669093" y="1267866"/>
                  <a:pt x="6683181" y="1281953"/>
                </a:cubicBezTo>
                <a:cubicBezTo>
                  <a:pt x="6683181" y="1281953"/>
                  <a:pt x="6683181" y="1296041"/>
                  <a:pt x="6697269" y="1296041"/>
                </a:cubicBezTo>
                <a:cubicBezTo>
                  <a:pt x="6697269" y="1296041"/>
                  <a:pt x="6697269" y="1310129"/>
                  <a:pt x="6711357" y="1324216"/>
                </a:cubicBezTo>
                <a:cubicBezTo>
                  <a:pt x="6725446" y="1324216"/>
                  <a:pt x="6711357" y="1324216"/>
                  <a:pt x="6711357" y="1310129"/>
                </a:cubicBezTo>
                <a:cubicBezTo>
                  <a:pt x="6725446" y="1310129"/>
                  <a:pt x="6725446" y="1310129"/>
                  <a:pt x="6739534" y="1324216"/>
                </a:cubicBezTo>
                <a:cubicBezTo>
                  <a:pt x="6753622" y="1352391"/>
                  <a:pt x="6753622" y="1352391"/>
                  <a:pt x="6781799" y="1394653"/>
                </a:cubicBezTo>
                <a:cubicBezTo>
                  <a:pt x="6781799" y="1394653"/>
                  <a:pt x="6781799" y="1394653"/>
                  <a:pt x="6852240" y="1451002"/>
                </a:cubicBezTo>
                <a:cubicBezTo>
                  <a:pt x="6866328" y="1465089"/>
                  <a:pt x="6866328" y="1465089"/>
                  <a:pt x="6880416" y="1493265"/>
                </a:cubicBezTo>
                <a:cubicBezTo>
                  <a:pt x="6880416" y="1493265"/>
                  <a:pt x="6894505" y="1493265"/>
                  <a:pt x="6894505" y="1507353"/>
                </a:cubicBezTo>
                <a:cubicBezTo>
                  <a:pt x="6908593" y="1507353"/>
                  <a:pt x="6908593" y="1521440"/>
                  <a:pt x="6922681" y="1535527"/>
                </a:cubicBezTo>
                <a:cubicBezTo>
                  <a:pt x="6894505" y="1507353"/>
                  <a:pt x="6880416" y="1507353"/>
                  <a:pt x="6866328" y="1493265"/>
                </a:cubicBezTo>
                <a:cubicBezTo>
                  <a:pt x="6880416" y="1507353"/>
                  <a:pt x="6894505" y="1521440"/>
                  <a:pt x="6894505" y="1535527"/>
                </a:cubicBezTo>
                <a:lnTo>
                  <a:pt x="6908593" y="1549614"/>
                </a:lnTo>
                <a:lnTo>
                  <a:pt x="6901548" y="1549614"/>
                </a:lnTo>
                <a:cubicBezTo>
                  <a:pt x="6898027" y="1549614"/>
                  <a:pt x="6894505" y="1549614"/>
                  <a:pt x="6894505" y="1549614"/>
                </a:cubicBezTo>
                <a:cubicBezTo>
                  <a:pt x="6894505" y="1549614"/>
                  <a:pt x="6880416" y="1535527"/>
                  <a:pt x="6880416" y="1535527"/>
                </a:cubicBezTo>
                <a:cubicBezTo>
                  <a:pt x="6852240" y="1507353"/>
                  <a:pt x="6824063" y="1479178"/>
                  <a:pt x="6809975" y="1451002"/>
                </a:cubicBezTo>
                <a:cubicBezTo>
                  <a:pt x="6809975" y="1451002"/>
                  <a:pt x="6795887" y="1451002"/>
                  <a:pt x="6795887" y="1451002"/>
                </a:cubicBezTo>
                <a:cubicBezTo>
                  <a:pt x="6781799" y="1436915"/>
                  <a:pt x="6781799" y="1436915"/>
                  <a:pt x="6767710" y="1422828"/>
                </a:cubicBezTo>
                <a:cubicBezTo>
                  <a:pt x="6767710" y="1422828"/>
                  <a:pt x="6767710" y="1422828"/>
                  <a:pt x="6753622" y="1408740"/>
                </a:cubicBezTo>
                <a:cubicBezTo>
                  <a:pt x="6711357" y="1366478"/>
                  <a:pt x="6655004" y="1324216"/>
                  <a:pt x="6612740" y="1281953"/>
                </a:cubicBezTo>
                <a:cubicBezTo>
                  <a:pt x="6612740" y="1296041"/>
                  <a:pt x="6612740" y="1296041"/>
                  <a:pt x="6612740" y="1296041"/>
                </a:cubicBezTo>
                <a:cubicBezTo>
                  <a:pt x="6626829" y="1324216"/>
                  <a:pt x="6655004" y="1338304"/>
                  <a:pt x="6669093" y="1352391"/>
                </a:cubicBezTo>
                <a:cubicBezTo>
                  <a:pt x="6683181" y="1366478"/>
                  <a:pt x="6697269" y="1380566"/>
                  <a:pt x="6725446" y="1394653"/>
                </a:cubicBezTo>
                <a:cubicBezTo>
                  <a:pt x="6725446" y="1408740"/>
                  <a:pt x="6725446" y="1408740"/>
                  <a:pt x="6739534" y="1408740"/>
                </a:cubicBezTo>
                <a:cubicBezTo>
                  <a:pt x="6767710" y="1436915"/>
                  <a:pt x="6795887" y="1479178"/>
                  <a:pt x="6824063" y="1507353"/>
                </a:cubicBezTo>
                <a:cubicBezTo>
                  <a:pt x="6824063" y="1507353"/>
                  <a:pt x="6838152" y="1521440"/>
                  <a:pt x="6838152" y="1521440"/>
                </a:cubicBezTo>
                <a:cubicBezTo>
                  <a:pt x="6852240" y="1521440"/>
                  <a:pt x="6852240" y="1535527"/>
                  <a:pt x="6866328" y="1535527"/>
                </a:cubicBezTo>
                <a:cubicBezTo>
                  <a:pt x="6866328" y="1549614"/>
                  <a:pt x="6880416" y="1563702"/>
                  <a:pt x="6880416" y="1563702"/>
                </a:cubicBezTo>
                <a:cubicBezTo>
                  <a:pt x="6908593" y="1577789"/>
                  <a:pt x="6922681" y="1605964"/>
                  <a:pt x="6936769" y="1605964"/>
                </a:cubicBezTo>
                <a:cubicBezTo>
                  <a:pt x="6950858" y="1634138"/>
                  <a:pt x="6964945" y="1648227"/>
                  <a:pt x="6979034" y="1676401"/>
                </a:cubicBezTo>
                <a:cubicBezTo>
                  <a:pt x="6993122" y="1690489"/>
                  <a:pt x="6993122" y="1690489"/>
                  <a:pt x="7007211" y="1704576"/>
                </a:cubicBezTo>
                <a:cubicBezTo>
                  <a:pt x="7007211" y="1704576"/>
                  <a:pt x="7021298" y="1718663"/>
                  <a:pt x="7021298" y="1718663"/>
                </a:cubicBezTo>
                <a:cubicBezTo>
                  <a:pt x="7021298" y="1718663"/>
                  <a:pt x="7021298" y="1732751"/>
                  <a:pt x="7035386" y="1732751"/>
                </a:cubicBezTo>
                <a:cubicBezTo>
                  <a:pt x="7035386" y="1746838"/>
                  <a:pt x="7035386" y="1746838"/>
                  <a:pt x="7035386" y="1746838"/>
                </a:cubicBezTo>
                <a:cubicBezTo>
                  <a:pt x="7049475" y="1746838"/>
                  <a:pt x="7049475" y="1760925"/>
                  <a:pt x="7049475" y="1760925"/>
                </a:cubicBezTo>
                <a:cubicBezTo>
                  <a:pt x="7063564" y="1789100"/>
                  <a:pt x="7077651" y="1803188"/>
                  <a:pt x="7091739" y="1817276"/>
                </a:cubicBezTo>
                <a:cubicBezTo>
                  <a:pt x="7091739" y="1831363"/>
                  <a:pt x="7105828" y="1831363"/>
                  <a:pt x="7105828" y="1845450"/>
                </a:cubicBezTo>
                <a:cubicBezTo>
                  <a:pt x="7119917" y="1859538"/>
                  <a:pt x="7119917" y="1873625"/>
                  <a:pt x="7134004" y="1887712"/>
                </a:cubicBezTo>
                <a:cubicBezTo>
                  <a:pt x="7134004" y="1887712"/>
                  <a:pt x="7134004" y="1887712"/>
                  <a:pt x="7134004" y="1901800"/>
                </a:cubicBezTo>
                <a:cubicBezTo>
                  <a:pt x="7162181" y="1929974"/>
                  <a:pt x="7176268" y="1944061"/>
                  <a:pt x="7190357" y="1986323"/>
                </a:cubicBezTo>
                <a:cubicBezTo>
                  <a:pt x="7204445" y="2000412"/>
                  <a:pt x="7218534" y="2028587"/>
                  <a:pt x="7218534" y="2042674"/>
                </a:cubicBezTo>
                <a:cubicBezTo>
                  <a:pt x="7232621" y="2042674"/>
                  <a:pt x="7232621" y="2056761"/>
                  <a:pt x="7232621" y="2056761"/>
                </a:cubicBezTo>
                <a:cubicBezTo>
                  <a:pt x="7232621" y="2056761"/>
                  <a:pt x="7232621" y="2070849"/>
                  <a:pt x="7232621" y="2070849"/>
                </a:cubicBezTo>
                <a:cubicBezTo>
                  <a:pt x="7232621" y="2070849"/>
                  <a:pt x="7232621" y="2070849"/>
                  <a:pt x="7232621" y="2084936"/>
                </a:cubicBezTo>
                <a:cubicBezTo>
                  <a:pt x="7232621" y="2084936"/>
                  <a:pt x="7232621" y="2084936"/>
                  <a:pt x="7246710" y="2099023"/>
                </a:cubicBezTo>
                <a:cubicBezTo>
                  <a:pt x="7246710" y="2099023"/>
                  <a:pt x="7246710" y="2113110"/>
                  <a:pt x="7246710" y="2113110"/>
                </a:cubicBezTo>
                <a:cubicBezTo>
                  <a:pt x="7274887" y="2169459"/>
                  <a:pt x="7274887" y="2169459"/>
                  <a:pt x="7288974" y="2169459"/>
                </a:cubicBezTo>
                <a:cubicBezTo>
                  <a:pt x="7303063" y="2169459"/>
                  <a:pt x="7303063" y="2183548"/>
                  <a:pt x="7303063" y="2225810"/>
                </a:cubicBezTo>
                <a:cubicBezTo>
                  <a:pt x="7303063" y="2225810"/>
                  <a:pt x="7303063" y="2225810"/>
                  <a:pt x="7317151" y="2225810"/>
                </a:cubicBezTo>
                <a:cubicBezTo>
                  <a:pt x="7317151" y="2239897"/>
                  <a:pt x="7331240" y="2253985"/>
                  <a:pt x="7331240" y="2268072"/>
                </a:cubicBezTo>
                <a:cubicBezTo>
                  <a:pt x="7317151" y="2268072"/>
                  <a:pt x="7317151" y="2268072"/>
                  <a:pt x="7317151" y="2282159"/>
                </a:cubicBezTo>
                <a:cubicBezTo>
                  <a:pt x="7317151" y="2282159"/>
                  <a:pt x="7331240" y="2282159"/>
                  <a:pt x="7331240" y="2296246"/>
                </a:cubicBezTo>
                <a:cubicBezTo>
                  <a:pt x="7331240" y="2296246"/>
                  <a:pt x="7331240" y="2296246"/>
                  <a:pt x="7331240" y="2310334"/>
                </a:cubicBezTo>
                <a:cubicBezTo>
                  <a:pt x="7345327" y="2338508"/>
                  <a:pt x="7359416" y="2366684"/>
                  <a:pt x="7359416" y="2408946"/>
                </a:cubicBezTo>
                <a:cubicBezTo>
                  <a:pt x="7359416" y="2408946"/>
                  <a:pt x="7373504" y="2408946"/>
                  <a:pt x="7373504" y="2408946"/>
                </a:cubicBezTo>
                <a:cubicBezTo>
                  <a:pt x="7373504" y="2423033"/>
                  <a:pt x="7373504" y="2423033"/>
                  <a:pt x="7373504" y="2437121"/>
                </a:cubicBezTo>
                <a:cubicBezTo>
                  <a:pt x="7373504" y="2451208"/>
                  <a:pt x="7373504" y="2465295"/>
                  <a:pt x="7373504" y="2465295"/>
                </a:cubicBezTo>
                <a:cubicBezTo>
                  <a:pt x="7373504" y="2479383"/>
                  <a:pt x="7387591" y="2507557"/>
                  <a:pt x="7387591" y="2521646"/>
                </a:cubicBezTo>
                <a:cubicBezTo>
                  <a:pt x="7373504" y="2493470"/>
                  <a:pt x="7373504" y="2479383"/>
                  <a:pt x="7373504" y="2479383"/>
                </a:cubicBezTo>
                <a:cubicBezTo>
                  <a:pt x="7373504" y="2465295"/>
                  <a:pt x="7359416" y="2465295"/>
                  <a:pt x="7359416" y="2451208"/>
                </a:cubicBezTo>
                <a:cubicBezTo>
                  <a:pt x="7359416" y="2437121"/>
                  <a:pt x="7359416" y="2423033"/>
                  <a:pt x="7345327" y="2423033"/>
                </a:cubicBezTo>
                <a:cubicBezTo>
                  <a:pt x="7345327" y="2408946"/>
                  <a:pt x="7345327" y="2394859"/>
                  <a:pt x="7331240" y="2380771"/>
                </a:cubicBezTo>
                <a:cubicBezTo>
                  <a:pt x="7317151" y="2352596"/>
                  <a:pt x="7317151" y="2324421"/>
                  <a:pt x="7303063" y="2310334"/>
                </a:cubicBezTo>
                <a:cubicBezTo>
                  <a:pt x="7303063" y="2324421"/>
                  <a:pt x="7317151" y="2338508"/>
                  <a:pt x="7317151" y="2352596"/>
                </a:cubicBezTo>
                <a:cubicBezTo>
                  <a:pt x="7317151" y="2359641"/>
                  <a:pt x="7317151" y="2363162"/>
                  <a:pt x="7317151" y="2366684"/>
                </a:cubicBezTo>
                <a:cubicBezTo>
                  <a:pt x="7317151" y="2366684"/>
                  <a:pt x="7303063" y="2352596"/>
                  <a:pt x="7303063" y="2352596"/>
                </a:cubicBezTo>
                <a:cubicBezTo>
                  <a:pt x="7303063" y="2352596"/>
                  <a:pt x="7303063" y="2338508"/>
                  <a:pt x="7303063" y="2338508"/>
                </a:cubicBezTo>
                <a:cubicBezTo>
                  <a:pt x="7288974" y="2296246"/>
                  <a:pt x="7274887" y="2268072"/>
                  <a:pt x="7260798" y="2225810"/>
                </a:cubicBezTo>
                <a:cubicBezTo>
                  <a:pt x="7246710" y="2197635"/>
                  <a:pt x="7232621" y="2169459"/>
                  <a:pt x="7218534" y="2155372"/>
                </a:cubicBezTo>
                <a:cubicBezTo>
                  <a:pt x="7218534" y="2169459"/>
                  <a:pt x="7218534" y="2183548"/>
                  <a:pt x="7232621" y="2211723"/>
                </a:cubicBezTo>
                <a:cubicBezTo>
                  <a:pt x="7246710" y="2239897"/>
                  <a:pt x="7260798" y="2268072"/>
                  <a:pt x="7274887" y="2296246"/>
                </a:cubicBezTo>
                <a:cubicBezTo>
                  <a:pt x="7274887" y="2324421"/>
                  <a:pt x="7288974" y="2338508"/>
                  <a:pt x="7303063" y="2352596"/>
                </a:cubicBezTo>
                <a:cubicBezTo>
                  <a:pt x="7303063" y="2352596"/>
                  <a:pt x="7303063" y="2366684"/>
                  <a:pt x="7303063" y="2380771"/>
                </a:cubicBezTo>
                <a:cubicBezTo>
                  <a:pt x="7317151" y="2380771"/>
                  <a:pt x="7317151" y="2394859"/>
                  <a:pt x="7317151" y="2394859"/>
                </a:cubicBezTo>
                <a:cubicBezTo>
                  <a:pt x="7317151" y="2408946"/>
                  <a:pt x="7331240" y="2437121"/>
                  <a:pt x="7331240" y="2451208"/>
                </a:cubicBezTo>
                <a:cubicBezTo>
                  <a:pt x="7331240" y="2451208"/>
                  <a:pt x="7331240" y="2451208"/>
                  <a:pt x="7331240" y="2465295"/>
                </a:cubicBezTo>
                <a:cubicBezTo>
                  <a:pt x="7345327" y="2465295"/>
                  <a:pt x="7345327" y="2479383"/>
                  <a:pt x="7345327" y="2479383"/>
                </a:cubicBezTo>
                <a:cubicBezTo>
                  <a:pt x="7359416" y="2493470"/>
                  <a:pt x="7359416" y="2507557"/>
                  <a:pt x="7373504" y="2549821"/>
                </a:cubicBezTo>
                <a:cubicBezTo>
                  <a:pt x="7373504" y="2549821"/>
                  <a:pt x="7373504" y="2549821"/>
                  <a:pt x="7373504" y="2563908"/>
                </a:cubicBezTo>
                <a:cubicBezTo>
                  <a:pt x="7373504" y="2563908"/>
                  <a:pt x="7373504" y="2563908"/>
                  <a:pt x="7387591" y="2563908"/>
                </a:cubicBezTo>
                <a:cubicBezTo>
                  <a:pt x="7387591" y="2563908"/>
                  <a:pt x="7387591" y="2563908"/>
                  <a:pt x="7387591" y="2577995"/>
                </a:cubicBezTo>
                <a:cubicBezTo>
                  <a:pt x="7387591" y="2577995"/>
                  <a:pt x="7387591" y="2577995"/>
                  <a:pt x="7387591" y="2592082"/>
                </a:cubicBezTo>
                <a:cubicBezTo>
                  <a:pt x="7387591" y="2606170"/>
                  <a:pt x="7387591" y="2606170"/>
                  <a:pt x="7401680" y="2620257"/>
                </a:cubicBezTo>
                <a:cubicBezTo>
                  <a:pt x="7401680" y="2620257"/>
                  <a:pt x="7401680" y="2620257"/>
                  <a:pt x="7401680" y="2634344"/>
                </a:cubicBezTo>
                <a:cubicBezTo>
                  <a:pt x="7401680" y="2648431"/>
                  <a:pt x="7415769" y="2662519"/>
                  <a:pt x="7415769" y="2676606"/>
                </a:cubicBezTo>
                <a:cubicBezTo>
                  <a:pt x="7401680" y="2676606"/>
                  <a:pt x="7401680" y="2676606"/>
                  <a:pt x="7401680" y="2662519"/>
                </a:cubicBezTo>
                <a:cubicBezTo>
                  <a:pt x="7401680" y="2662519"/>
                  <a:pt x="7401680" y="2676606"/>
                  <a:pt x="7401680" y="2690693"/>
                </a:cubicBezTo>
                <a:cubicBezTo>
                  <a:pt x="7401680" y="2676606"/>
                  <a:pt x="7387591" y="2676606"/>
                  <a:pt x="7387591" y="2662519"/>
                </a:cubicBezTo>
                <a:cubicBezTo>
                  <a:pt x="7387591" y="2648431"/>
                  <a:pt x="7387591" y="2634344"/>
                  <a:pt x="7373504" y="2620257"/>
                </a:cubicBezTo>
                <a:cubicBezTo>
                  <a:pt x="7373504" y="2606170"/>
                  <a:pt x="7373504" y="2592082"/>
                  <a:pt x="7359416" y="2577995"/>
                </a:cubicBezTo>
                <a:cubicBezTo>
                  <a:pt x="7359416" y="2577995"/>
                  <a:pt x="7359416" y="2549821"/>
                  <a:pt x="7345327" y="2535733"/>
                </a:cubicBezTo>
                <a:cubicBezTo>
                  <a:pt x="7345327" y="2493470"/>
                  <a:pt x="7331240" y="2465295"/>
                  <a:pt x="7317151" y="2451208"/>
                </a:cubicBezTo>
                <a:cubicBezTo>
                  <a:pt x="7317151" y="2451208"/>
                  <a:pt x="7317151" y="2423033"/>
                  <a:pt x="7317151" y="2423033"/>
                </a:cubicBezTo>
                <a:cubicBezTo>
                  <a:pt x="7303063" y="2423033"/>
                  <a:pt x="7303063" y="2423033"/>
                  <a:pt x="7303063" y="2423033"/>
                </a:cubicBezTo>
                <a:cubicBezTo>
                  <a:pt x="7303063" y="2408946"/>
                  <a:pt x="7303063" y="2408946"/>
                  <a:pt x="7303063" y="2394859"/>
                </a:cubicBezTo>
                <a:cubicBezTo>
                  <a:pt x="7288974" y="2380771"/>
                  <a:pt x="7274887" y="2352596"/>
                  <a:pt x="7260798" y="2324421"/>
                </a:cubicBezTo>
                <a:cubicBezTo>
                  <a:pt x="7260798" y="2296246"/>
                  <a:pt x="7246710" y="2268072"/>
                  <a:pt x="7232621" y="2239897"/>
                </a:cubicBezTo>
                <a:lnTo>
                  <a:pt x="7232621" y="2253985"/>
                </a:lnTo>
                <a:cubicBezTo>
                  <a:pt x="7218534" y="2211723"/>
                  <a:pt x="7204445" y="2197635"/>
                  <a:pt x="7176268" y="2169459"/>
                </a:cubicBezTo>
                <a:cubicBezTo>
                  <a:pt x="7176268" y="2169459"/>
                  <a:pt x="7190357" y="2183548"/>
                  <a:pt x="7190357" y="2197635"/>
                </a:cubicBezTo>
                <a:cubicBezTo>
                  <a:pt x="7204445" y="2225810"/>
                  <a:pt x="7204445" y="2239897"/>
                  <a:pt x="7218534" y="2253985"/>
                </a:cubicBezTo>
                <a:cubicBezTo>
                  <a:pt x="7218534" y="2253985"/>
                  <a:pt x="7218534" y="2268072"/>
                  <a:pt x="7218534" y="2268072"/>
                </a:cubicBezTo>
                <a:cubicBezTo>
                  <a:pt x="7232621" y="2282159"/>
                  <a:pt x="7232621" y="2324421"/>
                  <a:pt x="7246710" y="2324421"/>
                </a:cubicBezTo>
                <a:cubicBezTo>
                  <a:pt x="7246710" y="2324421"/>
                  <a:pt x="7246710" y="2338508"/>
                  <a:pt x="7246710" y="2352596"/>
                </a:cubicBezTo>
                <a:cubicBezTo>
                  <a:pt x="7246710" y="2338508"/>
                  <a:pt x="7232621" y="2338508"/>
                  <a:pt x="7232621" y="2324421"/>
                </a:cubicBezTo>
                <a:cubicBezTo>
                  <a:pt x="7232621" y="2324421"/>
                  <a:pt x="7232621" y="2324421"/>
                  <a:pt x="7232621" y="2338508"/>
                </a:cubicBezTo>
                <a:cubicBezTo>
                  <a:pt x="7218534" y="2324421"/>
                  <a:pt x="7218534" y="2296246"/>
                  <a:pt x="7204445" y="2282159"/>
                </a:cubicBezTo>
                <a:cubicBezTo>
                  <a:pt x="7204445" y="2268072"/>
                  <a:pt x="7190357" y="2268072"/>
                  <a:pt x="7190357" y="2239897"/>
                </a:cubicBezTo>
                <a:cubicBezTo>
                  <a:pt x="7190357" y="2225810"/>
                  <a:pt x="7176268" y="2211723"/>
                  <a:pt x="7176268" y="2197635"/>
                </a:cubicBezTo>
                <a:cubicBezTo>
                  <a:pt x="7162181" y="2197635"/>
                  <a:pt x="7162181" y="2197635"/>
                  <a:pt x="7162181" y="2183548"/>
                </a:cubicBezTo>
                <a:cubicBezTo>
                  <a:pt x="7162181" y="2197635"/>
                  <a:pt x="7162181" y="2211723"/>
                  <a:pt x="7176268" y="2225810"/>
                </a:cubicBezTo>
                <a:cubicBezTo>
                  <a:pt x="7176268" y="2253985"/>
                  <a:pt x="7190357" y="2268072"/>
                  <a:pt x="7190357" y="2296246"/>
                </a:cubicBezTo>
                <a:cubicBezTo>
                  <a:pt x="7204445" y="2296246"/>
                  <a:pt x="7204445" y="2296246"/>
                  <a:pt x="7204445" y="2310334"/>
                </a:cubicBezTo>
                <a:cubicBezTo>
                  <a:pt x="7204445" y="2310334"/>
                  <a:pt x="7204445" y="2310334"/>
                  <a:pt x="7204445" y="2324421"/>
                </a:cubicBezTo>
                <a:cubicBezTo>
                  <a:pt x="7218534" y="2352596"/>
                  <a:pt x="7232621" y="2380771"/>
                  <a:pt x="7246710" y="2408946"/>
                </a:cubicBezTo>
                <a:cubicBezTo>
                  <a:pt x="7260798" y="2437121"/>
                  <a:pt x="7274887" y="2465295"/>
                  <a:pt x="7274887" y="2479383"/>
                </a:cubicBezTo>
                <a:cubicBezTo>
                  <a:pt x="7288974" y="2493470"/>
                  <a:pt x="7288974" y="2493470"/>
                  <a:pt x="7288974" y="2493470"/>
                </a:cubicBezTo>
                <a:cubicBezTo>
                  <a:pt x="7288974" y="2493470"/>
                  <a:pt x="7288974" y="2493470"/>
                  <a:pt x="7288974" y="2521646"/>
                </a:cubicBezTo>
                <a:cubicBezTo>
                  <a:pt x="7303063" y="2549821"/>
                  <a:pt x="7317151" y="2577995"/>
                  <a:pt x="7317151" y="2606170"/>
                </a:cubicBezTo>
                <a:cubicBezTo>
                  <a:pt x="7331240" y="2620257"/>
                  <a:pt x="7331240" y="2634344"/>
                  <a:pt x="7331240" y="2648431"/>
                </a:cubicBezTo>
                <a:cubicBezTo>
                  <a:pt x="7345327" y="2662519"/>
                  <a:pt x="7331240" y="2676606"/>
                  <a:pt x="7345327" y="2690693"/>
                </a:cubicBezTo>
                <a:cubicBezTo>
                  <a:pt x="7331240" y="2676606"/>
                  <a:pt x="7331240" y="2676606"/>
                  <a:pt x="7331240" y="2662519"/>
                </a:cubicBezTo>
                <a:cubicBezTo>
                  <a:pt x="7317151" y="2662519"/>
                  <a:pt x="7317151" y="2634344"/>
                  <a:pt x="7303063" y="2620257"/>
                </a:cubicBezTo>
                <a:cubicBezTo>
                  <a:pt x="7303063" y="2606170"/>
                  <a:pt x="7303063" y="2606170"/>
                  <a:pt x="7303063" y="2606170"/>
                </a:cubicBezTo>
                <a:cubicBezTo>
                  <a:pt x="7303063" y="2606170"/>
                  <a:pt x="7303063" y="2606170"/>
                  <a:pt x="7303063" y="2592082"/>
                </a:cubicBezTo>
                <a:cubicBezTo>
                  <a:pt x="7303063" y="2592082"/>
                  <a:pt x="7303063" y="2592082"/>
                  <a:pt x="7288974" y="2577995"/>
                </a:cubicBezTo>
                <a:cubicBezTo>
                  <a:pt x="7288974" y="2577995"/>
                  <a:pt x="7288974" y="2577995"/>
                  <a:pt x="7288974" y="2563908"/>
                </a:cubicBezTo>
                <a:cubicBezTo>
                  <a:pt x="7288974" y="2563908"/>
                  <a:pt x="7288974" y="2563908"/>
                  <a:pt x="7288974" y="2549821"/>
                </a:cubicBezTo>
                <a:cubicBezTo>
                  <a:pt x="7274887" y="2549821"/>
                  <a:pt x="7274887" y="2549821"/>
                  <a:pt x="7274887" y="2549821"/>
                </a:cubicBezTo>
                <a:cubicBezTo>
                  <a:pt x="7288974" y="2563908"/>
                  <a:pt x="7288974" y="2577995"/>
                  <a:pt x="7288974" y="2606170"/>
                </a:cubicBezTo>
                <a:cubicBezTo>
                  <a:pt x="7303063" y="2606170"/>
                  <a:pt x="7303063" y="2620257"/>
                  <a:pt x="7303063" y="2634344"/>
                </a:cubicBezTo>
                <a:cubicBezTo>
                  <a:pt x="7317151" y="2648431"/>
                  <a:pt x="7317151" y="2676606"/>
                  <a:pt x="7331240" y="2704782"/>
                </a:cubicBezTo>
                <a:cubicBezTo>
                  <a:pt x="7331240" y="2718869"/>
                  <a:pt x="7331240" y="2732957"/>
                  <a:pt x="7345327" y="2761131"/>
                </a:cubicBezTo>
                <a:cubicBezTo>
                  <a:pt x="7345327" y="2761131"/>
                  <a:pt x="7345327" y="2775218"/>
                  <a:pt x="7345327" y="2775218"/>
                </a:cubicBezTo>
                <a:cubicBezTo>
                  <a:pt x="7345327" y="2775218"/>
                  <a:pt x="7345327" y="2789306"/>
                  <a:pt x="7345327" y="2789306"/>
                </a:cubicBezTo>
                <a:cubicBezTo>
                  <a:pt x="7331240" y="2761131"/>
                  <a:pt x="7317151" y="2718869"/>
                  <a:pt x="7303063" y="2690693"/>
                </a:cubicBezTo>
                <a:cubicBezTo>
                  <a:pt x="7303063" y="2676606"/>
                  <a:pt x="7303063" y="2662519"/>
                  <a:pt x="7288974" y="2648431"/>
                </a:cubicBezTo>
                <a:cubicBezTo>
                  <a:pt x="7288974" y="2620257"/>
                  <a:pt x="7274887" y="2606170"/>
                  <a:pt x="7274887" y="2592082"/>
                </a:cubicBezTo>
                <a:cubicBezTo>
                  <a:pt x="7260798" y="2549821"/>
                  <a:pt x="7246710" y="2521646"/>
                  <a:pt x="7232621" y="2479383"/>
                </a:cubicBezTo>
                <a:cubicBezTo>
                  <a:pt x="7218534" y="2465295"/>
                  <a:pt x="7218534" y="2437121"/>
                  <a:pt x="7204445" y="2408946"/>
                </a:cubicBezTo>
                <a:cubicBezTo>
                  <a:pt x="7190357" y="2394859"/>
                  <a:pt x="7190357" y="2394859"/>
                  <a:pt x="7190357" y="2394859"/>
                </a:cubicBezTo>
                <a:cubicBezTo>
                  <a:pt x="7190357" y="2394859"/>
                  <a:pt x="7176268" y="2380771"/>
                  <a:pt x="7162181" y="2352596"/>
                </a:cubicBezTo>
                <a:cubicBezTo>
                  <a:pt x="7162181" y="2338508"/>
                  <a:pt x="7162181" y="2338508"/>
                  <a:pt x="7162181" y="2324421"/>
                </a:cubicBezTo>
                <a:cubicBezTo>
                  <a:pt x="7162181" y="2324421"/>
                  <a:pt x="7148092" y="2324421"/>
                  <a:pt x="7148092" y="2324421"/>
                </a:cubicBezTo>
                <a:cubicBezTo>
                  <a:pt x="7148092" y="2324421"/>
                  <a:pt x="7148092" y="2324421"/>
                  <a:pt x="7148092" y="2310334"/>
                </a:cubicBezTo>
                <a:cubicBezTo>
                  <a:pt x="7134004" y="2282159"/>
                  <a:pt x="7119917" y="2268072"/>
                  <a:pt x="7119917" y="2253985"/>
                </a:cubicBezTo>
                <a:cubicBezTo>
                  <a:pt x="7105828" y="2239897"/>
                  <a:pt x="7091739" y="2225810"/>
                  <a:pt x="7077651" y="2183548"/>
                </a:cubicBezTo>
                <a:cubicBezTo>
                  <a:pt x="7077651" y="2183548"/>
                  <a:pt x="7063564" y="2169459"/>
                  <a:pt x="7063564" y="2169459"/>
                </a:cubicBezTo>
                <a:cubicBezTo>
                  <a:pt x="7063564" y="2155372"/>
                  <a:pt x="7049475" y="2141285"/>
                  <a:pt x="7049475" y="2127198"/>
                </a:cubicBezTo>
                <a:cubicBezTo>
                  <a:pt x="7035386" y="2127198"/>
                  <a:pt x="7035386" y="2113110"/>
                  <a:pt x="7021298" y="2099023"/>
                </a:cubicBezTo>
                <a:cubicBezTo>
                  <a:pt x="7007211" y="2084936"/>
                  <a:pt x="7007211" y="2070849"/>
                  <a:pt x="6979034" y="2042674"/>
                </a:cubicBezTo>
                <a:cubicBezTo>
                  <a:pt x="6979034" y="2042674"/>
                  <a:pt x="6979034" y="2042674"/>
                  <a:pt x="6979034" y="2028587"/>
                </a:cubicBezTo>
                <a:cubicBezTo>
                  <a:pt x="6964945" y="2014499"/>
                  <a:pt x="6950858" y="2000412"/>
                  <a:pt x="6936769" y="1986323"/>
                </a:cubicBezTo>
                <a:cubicBezTo>
                  <a:pt x="6936769" y="1986323"/>
                  <a:pt x="6936769" y="1986323"/>
                  <a:pt x="6936769" y="2000412"/>
                </a:cubicBezTo>
                <a:cubicBezTo>
                  <a:pt x="6936769" y="2000412"/>
                  <a:pt x="6950858" y="2000412"/>
                  <a:pt x="6950858" y="2014499"/>
                </a:cubicBezTo>
                <a:cubicBezTo>
                  <a:pt x="6964945" y="2014499"/>
                  <a:pt x="6964945" y="2028587"/>
                  <a:pt x="6964945" y="2042674"/>
                </a:cubicBezTo>
                <a:cubicBezTo>
                  <a:pt x="6964945" y="2042674"/>
                  <a:pt x="6979034" y="2056761"/>
                  <a:pt x="6979034" y="2056761"/>
                </a:cubicBezTo>
                <a:cubicBezTo>
                  <a:pt x="6993122" y="2070849"/>
                  <a:pt x="7007211" y="2099023"/>
                  <a:pt x="7021298" y="2127198"/>
                </a:cubicBezTo>
                <a:cubicBezTo>
                  <a:pt x="7035386" y="2127198"/>
                  <a:pt x="7035386" y="2141285"/>
                  <a:pt x="7035386" y="2155372"/>
                </a:cubicBezTo>
                <a:cubicBezTo>
                  <a:pt x="7063564" y="2211723"/>
                  <a:pt x="7077651" y="2225810"/>
                  <a:pt x="7091739" y="2253985"/>
                </a:cubicBezTo>
                <a:cubicBezTo>
                  <a:pt x="7091739" y="2253985"/>
                  <a:pt x="7091739" y="2253985"/>
                  <a:pt x="7077651" y="2239897"/>
                </a:cubicBezTo>
                <a:cubicBezTo>
                  <a:pt x="7063564" y="2211723"/>
                  <a:pt x="7035386" y="2183548"/>
                  <a:pt x="7021298" y="2155372"/>
                </a:cubicBezTo>
                <a:cubicBezTo>
                  <a:pt x="7021298" y="2155372"/>
                  <a:pt x="7021298" y="2141285"/>
                  <a:pt x="7007211" y="2141285"/>
                </a:cubicBezTo>
                <a:cubicBezTo>
                  <a:pt x="7007211" y="2141285"/>
                  <a:pt x="7007211" y="2141285"/>
                  <a:pt x="7007211" y="2127198"/>
                </a:cubicBezTo>
                <a:cubicBezTo>
                  <a:pt x="7007211" y="2127198"/>
                  <a:pt x="6993122" y="2113110"/>
                  <a:pt x="6993122" y="2099023"/>
                </a:cubicBezTo>
                <a:cubicBezTo>
                  <a:pt x="6993122" y="2099023"/>
                  <a:pt x="6993122" y="2099023"/>
                  <a:pt x="6979034" y="2084936"/>
                </a:cubicBezTo>
                <a:cubicBezTo>
                  <a:pt x="6979034" y="2084936"/>
                  <a:pt x="6979034" y="2084936"/>
                  <a:pt x="6979034" y="2070849"/>
                </a:cubicBezTo>
                <a:cubicBezTo>
                  <a:pt x="6964945" y="2070849"/>
                  <a:pt x="6964945" y="2056761"/>
                  <a:pt x="6964945" y="2056761"/>
                </a:cubicBezTo>
                <a:cubicBezTo>
                  <a:pt x="6950858" y="2056761"/>
                  <a:pt x="6950858" y="2056761"/>
                  <a:pt x="6950858" y="2042674"/>
                </a:cubicBezTo>
                <a:cubicBezTo>
                  <a:pt x="6950858" y="2042674"/>
                  <a:pt x="6936769" y="2042674"/>
                  <a:pt x="6936769" y="2028587"/>
                </a:cubicBezTo>
                <a:cubicBezTo>
                  <a:pt x="6936769" y="2014499"/>
                  <a:pt x="6936769" y="2014499"/>
                  <a:pt x="6936769" y="2014499"/>
                </a:cubicBezTo>
                <a:cubicBezTo>
                  <a:pt x="6922681" y="2014499"/>
                  <a:pt x="6922681" y="2000412"/>
                  <a:pt x="6908593" y="2000412"/>
                </a:cubicBezTo>
                <a:cubicBezTo>
                  <a:pt x="6908593" y="2000412"/>
                  <a:pt x="6908593" y="2000412"/>
                  <a:pt x="6908593" y="1986323"/>
                </a:cubicBezTo>
                <a:cubicBezTo>
                  <a:pt x="6894505" y="1972236"/>
                  <a:pt x="6880416" y="1958149"/>
                  <a:pt x="6866328" y="1944061"/>
                </a:cubicBezTo>
                <a:cubicBezTo>
                  <a:pt x="6866328" y="1929974"/>
                  <a:pt x="6866328" y="1929974"/>
                  <a:pt x="6866328" y="1929974"/>
                </a:cubicBezTo>
                <a:cubicBezTo>
                  <a:pt x="6866328" y="1929974"/>
                  <a:pt x="6852240" y="1915887"/>
                  <a:pt x="6852240" y="1915887"/>
                </a:cubicBezTo>
                <a:cubicBezTo>
                  <a:pt x="6838152" y="1901800"/>
                  <a:pt x="6824063" y="1887712"/>
                  <a:pt x="6809975" y="1873625"/>
                </a:cubicBezTo>
                <a:cubicBezTo>
                  <a:pt x="6795887" y="1859538"/>
                  <a:pt x="6781799" y="1845450"/>
                  <a:pt x="6781799" y="1831363"/>
                </a:cubicBezTo>
                <a:cubicBezTo>
                  <a:pt x="6781799" y="1831363"/>
                  <a:pt x="6767710" y="1831363"/>
                  <a:pt x="6767710" y="1831363"/>
                </a:cubicBezTo>
                <a:cubicBezTo>
                  <a:pt x="6767710" y="1817276"/>
                  <a:pt x="6767710" y="1817276"/>
                  <a:pt x="6753622" y="1803188"/>
                </a:cubicBezTo>
                <a:cubicBezTo>
                  <a:pt x="6739534" y="1803188"/>
                  <a:pt x="6725446" y="1789100"/>
                  <a:pt x="6711357" y="1760925"/>
                </a:cubicBezTo>
                <a:cubicBezTo>
                  <a:pt x="6711357" y="1760925"/>
                  <a:pt x="6711357" y="1760925"/>
                  <a:pt x="6697269" y="1760925"/>
                </a:cubicBezTo>
                <a:cubicBezTo>
                  <a:pt x="6697269" y="1746838"/>
                  <a:pt x="6697269" y="1746838"/>
                  <a:pt x="6697269" y="1746838"/>
                </a:cubicBezTo>
                <a:cubicBezTo>
                  <a:pt x="6697269" y="1746838"/>
                  <a:pt x="6697269" y="1746838"/>
                  <a:pt x="6683181" y="1732751"/>
                </a:cubicBezTo>
                <a:cubicBezTo>
                  <a:pt x="6683181" y="1732751"/>
                  <a:pt x="6669093" y="1718663"/>
                  <a:pt x="6655004" y="1704576"/>
                </a:cubicBezTo>
                <a:cubicBezTo>
                  <a:pt x="6640916" y="1704576"/>
                  <a:pt x="6640916" y="1690489"/>
                  <a:pt x="6640916" y="1690489"/>
                </a:cubicBezTo>
                <a:cubicBezTo>
                  <a:pt x="6626829" y="1690489"/>
                  <a:pt x="6626829" y="1690489"/>
                  <a:pt x="6612740" y="1676401"/>
                </a:cubicBezTo>
                <a:cubicBezTo>
                  <a:pt x="6612740" y="1662314"/>
                  <a:pt x="6598651" y="1662314"/>
                  <a:pt x="6598651" y="1662314"/>
                </a:cubicBezTo>
                <a:cubicBezTo>
                  <a:pt x="6598651" y="1662314"/>
                  <a:pt x="6598651" y="1662314"/>
                  <a:pt x="6598651" y="1648227"/>
                </a:cubicBezTo>
                <a:cubicBezTo>
                  <a:pt x="6598651" y="1648227"/>
                  <a:pt x="6598651" y="1648227"/>
                  <a:pt x="6584563" y="1648227"/>
                </a:cubicBezTo>
                <a:cubicBezTo>
                  <a:pt x="6584563" y="1648227"/>
                  <a:pt x="6584563" y="1648227"/>
                  <a:pt x="6570476" y="1634138"/>
                </a:cubicBezTo>
                <a:cubicBezTo>
                  <a:pt x="6570476" y="1634138"/>
                  <a:pt x="6556387" y="1620051"/>
                  <a:pt x="6556387" y="1620051"/>
                </a:cubicBezTo>
                <a:cubicBezTo>
                  <a:pt x="6542298" y="1605964"/>
                  <a:pt x="6542298" y="1605964"/>
                  <a:pt x="6542298" y="1605964"/>
                </a:cubicBezTo>
                <a:cubicBezTo>
                  <a:pt x="6528211" y="1591876"/>
                  <a:pt x="6500034" y="1577789"/>
                  <a:pt x="6485946" y="1563702"/>
                </a:cubicBezTo>
                <a:cubicBezTo>
                  <a:pt x="6471858" y="1563702"/>
                  <a:pt x="6457770" y="1535527"/>
                  <a:pt x="6457770" y="1535527"/>
                </a:cubicBezTo>
                <a:cubicBezTo>
                  <a:pt x="6457770" y="1535527"/>
                  <a:pt x="6443681" y="1535527"/>
                  <a:pt x="6443681" y="1535527"/>
                </a:cubicBezTo>
                <a:cubicBezTo>
                  <a:pt x="6443681" y="1535527"/>
                  <a:pt x="6457770" y="1549614"/>
                  <a:pt x="6471858" y="1563702"/>
                </a:cubicBezTo>
                <a:cubicBezTo>
                  <a:pt x="6471858" y="1577789"/>
                  <a:pt x="6471858" y="1577789"/>
                  <a:pt x="6471858" y="1577789"/>
                </a:cubicBezTo>
                <a:cubicBezTo>
                  <a:pt x="6471858" y="1577789"/>
                  <a:pt x="6471858" y="1577789"/>
                  <a:pt x="6485946" y="1591876"/>
                </a:cubicBezTo>
                <a:cubicBezTo>
                  <a:pt x="6485946" y="1591876"/>
                  <a:pt x="6485946" y="1591876"/>
                  <a:pt x="6500034" y="1605964"/>
                </a:cubicBezTo>
                <a:cubicBezTo>
                  <a:pt x="6514123" y="1620051"/>
                  <a:pt x="6514123" y="1620051"/>
                  <a:pt x="6514123" y="1620051"/>
                </a:cubicBezTo>
                <a:cubicBezTo>
                  <a:pt x="6500034" y="1605964"/>
                  <a:pt x="6500034" y="1605964"/>
                  <a:pt x="6485946" y="1605964"/>
                </a:cubicBezTo>
                <a:cubicBezTo>
                  <a:pt x="6471858" y="1591876"/>
                  <a:pt x="6471858" y="1591876"/>
                  <a:pt x="6471858" y="1591876"/>
                </a:cubicBezTo>
                <a:cubicBezTo>
                  <a:pt x="6471858" y="1591876"/>
                  <a:pt x="6471858" y="1591876"/>
                  <a:pt x="6457770" y="1591876"/>
                </a:cubicBezTo>
                <a:cubicBezTo>
                  <a:pt x="6443681" y="1577789"/>
                  <a:pt x="6443681" y="1563702"/>
                  <a:pt x="6443681" y="1563702"/>
                </a:cubicBezTo>
                <a:cubicBezTo>
                  <a:pt x="6436637" y="1556658"/>
                  <a:pt x="6433114" y="1549614"/>
                  <a:pt x="6427832" y="1542571"/>
                </a:cubicBezTo>
                <a:lnTo>
                  <a:pt x="6414624" y="1532005"/>
                </a:lnTo>
                <a:lnTo>
                  <a:pt x="6413744" y="1528484"/>
                </a:lnTo>
                <a:cubicBezTo>
                  <a:pt x="6411983" y="1524962"/>
                  <a:pt x="6408462" y="1521440"/>
                  <a:pt x="6401417" y="1521440"/>
                </a:cubicBezTo>
                <a:cubicBezTo>
                  <a:pt x="6387328" y="1521440"/>
                  <a:pt x="6387328" y="1521440"/>
                  <a:pt x="6387328" y="1507353"/>
                </a:cubicBezTo>
                <a:cubicBezTo>
                  <a:pt x="6387328" y="1507353"/>
                  <a:pt x="6387328" y="1507353"/>
                  <a:pt x="6373240" y="1507353"/>
                </a:cubicBezTo>
                <a:cubicBezTo>
                  <a:pt x="6387328" y="1521440"/>
                  <a:pt x="6401417" y="1535527"/>
                  <a:pt x="6415505" y="1549614"/>
                </a:cubicBezTo>
                <a:cubicBezTo>
                  <a:pt x="6387328" y="1535527"/>
                  <a:pt x="6359152" y="1507353"/>
                  <a:pt x="6330975" y="1479178"/>
                </a:cubicBezTo>
                <a:cubicBezTo>
                  <a:pt x="6330975" y="1479178"/>
                  <a:pt x="6330975" y="1465089"/>
                  <a:pt x="6330975" y="1465089"/>
                </a:cubicBezTo>
                <a:cubicBezTo>
                  <a:pt x="6345064" y="1479178"/>
                  <a:pt x="6330975" y="1465089"/>
                  <a:pt x="6330975" y="1465089"/>
                </a:cubicBezTo>
                <a:cubicBezTo>
                  <a:pt x="6330975" y="1465089"/>
                  <a:pt x="6316888" y="1451002"/>
                  <a:pt x="6316888" y="1465089"/>
                </a:cubicBezTo>
                <a:cubicBezTo>
                  <a:pt x="6316888" y="1465089"/>
                  <a:pt x="6316888" y="1465089"/>
                  <a:pt x="6302799" y="1451002"/>
                </a:cubicBezTo>
                <a:cubicBezTo>
                  <a:pt x="6288711" y="1436915"/>
                  <a:pt x="6260535" y="1422828"/>
                  <a:pt x="6246446" y="1408740"/>
                </a:cubicBezTo>
                <a:cubicBezTo>
                  <a:pt x="6246446" y="1408740"/>
                  <a:pt x="6242925" y="1408740"/>
                  <a:pt x="6239403" y="1408740"/>
                </a:cubicBezTo>
                <a:lnTo>
                  <a:pt x="6237641" y="1408740"/>
                </a:lnTo>
                <a:cubicBezTo>
                  <a:pt x="6235880" y="1408740"/>
                  <a:pt x="6232358" y="1408740"/>
                  <a:pt x="6232358" y="1408740"/>
                </a:cubicBezTo>
                <a:cubicBezTo>
                  <a:pt x="6218269" y="1408740"/>
                  <a:pt x="6204182" y="1394653"/>
                  <a:pt x="6204182" y="1394653"/>
                </a:cubicBezTo>
                <a:cubicBezTo>
                  <a:pt x="6190093" y="1394653"/>
                  <a:pt x="6190093" y="1380566"/>
                  <a:pt x="6190093" y="1380566"/>
                </a:cubicBezTo>
                <a:cubicBezTo>
                  <a:pt x="6176005" y="1380566"/>
                  <a:pt x="6147829" y="1352391"/>
                  <a:pt x="6119652" y="1352391"/>
                </a:cubicBezTo>
                <a:cubicBezTo>
                  <a:pt x="6119652" y="1338304"/>
                  <a:pt x="6119652" y="1338304"/>
                  <a:pt x="6105565" y="1338304"/>
                </a:cubicBezTo>
                <a:cubicBezTo>
                  <a:pt x="6105565" y="1338304"/>
                  <a:pt x="6105565" y="1338304"/>
                  <a:pt x="6091476" y="1324216"/>
                </a:cubicBezTo>
                <a:cubicBezTo>
                  <a:pt x="6091476" y="1324216"/>
                  <a:pt x="6091476" y="1324216"/>
                  <a:pt x="6077388" y="1324216"/>
                </a:cubicBezTo>
                <a:cubicBezTo>
                  <a:pt x="6063299" y="1310129"/>
                  <a:pt x="6063299" y="1324216"/>
                  <a:pt x="6077388" y="1324216"/>
                </a:cubicBezTo>
                <a:cubicBezTo>
                  <a:pt x="6091476" y="1338304"/>
                  <a:pt x="6105565" y="1352391"/>
                  <a:pt x="6119652" y="1366478"/>
                </a:cubicBezTo>
                <a:cubicBezTo>
                  <a:pt x="6126697" y="1366478"/>
                  <a:pt x="6137262" y="1370000"/>
                  <a:pt x="6147829" y="1375282"/>
                </a:cubicBezTo>
                <a:lnTo>
                  <a:pt x="6155514" y="1380566"/>
                </a:lnTo>
                <a:lnTo>
                  <a:pt x="6154873" y="1380566"/>
                </a:lnTo>
                <a:cubicBezTo>
                  <a:pt x="6151351" y="1380566"/>
                  <a:pt x="6147829" y="1380566"/>
                  <a:pt x="6147829" y="1380566"/>
                </a:cubicBezTo>
                <a:cubicBezTo>
                  <a:pt x="6147829" y="1380566"/>
                  <a:pt x="6161916" y="1394653"/>
                  <a:pt x="6161916" y="1394653"/>
                </a:cubicBezTo>
                <a:cubicBezTo>
                  <a:pt x="6176005" y="1408740"/>
                  <a:pt x="6190093" y="1408740"/>
                  <a:pt x="6190093" y="1422828"/>
                </a:cubicBezTo>
                <a:cubicBezTo>
                  <a:pt x="6204182" y="1422828"/>
                  <a:pt x="6204182" y="1422828"/>
                  <a:pt x="6204182" y="1422828"/>
                </a:cubicBezTo>
                <a:cubicBezTo>
                  <a:pt x="6218269" y="1436915"/>
                  <a:pt x="6246446" y="1451002"/>
                  <a:pt x="6260535" y="1465089"/>
                </a:cubicBezTo>
                <a:cubicBezTo>
                  <a:pt x="6274622" y="1479178"/>
                  <a:pt x="6288711" y="1479178"/>
                  <a:pt x="6302799" y="1493265"/>
                </a:cubicBezTo>
                <a:cubicBezTo>
                  <a:pt x="6330975" y="1507353"/>
                  <a:pt x="6345064" y="1521440"/>
                  <a:pt x="6373240" y="1535527"/>
                </a:cubicBezTo>
                <a:cubicBezTo>
                  <a:pt x="6373240" y="1535527"/>
                  <a:pt x="6373240" y="1549614"/>
                  <a:pt x="6387328" y="1549614"/>
                </a:cubicBezTo>
                <a:cubicBezTo>
                  <a:pt x="6387328" y="1549614"/>
                  <a:pt x="6387328" y="1563702"/>
                  <a:pt x="6401417" y="1563702"/>
                </a:cubicBezTo>
                <a:cubicBezTo>
                  <a:pt x="6401417" y="1563702"/>
                  <a:pt x="6401417" y="1577789"/>
                  <a:pt x="6415505" y="1577789"/>
                </a:cubicBezTo>
                <a:cubicBezTo>
                  <a:pt x="6415505" y="1577789"/>
                  <a:pt x="6401417" y="1577789"/>
                  <a:pt x="6401417" y="1577789"/>
                </a:cubicBezTo>
                <a:cubicBezTo>
                  <a:pt x="6415505" y="1591876"/>
                  <a:pt x="6415505" y="1591876"/>
                  <a:pt x="6429593" y="1605964"/>
                </a:cubicBezTo>
                <a:cubicBezTo>
                  <a:pt x="6429593" y="1605964"/>
                  <a:pt x="6443681" y="1620051"/>
                  <a:pt x="6443681" y="1620051"/>
                </a:cubicBezTo>
                <a:cubicBezTo>
                  <a:pt x="6443681" y="1620051"/>
                  <a:pt x="6443681" y="1620051"/>
                  <a:pt x="6457770" y="1620051"/>
                </a:cubicBezTo>
                <a:cubicBezTo>
                  <a:pt x="6457770" y="1634138"/>
                  <a:pt x="6471858" y="1634138"/>
                  <a:pt x="6485946" y="1648227"/>
                </a:cubicBezTo>
                <a:cubicBezTo>
                  <a:pt x="6500034" y="1662314"/>
                  <a:pt x="6514123" y="1676401"/>
                  <a:pt x="6528211" y="1690489"/>
                </a:cubicBezTo>
                <a:cubicBezTo>
                  <a:pt x="6528211" y="1690489"/>
                  <a:pt x="6528211" y="1690489"/>
                  <a:pt x="6528211" y="1704576"/>
                </a:cubicBezTo>
                <a:cubicBezTo>
                  <a:pt x="6514123" y="1676401"/>
                  <a:pt x="6485946" y="1662314"/>
                  <a:pt x="6471858" y="1648227"/>
                </a:cubicBezTo>
                <a:cubicBezTo>
                  <a:pt x="6471858" y="1662314"/>
                  <a:pt x="6471858" y="1662314"/>
                  <a:pt x="6500034" y="1690489"/>
                </a:cubicBezTo>
                <a:cubicBezTo>
                  <a:pt x="6500034" y="1690489"/>
                  <a:pt x="6500034" y="1690489"/>
                  <a:pt x="6514123" y="1704576"/>
                </a:cubicBezTo>
                <a:cubicBezTo>
                  <a:pt x="6514123" y="1704576"/>
                  <a:pt x="6514123" y="1704576"/>
                  <a:pt x="6500034" y="1704576"/>
                </a:cubicBezTo>
                <a:cubicBezTo>
                  <a:pt x="6514123" y="1704576"/>
                  <a:pt x="6528211" y="1718663"/>
                  <a:pt x="6542298" y="1732751"/>
                </a:cubicBezTo>
                <a:cubicBezTo>
                  <a:pt x="6556387" y="1760925"/>
                  <a:pt x="6584563" y="1775013"/>
                  <a:pt x="6598651" y="1803188"/>
                </a:cubicBezTo>
                <a:cubicBezTo>
                  <a:pt x="6598651" y="1803188"/>
                  <a:pt x="6598651" y="1803188"/>
                  <a:pt x="6612740" y="1803188"/>
                </a:cubicBezTo>
                <a:cubicBezTo>
                  <a:pt x="6612740" y="1803188"/>
                  <a:pt x="6612740" y="1803188"/>
                  <a:pt x="6612740" y="1817276"/>
                </a:cubicBezTo>
                <a:cubicBezTo>
                  <a:pt x="6626829" y="1817276"/>
                  <a:pt x="6626829" y="1817276"/>
                  <a:pt x="6626829" y="1817276"/>
                </a:cubicBezTo>
                <a:cubicBezTo>
                  <a:pt x="6655004" y="1845450"/>
                  <a:pt x="6640916" y="1845450"/>
                  <a:pt x="6640916" y="1859538"/>
                </a:cubicBezTo>
                <a:cubicBezTo>
                  <a:pt x="6655004" y="1873625"/>
                  <a:pt x="6655004" y="1873625"/>
                  <a:pt x="6640916" y="1873625"/>
                </a:cubicBezTo>
                <a:cubicBezTo>
                  <a:pt x="6640916" y="1887712"/>
                  <a:pt x="6640916" y="1887712"/>
                  <a:pt x="6655004" y="1915887"/>
                </a:cubicBezTo>
                <a:cubicBezTo>
                  <a:pt x="6669093" y="1929974"/>
                  <a:pt x="6669093" y="1944061"/>
                  <a:pt x="6683181" y="1958149"/>
                </a:cubicBezTo>
                <a:cubicBezTo>
                  <a:pt x="6697269" y="1958149"/>
                  <a:pt x="6697269" y="1972236"/>
                  <a:pt x="6697269" y="1972236"/>
                </a:cubicBezTo>
                <a:cubicBezTo>
                  <a:pt x="6697269" y="1972236"/>
                  <a:pt x="6711357" y="1986323"/>
                  <a:pt x="6697269" y="1986323"/>
                </a:cubicBezTo>
                <a:cubicBezTo>
                  <a:pt x="6697269" y="1972236"/>
                  <a:pt x="6683181" y="1972236"/>
                  <a:pt x="6655004" y="1944061"/>
                </a:cubicBezTo>
                <a:cubicBezTo>
                  <a:pt x="6655004" y="1944061"/>
                  <a:pt x="6640916" y="1929974"/>
                  <a:pt x="6626829" y="1929974"/>
                </a:cubicBezTo>
                <a:cubicBezTo>
                  <a:pt x="6626829" y="1915887"/>
                  <a:pt x="6612740" y="1901800"/>
                  <a:pt x="6598651" y="1887712"/>
                </a:cubicBezTo>
                <a:cubicBezTo>
                  <a:pt x="6598651" y="1887712"/>
                  <a:pt x="6584563" y="1873625"/>
                  <a:pt x="6584563" y="1873625"/>
                </a:cubicBezTo>
                <a:cubicBezTo>
                  <a:pt x="6570476" y="1873625"/>
                  <a:pt x="6570476" y="1873625"/>
                  <a:pt x="6570476" y="1859538"/>
                </a:cubicBezTo>
                <a:cubicBezTo>
                  <a:pt x="6556387" y="1845450"/>
                  <a:pt x="6542298" y="1831363"/>
                  <a:pt x="6528211" y="1831363"/>
                </a:cubicBezTo>
                <a:cubicBezTo>
                  <a:pt x="6528211" y="1817276"/>
                  <a:pt x="6514123" y="1817276"/>
                  <a:pt x="6500034" y="1803188"/>
                </a:cubicBezTo>
                <a:cubicBezTo>
                  <a:pt x="6500034" y="1789100"/>
                  <a:pt x="6485946" y="1775013"/>
                  <a:pt x="6471858" y="1775013"/>
                </a:cubicBezTo>
                <a:cubicBezTo>
                  <a:pt x="6443681" y="1746838"/>
                  <a:pt x="6429593" y="1732751"/>
                  <a:pt x="6401417" y="1704576"/>
                </a:cubicBezTo>
                <a:cubicBezTo>
                  <a:pt x="6401417" y="1704576"/>
                  <a:pt x="6401417" y="1704576"/>
                  <a:pt x="6316888" y="1634138"/>
                </a:cubicBezTo>
                <a:cubicBezTo>
                  <a:pt x="6302799" y="1634138"/>
                  <a:pt x="6288711" y="1620051"/>
                  <a:pt x="6288711" y="1620051"/>
                </a:cubicBezTo>
                <a:cubicBezTo>
                  <a:pt x="6288711" y="1620051"/>
                  <a:pt x="6288711" y="1605964"/>
                  <a:pt x="6274622" y="1605964"/>
                </a:cubicBezTo>
                <a:cubicBezTo>
                  <a:pt x="6260535" y="1605964"/>
                  <a:pt x="6246446" y="1577789"/>
                  <a:pt x="6232358" y="1577789"/>
                </a:cubicBezTo>
                <a:cubicBezTo>
                  <a:pt x="6204182" y="1563702"/>
                  <a:pt x="6190093" y="1549614"/>
                  <a:pt x="6161916" y="1535527"/>
                </a:cubicBezTo>
                <a:cubicBezTo>
                  <a:pt x="6147829" y="1521440"/>
                  <a:pt x="6133741" y="1521440"/>
                  <a:pt x="6119652" y="1507353"/>
                </a:cubicBezTo>
                <a:cubicBezTo>
                  <a:pt x="6105565" y="1507353"/>
                  <a:pt x="6105565" y="1493265"/>
                  <a:pt x="6091476" y="1493265"/>
                </a:cubicBezTo>
                <a:cubicBezTo>
                  <a:pt x="6077388" y="1479178"/>
                  <a:pt x="6049212" y="1465089"/>
                  <a:pt x="6035123" y="1465089"/>
                </a:cubicBezTo>
                <a:cubicBezTo>
                  <a:pt x="6021035" y="1451002"/>
                  <a:pt x="6021035" y="1451002"/>
                  <a:pt x="6021035" y="1451002"/>
                </a:cubicBezTo>
                <a:cubicBezTo>
                  <a:pt x="6021035" y="1451002"/>
                  <a:pt x="6021035" y="1451002"/>
                  <a:pt x="5992859" y="1436915"/>
                </a:cubicBezTo>
                <a:cubicBezTo>
                  <a:pt x="5978770" y="1436915"/>
                  <a:pt x="5992859" y="1451002"/>
                  <a:pt x="6006946" y="1451002"/>
                </a:cubicBezTo>
                <a:cubicBezTo>
                  <a:pt x="5992859" y="1451002"/>
                  <a:pt x="5978770" y="1436915"/>
                  <a:pt x="5964682" y="1436915"/>
                </a:cubicBezTo>
                <a:cubicBezTo>
                  <a:pt x="5964682" y="1436915"/>
                  <a:pt x="5964682" y="1436915"/>
                  <a:pt x="5950593" y="1422828"/>
                </a:cubicBezTo>
                <a:cubicBezTo>
                  <a:pt x="5950593" y="1422828"/>
                  <a:pt x="5936506" y="1422828"/>
                  <a:pt x="5936506" y="1408740"/>
                </a:cubicBezTo>
                <a:cubicBezTo>
                  <a:pt x="5936506" y="1408740"/>
                  <a:pt x="5922417" y="1408740"/>
                  <a:pt x="5922417" y="1408740"/>
                </a:cubicBezTo>
                <a:cubicBezTo>
                  <a:pt x="5922417" y="1408740"/>
                  <a:pt x="5908329" y="1408740"/>
                  <a:pt x="5908329" y="1394653"/>
                </a:cubicBezTo>
                <a:cubicBezTo>
                  <a:pt x="5908329" y="1394653"/>
                  <a:pt x="5894240" y="1394653"/>
                  <a:pt x="5894240" y="1394653"/>
                </a:cubicBezTo>
                <a:cubicBezTo>
                  <a:pt x="5880153" y="1394653"/>
                  <a:pt x="5880153" y="1380566"/>
                  <a:pt x="5866064" y="1380566"/>
                </a:cubicBezTo>
                <a:cubicBezTo>
                  <a:pt x="5866064" y="1380566"/>
                  <a:pt x="5851976" y="1380566"/>
                  <a:pt x="5851976" y="1366478"/>
                </a:cubicBezTo>
                <a:cubicBezTo>
                  <a:pt x="5823800" y="1366478"/>
                  <a:pt x="5809711" y="1366478"/>
                  <a:pt x="5781535" y="1352391"/>
                </a:cubicBezTo>
                <a:cubicBezTo>
                  <a:pt x="5781535" y="1352391"/>
                  <a:pt x="5781535" y="1352391"/>
                  <a:pt x="5781535" y="1338304"/>
                </a:cubicBezTo>
                <a:lnTo>
                  <a:pt x="5776252" y="1338304"/>
                </a:lnTo>
                <a:lnTo>
                  <a:pt x="5775592" y="1338304"/>
                </a:lnTo>
                <a:lnTo>
                  <a:pt x="5774492" y="1338304"/>
                </a:lnTo>
                <a:cubicBezTo>
                  <a:pt x="5770969" y="1338304"/>
                  <a:pt x="5767447" y="1338304"/>
                  <a:pt x="5767447" y="1338304"/>
                </a:cubicBezTo>
                <a:cubicBezTo>
                  <a:pt x="5753358" y="1324216"/>
                  <a:pt x="5739270" y="1324216"/>
                  <a:pt x="5725182" y="1324216"/>
                </a:cubicBezTo>
                <a:cubicBezTo>
                  <a:pt x="5711094" y="1324216"/>
                  <a:pt x="5711094" y="1324216"/>
                  <a:pt x="5697005" y="1324216"/>
                </a:cubicBezTo>
                <a:cubicBezTo>
                  <a:pt x="5682917" y="1310129"/>
                  <a:pt x="5682917" y="1310129"/>
                  <a:pt x="5668829" y="1310129"/>
                </a:cubicBezTo>
                <a:cubicBezTo>
                  <a:pt x="5668829" y="1310129"/>
                  <a:pt x="5654741" y="1296041"/>
                  <a:pt x="5640652" y="1296041"/>
                </a:cubicBezTo>
                <a:cubicBezTo>
                  <a:pt x="5626565" y="1296041"/>
                  <a:pt x="5626565" y="1296041"/>
                  <a:pt x="5612477" y="1296041"/>
                </a:cubicBezTo>
                <a:cubicBezTo>
                  <a:pt x="5584299" y="1281953"/>
                  <a:pt x="5570212" y="1281953"/>
                  <a:pt x="5556124" y="1267866"/>
                </a:cubicBezTo>
                <a:cubicBezTo>
                  <a:pt x="5542035" y="1267866"/>
                  <a:pt x="5542035" y="1267866"/>
                  <a:pt x="5542035" y="1267866"/>
                </a:cubicBezTo>
                <a:cubicBezTo>
                  <a:pt x="5542035" y="1267866"/>
                  <a:pt x="5527947" y="1267866"/>
                  <a:pt x="5527947" y="1253779"/>
                </a:cubicBezTo>
                <a:cubicBezTo>
                  <a:pt x="5542035" y="1267866"/>
                  <a:pt x="5542035" y="1281953"/>
                  <a:pt x="5513859" y="1267866"/>
                </a:cubicBezTo>
                <a:cubicBezTo>
                  <a:pt x="5513859" y="1267866"/>
                  <a:pt x="5513859" y="1267866"/>
                  <a:pt x="5513859" y="1281953"/>
                </a:cubicBezTo>
                <a:cubicBezTo>
                  <a:pt x="5513859" y="1281953"/>
                  <a:pt x="5527947" y="1281953"/>
                  <a:pt x="5527947" y="1281953"/>
                </a:cubicBezTo>
                <a:cubicBezTo>
                  <a:pt x="5527947" y="1281953"/>
                  <a:pt x="5542035" y="1281953"/>
                  <a:pt x="5542035" y="1281953"/>
                </a:cubicBezTo>
                <a:cubicBezTo>
                  <a:pt x="5556124" y="1296041"/>
                  <a:pt x="5570212" y="1296041"/>
                  <a:pt x="5584299" y="1310129"/>
                </a:cubicBezTo>
                <a:cubicBezTo>
                  <a:pt x="5570212" y="1296041"/>
                  <a:pt x="5570212" y="1296041"/>
                  <a:pt x="5570212" y="1296041"/>
                </a:cubicBezTo>
                <a:cubicBezTo>
                  <a:pt x="5570212" y="1296041"/>
                  <a:pt x="5598388" y="1296041"/>
                  <a:pt x="5612477" y="1310129"/>
                </a:cubicBezTo>
                <a:cubicBezTo>
                  <a:pt x="5612477" y="1310129"/>
                  <a:pt x="5612477" y="1324216"/>
                  <a:pt x="5612477" y="1324216"/>
                </a:cubicBezTo>
                <a:cubicBezTo>
                  <a:pt x="5612477" y="1324216"/>
                  <a:pt x="5626565" y="1338304"/>
                  <a:pt x="5640652" y="1338304"/>
                </a:cubicBezTo>
                <a:cubicBezTo>
                  <a:pt x="5640652" y="1338304"/>
                  <a:pt x="5640652" y="1338304"/>
                  <a:pt x="5612477" y="1338304"/>
                </a:cubicBezTo>
                <a:cubicBezTo>
                  <a:pt x="5598388" y="1338304"/>
                  <a:pt x="5584299" y="1324216"/>
                  <a:pt x="5570212" y="1324216"/>
                </a:cubicBezTo>
                <a:cubicBezTo>
                  <a:pt x="5556124" y="1324216"/>
                  <a:pt x="5542035" y="1310129"/>
                  <a:pt x="5542035" y="1310129"/>
                </a:cubicBezTo>
                <a:cubicBezTo>
                  <a:pt x="5527947" y="1310129"/>
                  <a:pt x="5527947" y="1310129"/>
                  <a:pt x="5513859" y="1310129"/>
                </a:cubicBezTo>
                <a:cubicBezTo>
                  <a:pt x="5499771" y="1310129"/>
                  <a:pt x="5499771" y="1310129"/>
                  <a:pt x="5499771" y="1310129"/>
                </a:cubicBezTo>
                <a:cubicBezTo>
                  <a:pt x="5471594" y="1296041"/>
                  <a:pt x="5471594" y="1310129"/>
                  <a:pt x="5443418" y="1296041"/>
                </a:cubicBezTo>
                <a:cubicBezTo>
                  <a:pt x="5443418" y="1296041"/>
                  <a:pt x="5429329" y="1296041"/>
                  <a:pt x="5429329" y="1310129"/>
                </a:cubicBezTo>
                <a:lnTo>
                  <a:pt x="5401153" y="1310129"/>
                </a:lnTo>
                <a:cubicBezTo>
                  <a:pt x="5401153" y="1310129"/>
                  <a:pt x="5387065" y="1310129"/>
                  <a:pt x="5387065" y="1310129"/>
                </a:cubicBezTo>
                <a:cubicBezTo>
                  <a:pt x="5387065" y="1324216"/>
                  <a:pt x="5401153" y="1324216"/>
                  <a:pt x="5415242" y="1324216"/>
                </a:cubicBezTo>
                <a:lnTo>
                  <a:pt x="5422004" y="1336050"/>
                </a:lnTo>
                <a:lnTo>
                  <a:pt x="5406437" y="1331260"/>
                </a:lnTo>
                <a:cubicBezTo>
                  <a:pt x="5397631" y="1327738"/>
                  <a:pt x="5387065" y="1324216"/>
                  <a:pt x="5372976" y="1324216"/>
                </a:cubicBezTo>
                <a:cubicBezTo>
                  <a:pt x="5372976" y="1324216"/>
                  <a:pt x="5372976" y="1324216"/>
                  <a:pt x="5358889" y="1310129"/>
                </a:cubicBezTo>
                <a:cubicBezTo>
                  <a:pt x="5330712" y="1310129"/>
                  <a:pt x="5316625" y="1310129"/>
                  <a:pt x="5302536" y="1310129"/>
                </a:cubicBezTo>
                <a:cubicBezTo>
                  <a:pt x="5288447" y="1310129"/>
                  <a:pt x="5274359" y="1310129"/>
                  <a:pt x="5260270" y="1310129"/>
                </a:cubicBezTo>
                <a:cubicBezTo>
                  <a:pt x="5260270" y="1310129"/>
                  <a:pt x="5260270" y="1310129"/>
                  <a:pt x="5246183" y="1310129"/>
                </a:cubicBezTo>
                <a:cubicBezTo>
                  <a:pt x="5246183" y="1310129"/>
                  <a:pt x="5246183" y="1310129"/>
                  <a:pt x="5232094" y="1310129"/>
                </a:cubicBezTo>
                <a:cubicBezTo>
                  <a:pt x="5218006" y="1310129"/>
                  <a:pt x="5218006" y="1310129"/>
                  <a:pt x="5218006" y="1310129"/>
                </a:cubicBezTo>
                <a:cubicBezTo>
                  <a:pt x="5218006" y="1310129"/>
                  <a:pt x="5203919" y="1310129"/>
                  <a:pt x="5203919" y="1310129"/>
                </a:cubicBezTo>
                <a:cubicBezTo>
                  <a:pt x="5203919" y="1310129"/>
                  <a:pt x="5189830" y="1310129"/>
                  <a:pt x="5175742" y="1310129"/>
                </a:cubicBezTo>
                <a:cubicBezTo>
                  <a:pt x="5175742" y="1310129"/>
                  <a:pt x="5161654" y="1310129"/>
                  <a:pt x="5147566" y="1310129"/>
                </a:cubicBezTo>
                <a:cubicBezTo>
                  <a:pt x="5147566" y="1310129"/>
                  <a:pt x="5147566" y="1310129"/>
                  <a:pt x="5119389" y="1310129"/>
                </a:cubicBezTo>
                <a:lnTo>
                  <a:pt x="5102500" y="1311428"/>
                </a:lnTo>
                <a:lnTo>
                  <a:pt x="5106196" y="1311890"/>
                </a:lnTo>
                <a:cubicBezTo>
                  <a:pt x="5109718" y="1313651"/>
                  <a:pt x="5113240" y="1317173"/>
                  <a:pt x="5120284" y="1324216"/>
                </a:cubicBezTo>
                <a:cubicBezTo>
                  <a:pt x="5130850" y="1345347"/>
                  <a:pt x="5133491" y="1350630"/>
                  <a:pt x="5146039" y="1369780"/>
                </a:cubicBezTo>
                <a:lnTo>
                  <a:pt x="5153198" y="1380566"/>
                </a:lnTo>
                <a:lnTo>
                  <a:pt x="5175742" y="1380566"/>
                </a:lnTo>
                <a:cubicBezTo>
                  <a:pt x="5189830" y="1394653"/>
                  <a:pt x="5203919" y="1394653"/>
                  <a:pt x="5218006" y="1394653"/>
                </a:cubicBezTo>
                <a:cubicBezTo>
                  <a:pt x="5232094" y="1394653"/>
                  <a:pt x="5246183" y="1394653"/>
                  <a:pt x="5260270" y="1408740"/>
                </a:cubicBezTo>
                <a:cubicBezTo>
                  <a:pt x="5246183" y="1408740"/>
                  <a:pt x="5232094" y="1408740"/>
                  <a:pt x="5232094" y="1422828"/>
                </a:cubicBezTo>
                <a:cubicBezTo>
                  <a:pt x="5232094" y="1422828"/>
                  <a:pt x="5218006" y="1422828"/>
                  <a:pt x="5203919" y="1422828"/>
                </a:cubicBezTo>
                <a:cubicBezTo>
                  <a:pt x="5200397" y="1419306"/>
                  <a:pt x="5196875" y="1417545"/>
                  <a:pt x="5193573" y="1416884"/>
                </a:cubicBezTo>
                <a:lnTo>
                  <a:pt x="5190611" y="1417101"/>
                </a:lnTo>
                <a:lnTo>
                  <a:pt x="5192266" y="1418425"/>
                </a:lnTo>
                <a:cubicBezTo>
                  <a:pt x="5202172" y="1426349"/>
                  <a:pt x="5215380" y="1436915"/>
                  <a:pt x="5232990" y="1451002"/>
                </a:cubicBezTo>
                <a:cubicBezTo>
                  <a:pt x="5247078" y="1465089"/>
                  <a:pt x="5247078" y="1465089"/>
                  <a:pt x="5261166" y="1493265"/>
                </a:cubicBezTo>
                <a:cubicBezTo>
                  <a:pt x="5261166" y="1493265"/>
                  <a:pt x="5275255" y="1493265"/>
                  <a:pt x="5275255" y="1507353"/>
                </a:cubicBezTo>
                <a:cubicBezTo>
                  <a:pt x="5289343" y="1507353"/>
                  <a:pt x="5289343" y="1521440"/>
                  <a:pt x="5303431" y="1535527"/>
                </a:cubicBezTo>
                <a:cubicBezTo>
                  <a:pt x="5275255" y="1507353"/>
                  <a:pt x="5261166" y="1507353"/>
                  <a:pt x="5247078" y="1493265"/>
                </a:cubicBezTo>
                <a:cubicBezTo>
                  <a:pt x="5261166" y="1507353"/>
                  <a:pt x="5275255" y="1521440"/>
                  <a:pt x="5275255" y="1535527"/>
                </a:cubicBezTo>
                <a:lnTo>
                  <a:pt x="5289343" y="1549614"/>
                </a:lnTo>
                <a:lnTo>
                  <a:pt x="5282298" y="1549614"/>
                </a:lnTo>
                <a:cubicBezTo>
                  <a:pt x="5278777" y="1549614"/>
                  <a:pt x="5275255" y="1549614"/>
                  <a:pt x="5275255" y="1549614"/>
                </a:cubicBezTo>
                <a:cubicBezTo>
                  <a:pt x="5275255" y="1549614"/>
                  <a:pt x="5261166" y="1535527"/>
                  <a:pt x="5261166" y="1535527"/>
                </a:cubicBezTo>
                <a:cubicBezTo>
                  <a:pt x="5232990" y="1507353"/>
                  <a:pt x="5204813" y="1479178"/>
                  <a:pt x="5190725" y="1451002"/>
                </a:cubicBezTo>
                <a:cubicBezTo>
                  <a:pt x="5190725" y="1451002"/>
                  <a:pt x="5176637" y="1451002"/>
                  <a:pt x="5176637" y="1451002"/>
                </a:cubicBezTo>
                <a:cubicBezTo>
                  <a:pt x="5162549" y="1436915"/>
                  <a:pt x="5162549" y="1436915"/>
                  <a:pt x="5148460" y="1422828"/>
                </a:cubicBezTo>
                <a:cubicBezTo>
                  <a:pt x="5148460" y="1422828"/>
                  <a:pt x="5148460" y="1422828"/>
                  <a:pt x="5146699" y="1421067"/>
                </a:cubicBezTo>
                <a:lnTo>
                  <a:pt x="5145312" y="1419680"/>
                </a:lnTo>
                <a:lnTo>
                  <a:pt x="5128139" y="1417903"/>
                </a:lnTo>
                <a:lnTo>
                  <a:pt x="5162549" y="1458047"/>
                </a:lnTo>
                <a:cubicBezTo>
                  <a:pt x="5176637" y="1475656"/>
                  <a:pt x="5190725" y="1493265"/>
                  <a:pt x="5204813" y="1507353"/>
                </a:cubicBezTo>
                <a:cubicBezTo>
                  <a:pt x="5204813" y="1507353"/>
                  <a:pt x="5218902" y="1521440"/>
                  <a:pt x="5218902" y="1521440"/>
                </a:cubicBezTo>
                <a:cubicBezTo>
                  <a:pt x="5232990" y="1521440"/>
                  <a:pt x="5232990" y="1535527"/>
                  <a:pt x="5247078" y="1535527"/>
                </a:cubicBezTo>
                <a:cubicBezTo>
                  <a:pt x="5247078" y="1549614"/>
                  <a:pt x="5261166" y="1563702"/>
                  <a:pt x="5261166" y="1563702"/>
                </a:cubicBezTo>
                <a:cubicBezTo>
                  <a:pt x="5289343" y="1577789"/>
                  <a:pt x="5303431" y="1605964"/>
                  <a:pt x="5317519" y="1605964"/>
                </a:cubicBezTo>
                <a:cubicBezTo>
                  <a:pt x="5331608" y="1634138"/>
                  <a:pt x="5345695" y="1648227"/>
                  <a:pt x="5359784" y="1676401"/>
                </a:cubicBezTo>
                <a:cubicBezTo>
                  <a:pt x="5373872" y="1690489"/>
                  <a:pt x="5373872" y="1690489"/>
                  <a:pt x="5387961" y="1704576"/>
                </a:cubicBezTo>
                <a:cubicBezTo>
                  <a:pt x="5387961" y="1704576"/>
                  <a:pt x="5402048" y="1718663"/>
                  <a:pt x="5402048" y="1718663"/>
                </a:cubicBezTo>
                <a:cubicBezTo>
                  <a:pt x="5402048" y="1718663"/>
                  <a:pt x="5402048" y="1732751"/>
                  <a:pt x="5416136" y="1732751"/>
                </a:cubicBezTo>
                <a:cubicBezTo>
                  <a:pt x="5416136" y="1746838"/>
                  <a:pt x="5416136" y="1746838"/>
                  <a:pt x="5416136" y="1746838"/>
                </a:cubicBezTo>
                <a:cubicBezTo>
                  <a:pt x="5430225" y="1746838"/>
                  <a:pt x="5430225" y="1760925"/>
                  <a:pt x="5430225" y="1760925"/>
                </a:cubicBezTo>
                <a:cubicBezTo>
                  <a:pt x="5444314" y="1789100"/>
                  <a:pt x="5458401" y="1803188"/>
                  <a:pt x="5472489" y="1817276"/>
                </a:cubicBezTo>
                <a:cubicBezTo>
                  <a:pt x="5472489" y="1831363"/>
                  <a:pt x="5486578" y="1831363"/>
                  <a:pt x="5486578" y="1845450"/>
                </a:cubicBezTo>
                <a:cubicBezTo>
                  <a:pt x="5500667" y="1859538"/>
                  <a:pt x="5500667" y="1873625"/>
                  <a:pt x="5514754" y="1887712"/>
                </a:cubicBezTo>
                <a:cubicBezTo>
                  <a:pt x="5514754" y="1887712"/>
                  <a:pt x="5514754" y="1887712"/>
                  <a:pt x="5514754" y="1901800"/>
                </a:cubicBezTo>
                <a:cubicBezTo>
                  <a:pt x="5542931" y="1929974"/>
                  <a:pt x="5557018" y="1944061"/>
                  <a:pt x="5571107" y="1986323"/>
                </a:cubicBezTo>
                <a:cubicBezTo>
                  <a:pt x="5585195" y="2000412"/>
                  <a:pt x="5599284" y="2028587"/>
                  <a:pt x="5599284" y="2042674"/>
                </a:cubicBezTo>
                <a:cubicBezTo>
                  <a:pt x="5613371" y="2042674"/>
                  <a:pt x="5613371" y="2056761"/>
                  <a:pt x="5613371" y="2056761"/>
                </a:cubicBezTo>
                <a:cubicBezTo>
                  <a:pt x="5613371" y="2056761"/>
                  <a:pt x="5613371" y="2070849"/>
                  <a:pt x="5613371" y="2070849"/>
                </a:cubicBezTo>
                <a:cubicBezTo>
                  <a:pt x="5613371" y="2070849"/>
                  <a:pt x="5613371" y="2070849"/>
                  <a:pt x="5613371" y="2084936"/>
                </a:cubicBezTo>
                <a:cubicBezTo>
                  <a:pt x="5613371" y="2084936"/>
                  <a:pt x="5613371" y="2084936"/>
                  <a:pt x="5627460" y="2099023"/>
                </a:cubicBezTo>
                <a:cubicBezTo>
                  <a:pt x="5627460" y="2099023"/>
                  <a:pt x="5627460" y="2113110"/>
                  <a:pt x="5627460" y="2113110"/>
                </a:cubicBezTo>
                <a:cubicBezTo>
                  <a:pt x="5655637" y="2169459"/>
                  <a:pt x="5655637" y="2169459"/>
                  <a:pt x="5669724" y="2169459"/>
                </a:cubicBezTo>
                <a:cubicBezTo>
                  <a:pt x="5683813" y="2169459"/>
                  <a:pt x="5683813" y="2183548"/>
                  <a:pt x="5683813" y="2225810"/>
                </a:cubicBezTo>
                <a:cubicBezTo>
                  <a:pt x="5683813" y="2225810"/>
                  <a:pt x="5683813" y="2225810"/>
                  <a:pt x="5697901" y="2225810"/>
                </a:cubicBezTo>
                <a:cubicBezTo>
                  <a:pt x="5697901" y="2239897"/>
                  <a:pt x="5711990" y="2253985"/>
                  <a:pt x="5711990" y="2268072"/>
                </a:cubicBezTo>
                <a:cubicBezTo>
                  <a:pt x="5697901" y="2268072"/>
                  <a:pt x="5697901" y="2268072"/>
                  <a:pt x="5697901" y="2282159"/>
                </a:cubicBezTo>
                <a:cubicBezTo>
                  <a:pt x="5697901" y="2282159"/>
                  <a:pt x="5711990" y="2282159"/>
                  <a:pt x="5711990" y="2296246"/>
                </a:cubicBezTo>
                <a:cubicBezTo>
                  <a:pt x="5711990" y="2296246"/>
                  <a:pt x="5711990" y="2296246"/>
                  <a:pt x="5711990" y="2310334"/>
                </a:cubicBezTo>
                <a:cubicBezTo>
                  <a:pt x="5726077" y="2338508"/>
                  <a:pt x="5740166" y="2366684"/>
                  <a:pt x="5740166" y="2408946"/>
                </a:cubicBezTo>
                <a:cubicBezTo>
                  <a:pt x="5740166" y="2408946"/>
                  <a:pt x="5754254" y="2408946"/>
                  <a:pt x="5754254" y="2408946"/>
                </a:cubicBezTo>
                <a:cubicBezTo>
                  <a:pt x="5754254" y="2423033"/>
                  <a:pt x="5754254" y="2423033"/>
                  <a:pt x="5754254" y="2437121"/>
                </a:cubicBezTo>
                <a:cubicBezTo>
                  <a:pt x="5754254" y="2451208"/>
                  <a:pt x="5754254" y="2465295"/>
                  <a:pt x="5754254" y="2465295"/>
                </a:cubicBezTo>
                <a:cubicBezTo>
                  <a:pt x="5754254" y="2479383"/>
                  <a:pt x="5768341" y="2507557"/>
                  <a:pt x="5768341" y="2521646"/>
                </a:cubicBezTo>
                <a:cubicBezTo>
                  <a:pt x="5754254" y="2493470"/>
                  <a:pt x="5754254" y="2479383"/>
                  <a:pt x="5754254" y="2479383"/>
                </a:cubicBezTo>
                <a:cubicBezTo>
                  <a:pt x="5754254" y="2465295"/>
                  <a:pt x="5740166" y="2465295"/>
                  <a:pt x="5740166" y="2451208"/>
                </a:cubicBezTo>
                <a:cubicBezTo>
                  <a:pt x="5740166" y="2437121"/>
                  <a:pt x="5740166" y="2423033"/>
                  <a:pt x="5726077" y="2423033"/>
                </a:cubicBezTo>
                <a:cubicBezTo>
                  <a:pt x="5726077" y="2408946"/>
                  <a:pt x="5726077" y="2394859"/>
                  <a:pt x="5711990" y="2380771"/>
                </a:cubicBezTo>
                <a:cubicBezTo>
                  <a:pt x="5697901" y="2352596"/>
                  <a:pt x="5697901" y="2324421"/>
                  <a:pt x="5683813" y="2310334"/>
                </a:cubicBezTo>
                <a:cubicBezTo>
                  <a:pt x="5683813" y="2324421"/>
                  <a:pt x="5697901" y="2338508"/>
                  <a:pt x="5697901" y="2352596"/>
                </a:cubicBezTo>
                <a:cubicBezTo>
                  <a:pt x="5697901" y="2359641"/>
                  <a:pt x="5697901" y="2363162"/>
                  <a:pt x="5697901" y="2366684"/>
                </a:cubicBezTo>
                <a:cubicBezTo>
                  <a:pt x="5697901" y="2366684"/>
                  <a:pt x="5683813" y="2352596"/>
                  <a:pt x="5683813" y="2352596"/>
                </a:cubicBezTo>
                <a:cubicBezTo>
                  <a:pt x="5683813" y="2352596"/>
                  <a:pt x="5683813" y="2338508"/>
                  <a:pt x="5683813" y="2338508"/>
                </a:cubicBezTo>
                <a:cubicBezTo>
                  <a:pt x="5669724" y="2296246"/>
                  <a:pt x="5655637" y="2268072"/>
                  <a:pt x="5641548" y="2225810"/>
                </a:cubicBezTo>
                <a:cubicBezTo>
                  <a:pt x="5627460" y="2197635"/>
                  <a:pt x="5613371" y="2169459"/>
                  <a:pt x="5599284" y="2155372"/>
                </a:cubicBezTo>
                <a:cubicBezTo>
                  <a:pt x="5599284" y="2169459"/>
                  <a:pt x="5599284" y="2183548"/>
                  <a:pt x="5613371" y="2211723"/>
                </a:cubicBezTo>
                <a:cubicBezTo>
                  <a:pt x="5627460" y="2239897"/>
                  <a:pt x="5641548" y="2268072"/>
                  <a:pt x="5655637" y="2296246"/>
                </a:cubicBezTo>
                <a:cubicBezTo>
                  <a:pt x="5655637" y="2324421"/>
                  <a:pt x="5669724" y="2338508"/>
                  <a:pt x="5683813" y="2352596"/>
                </a:cubicBezTo>
                <a:cubicBezTo>
                  <a:pt x="5683813" y="2352596"/>
                  <a:pt x="5683813" y="2366684"/>
                  <a:pt x="5683813" y="2380771"/>
                </a:cubicBezTo>
                <a:cubicBezTo>
                  <a:pt x="5697901" y="2380771"/>
                  <a:pt x="5697901" y="2394859"/>
                  <a:pt x="5697901" y="2394859"/>
                </a:cubicBezTo>
                <a:cubicBezTo>
                  <a:pt x="5697901" y="2408946"/>
                  <a:pt x="5711990" y="2437121"/>
                  <a:pt x="5711990" y="2451208"/>
                </a:cubicBezTo>
                <a:cubicBezTo>
                  <a:pt x="5711990" y="2451208"/>
                  <a:pt x="5711990" y="2451208"/>
                  <a:pt x="5711990" y="2465295"/>
                </a:cubicBezTo>
                <a:cubicBezTo>
                  <a:pt x="5726077" y="2465295"/>
                  <a:pt x="5726077" y="2479383"/>
                  <a:pt x="5726077" y="2479383"/>
                </a:cubicBezTo>
                <a:cubicBezTo>
                  <a:pt x="5740166" y="2493470"/>
                  <a:pt x="5740166" y="2507557"/>
                  <a:pt x="5754254" y="2549821"/>
                </a:cubicBezTo>
                <a:cubicBezTo>
                  <a:pt x="5754254" y="2549821"/>
                  <a:pt x="5754254" y="2549821"/>
                  <a:pt x="5754254" y="2563908"/>
                </a:cubicBezTo>
                <a:cubicBezTo>
                  <a:pt x="5754254" y="2563908"/>
                  <a:pt x="5754254" y="2563908"/>
                  <a:pt x="5768341" y="2563908"/>
                </a:cubicBezTo>
                <a:cubicBezTo>
                  <a:pt x="5768341" y="2563908"/>
                  <a:pt x="5768341" y="2563908"/>
                  <a:pt x="5768341" y="2577995"/>
                </a:cubicBezTo>
                <a:cubicBezTo>
                  <a:pt x="5768341" y="2577995"/>
                  <a:pt x="5768341" y="2577995"/>
                  <a:pt x="5768341" y="2592082"/>
                </a:cubicBezTo>
                <a:cubicBezTo>
                  <a:pt x="5768341" y="2606170"/>
                  <a:pt x="5768341" y="2606170"/>
                  <a:pt x="5782430" y="2620257"/>
                </a:cubicBezTo>
                <a:cubicBezTo>
                  <a:pt x="5782430" y="2620257"/>
                  <a:pt x="5782430" y="2620257"/>
                  <a:pt x="5782430" y="2634344"/>
                </a:cubicBezTo>
                <a:cubicBezTo>
                  <a:pt x="5782430" y="2648431"/>
                  <a:pt x="5796519" y="2662519"/>
                  <a:pt x="5796519" y="2676606"/>
                </a:cubicBezTo>
                <a:cubicBezTo>
                  <a:pt x="5782430" y="2676606"/>
                  <a:pt x="5782430" y="2676606"/>
                  <a:pt x="5782430" y="2662519"/>
                </a:cubicBezTo>
                <a:cubicBezTo>
                  <a:pt x="5782430" y="2662519"/>
                  <a:pt x="5782430" y="2676606"/>
                  <a:pt x="5782430" y="2690693"/>
                </a:cubicBezTo>
                <a:cubicBezTo>
                  <a:pt x="5782430" y="2676606"/>
                  <a:pt x="5768341" y="2676606"/>
                  <a:pt x="5768341" y="2662519"/>
                </a:cubicBezTo>
                <a:cubicBezTo>
                  <a:pt x="5768341" y="2648431"/>
                  <a:pt x="5768341" y="2634344"/>
                  <a:pt x="5754254" y="2620257"/>
                </a:cubicBezTo>
                <a:cubicBezTo>
                  <a:pt x="5754254" y="2606170"/>
                  <a:pt x="5754254" y="2592082"/>
                  <a:pt x="5740166" y="2577995"/>
                </a:cubicBezTo>
                <a:cubicBezTo>
                  <a:pt x="5740166" y="2577995"/>
                  <a:pt x="5740166" y="2549821"/>
                  <a:pt x="5726077" y="2535733"/>
                </a:cubicBezTo>
                <a:cubicBezTo>
                  <a:pt x="5726077" y="2493470"/>
                  <a:pt x="5711990" y="2465295"/>
                  <a:pt x="5697901" y="2451208"/>
                </a:cubicBezTo>
                <a:cubicBezTo>
                  <a:pt x="5697901" y="2451208"/>
                  <a:pt x="5697901" y="2423033"/>
                  <a:pt x="5697901" y="2423033"/>
                </a:cubicBezTo>
                <a:cubicBezTo>
                  <a:pt x="5683813" y="2423033"/>
                  <a:pt x="5683813" y="2423033"/>
                  <a:pt x="5683813" y="2423033"/>
                </a:cubicBezTo>
                <a:cubicBezTo>
                  <a:pt x="5683813" y="2408946"/>
                  <a:pt x="5683813" y="2408946"/>
                  <a:pt x="5683813" y="2394859"/>
                </a:cubicBezTo>
                <a:cubicBezTo>
                  <a:pt x="5669724" y="2380771"/>
                  <a:pt x="5655637" y="2352596"/>
                  <a:pt x="5641548" y="2324421"/>
                </a:cubicBezTo>
                <a:cubicBezTo>
                  <a:pt x="5641548" y="2296246"/>
                  <a:pt x="5627460" y="2268072"/>
                  <a:pt x="5613371" y="2239897"/>
                </a:cubicBezTo>
                <a:lnTo>
                  <a:pt x="5613371" y="2253985"/>
                </a:lnTo>
                <a:cubicBezTo>
                  <a:pt x="5599284" y="2211723"/>
                  <a:pt x="5585195" y="2197635"/>
                  <a:pt x="5557018" y="2169459"/>
                </a:cubicBezTo>
                <a:cubicBezTo>
                  <a:pt x="5557018" y="2169459"/>
                  <a:pt x="5571107" y="2183548"/>
                  <a:pt x="5571107" y="2197635"/>
                </a:cubicBezTo>
                <a:cubicBezTo>
                  <a:pt x="5585195" y="2225810"/>
                  <a:pt x="5585195" y="2239897"/>
                  <a:pt x="5599284" y="2253985"/>
                </a:cubicBezTo>
                <a:cubicBezTo>
                  <a:pt x="5599284" y="2253985"/>
                  <a:pt x="5599284" y="2268072"/>
                  <a:pt x="5599284" y="2268072"/>
                </a:cubicBezTo>
                <a:cubicBezTo>
                  <a:pt x="5613371" y="2282159"/>
                  <a:pt x="5613371" y="2324421"/>
                  <a:pt x="5627460" y="2324421"/>
                </a:cubicBezTo>
                <a:cubicBezTo>
                  <a:pt x="5627460" y="2324421"/>
                  <a:pt x="5627460" y="2338508"/>
                  <a:pt x="5627460" y="2352596"/>
                </a:cubicBezTo>
                <a:cubicBezTo>
                  <a:pt x="5627460" y="2338508"/>
                  <a:pt x="5613371" y="2338508"/>
                  <a:pt x="5613371" y="2324421"/>
                </a:cubicBezTo>
                <a:cubicBezTo>
                  <a:pt x="5613371" y="2324421"/>
                  <a:pt x="5613371" y="2324421"/>
                  <a:pt x="5613371" y="2338508"/>
                </a:cubicBezTo>
                <a:cubicBezTo>
                  <a:pt x="5599284" y="2324421"/>
                  <a:pt x="5599284" y="2296246"/>
                  <a:pt x="5585195" y="2282159"/>
                </a:cubicBezTo>
                <a:cubicBezTo>
                  <a:pt x="5585195" y="2268072"/>
                  <a:pt x="5571107" y="2268072"/>
                  <a:pt x="5571107" y="2239897"/>
                </a:cubicBezTo>
                <a:cubicBezTo>
                  <a:pt x="5571107" y="2225810"/>
                  <a:pt x="5557018" y="2211723"/>
                  <a:pt x="5557018" y="2197635"/>
                </a:cubicBezTo>
                <a:cubicBezTo>
                  <a:pt x="5542931" y="2197635"/>
                  <a:pt x="5542931" y="2197635"/>
                  <a:pt x="5542931" y="2183548"/>
                </a:cubicBezTo>
                <a:cubicBezTo>
                  <a:pt x="5542931" y="2197635"/>
                  <a:pt x="5542931" y="2211723"/>
                  <a:pt x="5557018" y="2225810"/>
                </a:cubicBezTo>
                <a:cubicBezTo>
                  <a:pt x="5557018" y="2253985"/>
                  <a:pt x="5571107" y="2268072"/>
                  <a:pt x="5571107" y="2296246"/>
                </a:cubicBezTo>
                <a:cubicBezTo>
                  <a:pt x="5585195" y="2296246"/>
                  <a:pt x="5585195" y="2296246"/>
                  <a:pt x="5585195" y="2310334"/>
                </a:cubicBezTo>
                <a:cubicBezTo>
                  <a:pt x="5585195" y="2310334"/>
                  <a:pt x="5585195" y="2310334"/>
                  <a:pt x="5585195" y="2324421"/>
                </a:cubicBezTo>
                <a:cubicBezTo>
                  <a:pt x="5599284" y="2352596"/>
                  <a:pt x="5613371" y="2380771"/>
                  <a:pt x="5627460" y="2408946"/>
                </a:cubicBezTo>
                <a:cubicBezTo>
                  <a:pt x="5641548" y="2437121"/>
                  <a:pt x="5655637" y="2465295"/>
                  <a:pt x="5655637" y="2479383"/>
                </a:cubicBezTo>
                <a:cubicBezTo>
                  <a:pt x="5669724" y="2493470"/>
                  <a:pt x="5669724" y="2493470"/>
                  <a:pt x="5669724" y="2493470"/>
                </a:cubicBezTo>
                <a:cubicBezTo>
                  <a:pt x="5669724" y="2493470"/>
                  <a:pt x="5669724" y="2493470"/>
                  <a:pt x="5669724" y="2521646"/>
                </a:cubicBezTo>
                <a:cubicBezTo>
                  <a:pt x="5683813" y="2549821"/>
                  <a:pt x="5697901" y="2577995"/>
                  <a:pt x="5697901" y="2606170"/>
                </a:cubicBezTo>
                <a:cubicBezTo>
                  <a:pt x="5711990" y="2620257"/>
                  <a:pt x="5711990" y="2634344"/>
                  <a:pt x="5711990" y="2648431"/>
                </a:cubicBezTo>
                <a:cubicBezTo>
                  <a:pt x="5726077" y="2662519"/>
                  <a:pt x="5711990" y="2676606"/>
                  <a:pt x="5726077" y="2690693"/>
                </a:cubicBezTo>
                <a:cubicBezTo>
                  <a:pt x="5711990" y="2676606"/>
                  <a:pt x="5711990" y="2676606"/>
                  <a:pt x="5711990" y="2662519"/>
                </a:cubicBezTo>
                <a:cubicBezTo>
                  <a:pt x="5697901" y="2662519"/>
                  <a:pt x="5697901" y="2634344"/>
                  <a:pt x="5683813" y="2620257"/>
                </a:cubicBezTo>
                <a:cubicBezTo>
                  <a:pt x="5683813" y="2606170"/>
                  <a:pt x="5683813" y="2606170"/>
                  <a:pt x="5683813" y="2606170"/>
                </a:cubicBezTo>
                <a:cubicBezTo>
                  <a:pt x="5683813" y="2606170"/>
                  <a:pt x="5683813" y="2606170"/>
                  <a:pt x="5683813" y="2592082"/>
                </a:cubicBezTo>
                <a:cubicBezTo>
                  <a:pt x="5683813" y="2592082"/>
                  <a:pt x="5683813" y="2592082"/>
                  <a:pt x="5669724" y="2577995"/>
                </a:cubicBezTo>
                <a:cubicBezTo>
                  <a:pt x="5669724" y="2577995"/>
                  <a:pt x="5669724" y="2577995"/>
                  <a:pt x="5669724" y="2563908"/>
                </a:cubicBezTo>
                <a:cubicBezTo>
                  <a:pt x="5669724" y="2563908"/>
                  <a:pt x="5669724" y="2563908"/>
                  <a:pt x="5669724" y="2549821"/>
                </a:cubicBezTo>
                <a:cubicBezTo>
                  <a:pt x="5655637" y="2549821"/>
                  <a:pt x="5655637" y="2549821"/>
                  <a:pt x="5655637" y="2549821"/>
                </a:cubicBezTo>
                <a:cubicBezTo>
                  <a:pt x="5669724" y="2563908"/>
                  <a:pt x="5669724" y="2577995"/>
                  <a:pt x="5669724" y="2606170"/>
                </a:cubicBezTo>
                <a:cubicBezTo>
                  <a:pt x="5683813" y="2606170"/>
                  <a:pt x="5683813" y="2620257"/>
                  <a:pt x="5683813" y="2634344"/>
                </a:cubicBezTo>
                <a:cubicBezTo>
                  <a:pt x="5697901" y="2648431"/>
                  <a:pt x="5697901" y="2676606"/>
                  <a:pt x="5711990" y="2704782"/>
                </a:cubicBezTo>
                <a:cubicBezTo>
                  <a:pt x="5711990" y="2718869"/>
                  <a:pt x="5711990" y="2732957"/>
                  <a:pt x="5726077" y="2761131"/>
                </a:cubicBezTo>
                <a:cubicBezTo>
                  <a:pt x="5726077" y="2761131"/>
                  <a:pt x="5726077" y="2775218"/>
                  <a:pt x="5726077" y="2775218"/>
                </a:cubicBezTo>
                <a:cubicBezTo>
                  <a:pt x="5726077" y="2775218"/>
                  <a:pt x="5726077" y="2789306"/>
                  <a:pt x="5726077" y="2789306"/>
                </a:cubicBezTo>
                <a:cubicBezTo>
                  <a:pt x="5711990" y="2761131"/>
                  <a:pt x="5697901" y="2718869"/>
                  <a:pt x="5683813" y="2690693"/>
                </a:cubicBezTo>
                <a:cubicBezTo>
                  <a:pt x="5683813" y="2676606"/>
                  <a:pt x="5683813" y="2662519"/>
                  <a:pt x="5669724" y="2648431"/>
                </a:cubicBezTo>
                <a:cubicBezTo>
                  <a:pt x="5669724" y="2620257"/>
                  <a:pt x="5655637" y="2606170"/>
                  <a:pt x="5655637" y="2592082"/>
                </a:cubicBezTo>
                <a:cubicBezTo>
                  <a:pt x="5641548" y="2549821"/>
                  <a:pt x="5627460" y="2521646"/>
                  <a:pt x="5613371" y="2479383"/>
                </a:cubicBezTo>
                <a:cubicBezTo>
                  <a:pt x="5599284" y="2465295"/>
                  <a:pt x="5599284" y="2437121"/>
                  <a:pt x="5585195" y="2408946"/>
                </a:cubicBezTo>
                <a:cubicBezTo>
                  <a:pt x="5571107" y="2394859"/>
                  <a:pt x="5571107" y="2394859"/>
                  <a:pt x="5571107" y="2394859"/>
                </a:cubicBezTo>
                <a:cubicBezTo>
                  <a:pt x="5571107" y="2394859"/>
                  <a:pt x="5557018" y="2380771"/>
                  <a:pt x="5542931" y="2352596"/>
                </a:cubicBezTo>
                <a:cubicBezTo>
                  <a:pt x="5542931" y="2338508"/>
                  <a:pt x="5542931" y="2338508"/>
                  <a:pt x="5542931" y="2324421"/>
                </a:cubicBezTo>
                <a:cubicBezTo>
                  <a:pt x="5542931" y="2324421"/>
                  <a:pt x="5528842" y="2324421"/>
                  <a:pt x="5528842" y="2324421"/>
                </a:cubicBezTo>
                <a:cubicBezTo>
                  <a:pt x="5528842" y="2324421"/>
                  <a:pt x="5528842" y="2324421"/>
                  <a:pt x="5528842" y="2310334"/>
                </a:cubicBezTo>
                <a:cubicBezTo>
                  <a:pt x="5514754" y="2282159"/>
                  <a:pt x="5500667" y="2268072"/>
                  <a:pt x="5500667" y="2253985"/>
                </a:cubicBezTo>
                <a:cubicBezTo>
                  <a:pt x="5486578" y="2239897"/>
                  <a:pt x="5472489" y="2225810"/>
                  <a:pt x="5458401" y="2183548"/>
                </a:cubicBezTo>
                <a:cubicBezTo>
                  <a:pt x="5458401" y="2183548"/>
                  <a:pt x="5444314" y="2169459"/>
                  <a:pt x="5444314" y="2169459"/>
                </a:cubicBezTo>
                <a:cubicBezTo>
                  <a:pt x="5444314" y="2155372"/>
                  <a:pt x="5430225" y="2141285"/>
                  <a:pt x="5430225" y="2127198"/>
                </a:cubicBezTo>
                <a:cubicBezTo>
                  <a:pt x="5416136" y="2127198"/>
                  <a:pt x="5416136" y="2113110"/>
                  <a:pt x="5402048" y="2099023"/>
                </a:cubicBezTo>
                <a:cubicBezTo>
                  <a:pt x="5387961" y="2084936"/>
                  <a:pt x="5387961" y="2070849"/>
                  <a:pt x="5359784" y="2042674"/>
                </a:cubicBezTo>
                <a:cubicBezTo>
                  <a:pt x="5359784" y="2042674"/>
                  <a:pt x="5359784" y="2042674"/>
                  <a:pt x="5359784" y="2028587"/>
                </a:cubicBezTo>
                <a:cubicBezTo>
                  <a:pt x="5345695" y="2014499"/>
                  <a:pt x="5331608" y="2000412"/>
                  <a:pt x="5317519" y="1986323"/>
                </a:cubicBezTo>
                <a:cubicBezTo>
                  <a:pt x="5317519" y="1986323"/>
                  <a:pt x="5317519" y="1986323"/>
                  <a:pt x="5317519" y="2000412"/>
                </a:cubicBezTo>
                <a:cubicBezTo>
                  <a:pt x="5317519" y="2000412"/>
                  <a:pt x="5331608" y="2000412"/>
                  <a:pt x="5331608" y="2014499"/>
                </a:cubicBezTo>
                <a:cubicBezTo>
                  <a:pt x="5345695" y="2014499"/>
                  <a:pt x="5345695" y="2028587"/>
                  <a:pt x="5345695" y="2042674"/>
                </a:cubicBezTo>
                <a:cubicBezTo>
                  <a:pt x="5345695" y="2042674"/>
                  <a:pt x="5359784" y="2056761"/>
                  <a:pt x="5359784" y="2056761"/>
                </a:cubicBezTo>
                <a:cubicBezTo>
                  <a:pt x="5373872" y="2070849"/>
                  <a:pt x="5387961" y="2099023"/>
                  <a:pt x="5402048" y="2127198"/>
                </a:cubicBezTo>
                <a:cubicBezTo>
                  <a:pt x="5416136" y="2127198"/>
                  <a:pt x="5416136" y="2141285"/>
                  <a:pt x="5416136" y="2155372"/>
                </a:cubicBezTo>
                <a:cubicBezTo>
                  <a:pt x="5444314" y="2211723"/>
                  <a:pt x="5458401" y="2225810"/>
                  <a:pt x="5472489" y="2253985"/>
                </a:cubicBezTo>
                <a:cubicBezTo>
                  <a:pt x="5472489" y="2253985"/>
                  <a:pt x="5472489" y="2253985"/>
                  <a:pt x="5458401" y="2239897"/>
                </a:cubicBezTo>
                <a:cubicBezTo>
                  <a:pt x="5444314" y="2211723"/>
                  <a:pt x="5416136" y="2183548"/>
                  <a:pt x="5402048" y="2155372"/>
                </a:cubicBezTo>
                <a:cubicBezTo>
                  <a:pt x="5402048" y="2155372"/>
                  <a:pt x="5402048" y="2141285"/>
                  <a:pt x="5387961" y="2141285"/>
                </a:cubicBezTo>
                <a:cubicBezTo>
                  <a:pt x="5387961" y="2141285"/>
                  <a:pt x="5387961" y="2141285"/>
                  <a:pt x="5387961" y="2127198"/>
                </a:cubicBezTo>
                <a:cubicBezTo>
                  <a:pt x="5387961" y="2127198"/>
                  <a:pt x="5373872" y="2113110"/>
                  <a:pt x="5373872" y="2099023"/>
                </a:cubicBezTo>
                <a:cubicBezTo>
                  <a:pt x="5373872" y="2099023"/>
                  <a:pt x="5373872" y="2099023"/>
                  <a:pt x="5359784" y="2084936"/>
                </a:cubicBezTo>
                <a:cubicBezTo>
                  <a:pt x="5359784" y="2084936"/>
                  <a:pt x="5359784" y="2084936"/>
                  <a:pt x="5359784" y="2070849"/>
                </a:cubicBezTo>
                <a:cubicBezTo>
                  <a:pt x="5345695" y="2070849"/>
                  <a:pt x="5345695" y="2056761"/>
                  <a:pt x="5345695" y="2056761"/>
                </a:cubicBezTo>
                <a:cubicBezTo>
                  <a:pt x="5331608" y="2056761"/>
                  <a:pt x="5331608" y="2056761"/>
                  <a:pt x="5331608" y="2042674"/>
                </a:cubicBezTo>
                <a:cubicBezTo>
                  <a:pt x="5331608" y="2042674"/>
                  <a:pt x="5317519" y="2042674"/>
                  <a:pt x="5317519" y="2028587"/>
                </a:cubicBezTo>
                <a:cubicBezTo>
                  <a:pt x="5317519" y="2014499"/>
                  <a:pt x="5317519" y="2014499"/>
                  <a:pt x="5317519" y="2014499"/>
                </a:cubicBezTo>
                <a:cubicBezTo>
                  <a:pt x="5303431" y="2014499"/>
                  <a:pt x="5303431" y="2000412"/>
                  <a:pt x="5289343" y="2000412"/>
                </a:cubicBezTo>
                <a:cubicBezTo>
                  <a:pt x="5289343" y="2000412"/>
                  <a:pt x="5289343" y="2000412"/>
                  <a:pt x="5289343" y="1986323"/>
                </a:cubicBezTo>
                <a:cubicBezTo>
                  <a:pt x="5275255" y="1972236"/>
                  <a:pt x="5261166" y="1958149"/>
                  <a:pt x="5247078" y="1944061"/>
                </a:cubicBezTo>
                <a:cubicBezTo>
                  <a:pt x="5247078" y="1929974"/>
                  <a:pt x="5247078" y="1929974"/>
                  <a:pt x="5247078" y="1929974"/>
                </a:cubicBezTo>
                <a:cubicBezTo>
                  <a:pt x="5247078" y="1929974"/>
                  <a:pt x="5232990" y="1915887"/>
                  <a:pt x="5232990" y="1915887"/>
                </a:cubicBezTo>
                <a:cubicBezTo>
                  <a:pt x="5218902" y="1901800"/>
                  <a:pt x="5204813" y="1887712"/>
                  <a:pt x="5190725" y="1873625"/>
                </a:cubicBezTo>
                <a:cubicBezTo>
                  <a:pt x="5176637" y="1859538"/>
                  <a:pt x="5162549" y="1845450"/>
                  <a:pt x="5162549" y="1831363"/>
                </a:cubicBezTo>
                <a:cubicBezTo>
                  <a:pt x="5162549" y="1831363"/>
                  <a:pt x="5148460" y="1831363"/>
                  <a:pt x="5148460" y="1831363"/>
                </a:cubicBezTo>
                <a:cubicBezTo>
                  <a:pt x="5148460" y="1817276"/>
                  <a:pt x="5148460" y="1817276"/>
                  <a:pt x="5134372" y="1803188"/>
                </a:cubicBezTo>
                <a:cubicBezTo>
                  <a:pt x="5120284" y="1803188"/>
                  <a:pt x="5106196" y="1789100"/>
                  <a:pt x="5092107" y="1760925"/>
                </a:cubicBezTo>
                <a:cubicBezTo>
                  <a:pt x="5092107" y="1760925"/>
                  <a:pt x="5092107" y="1760925"/>
                  <a:pt x="5078019" y="1760925"/>
                </a:cubicBezTo>
                <a:cubicBezTo>
                  <a:pt x="5078019" y="1746838"/>
                  <a:pt x="5078019" y="1746838"/>
                  <a:pt x="5078019" y="1746838"/>
                </a:cubicBezTo>
                <a:cubicBezTo>
                  <a:pt x="5078019" y="1746838"/>
                  <a:pt x="5078019" y="1746838"/>
                  <a:pt x="5063931" y="1732751"/>
                </a:cubicBezTo>
                <a:cubicBezTo>
                  <a:pt x="5063931" y="1732751"/>
                  <a:pt x="5049843" y="1718663"/>
                  <a:pt x="5035754" y="1704576"/>
                </a:cubicBezTo>
                <a:cubicBezTo>
                  <a:pt x="5021666" y="1704576"/>
                  <a:pt x="5021666" y="1690489"/>
                  <a:pt x="5021666" y="1690489"/>
                </a:cubicBezTo>
                <a:cubicBezTo>
                  <a:pt x="5007579" y="1690489"/>
                  <a:pt x="5007579" y="1690489"/>
                  <a:pt x="4993490" y="1676401"/>
                </a:cubicBezTo>
                <a:cubicBezTo>
                  <a:pt x="4993490" y="1662314"/>
                  <a:pt x="4979401" y="1662314"/>
                  <a:pt x="4979401" y="1662314"/>
                </a:cubicBezTo>
                <a:cubicBezTo>
                  <a:pt x="4979401" y="1662314"/>
                  <a:pt x="4979401" y="1662314"/>
                  <a:pt x="4979401" y="1648227"/>
                </a:cubicBezTo>
                <a:cubicBezTo>
                  <a:pt x="4979401" y="1648227"/>
                  <a:pt x="4979401" y="1648227"/>
                  <a:pt x="4965313" y="1648227"/>
                </a:cubicBezTo>
                <a:cubicBezTo>
                  <a:pt x="4965313" y="1648227"/>
                  <a:pt x="4965313" y="1648227"/>
                  <a:pt x="4951226" y="1634138"/>
                </a:cubicBezTo>
                <a:cubicBezTo>
                  <a:pt x="4951226" y="1634138"/>
                  <a:pt x="4937137" y="1620051"/>
                  <a:pt x="4937137" y="1620051"/>
                </a:cubicBezTo>
                <a:cubicBezTo>
                  <a:pt x="4923048" y="1605964"/>
                  <a:pt x="4923048" y="1605964"/>
                  <a:pt x="4923048" y="1605964"/>
                </a:cubicBezTo>
                <a:cubicBezTo>
                  <a:pt x="4908961" y="1591876"/>
                  <a:pt x="4880784" y="1577789"/>
                  <a:pt x="4866696" y="1563702"/>
                </a:cubicBezTo>
                <a:cubicBezTo>
                  <a:pt x="4852608" y="1563702"/>
                  <a:pt x="4838520" y="1535527"/>
                  <a:pt x="4838520" y="1535527"/>
                </a:cubicBezTo>
                <a:cubicBezTo>
                  <a:pt x="4838520" y="1535527"/>
                  <a:pt x="4824431" y="1535527"/>
                  <a:pt x="4824431" y="1535527"/>
                </a:cubicBezTo>
                <a:cubicBezTo>
                  <a:pt x="4824431" y="1535527"/>
                  <a:pt x="4838520" y="1549614"/>
                  <a:pt x="4852608" y="1563702"/>
                </a:cubicBezTo>
                <a:cubicBezTo>
                  <a:pt x="4852608" y="1577789"/>
                  <a:pt x="4852608" y="1577789"/>
                  <a:pt x="4852608" y="1577789"/>
                </a:cubicBezTo>
                <a:cubicBezTo>
                  <a:pt x="4852608" y="1577789"/>
                  <a:pt x="4852608" y="1577789"/>
                  <a:pt x="4866696" y="1591876"/>
                </a:cubicBezTo>
                <a:cubicBezTo>
                  <a:pt x="4866696" y="1591876"/>
                  <a:pt x="4866696" y="1591876"/>
                  <a:pt x="4880784" y="1605964"/>
                </a:cubicBezTo>
                <a:cubicBezTo>
                  <a:pt x="4894873" y="1620051"/>
                  <a:pt x="4894873" y="1620051"/>
                  <a:pt x="4894873" y="1620051"/>
                </a:cubicBezTo>
                <a:cubicBezTo>
                  <a:pt x="4880784" y="1605964"/>
                  <a:pt x="4880784" y="1605964"/>
                  <a:pt x="4866696" y="1605964"/>
                </a:cubicBezTo>
                <a:cubicBezTo>
                  <a:pt x="4852608" y="1591876"/>
                  <a:pt x="4852608" y="1591876"/>
                  <a:pt x="4852608" y="1591876"/>
                </a:cubicBezTo>
                <a:cubicBezTo>
                  <a:pt x="4852608" y="1591876"/>
                  <a:pt x="4852608" y="1591876"/>
                  <a:pt x="4838520" y="1591876"/>
                </a:cubicBezTo>
                <a:cubicBezTo>
                  <a:pt x="4824431" y="1577789"/>
                  <a:pt x="4824431" y="1563702"/>
                  <a:pt x="4824431" y="1563702"/>
                </a:cubicBezTo>
                <a:cubicBezTo>
                  <a:pt x="4817387" y="1556658"/>
                  <a:pt x="4813864" y="1549614"/>
                  <a:pt x="4808582" y="1542571"/>
                </a:cubicBezTo>
                <a:lnTo>
                  <a:pt x="4795374" y="1532005"/>
                </a:lnTo>
                <a:lnTo>
                  <a:pt x="4794494" y="1528484"/>
                </a:lnTo>
                <a:cubicBezTo>
                  <a:pt x="4792733" y="1524962"/>
                  <a:pt x="4789212" y="1521440"/>
                  <a:pt x="4782167" y="1521440"/>
                </a:cubicBezTo>
                <a:cubicBezTo>
                  <a:pt x="4768078" y="1521440"/>
                  <a:pt x="4768078" y="1521440"/>
                  <a:pt x="4768078" y="1507353"/>
                </a:cubicBezTo>
                <a:cubicBezTo>
                  <a:pt x="4768078" y="1507353"/>
                  <a:pt x="4768078" y="1507353"/>
                  <a:pt x="4753990" y="1507353"/>
                </a:cubicBezTo>
                <a:cubicBezTo>
                  <a:pt x="4768078" y="1521440"/>
                  <a:pt x="4782167" y="1535527"/>
                  <a:pt x="4796255" y="1549614"/>
                </a:cubicBezTo>
                <a:cubicBezTo>
                  <a:pt x="4768078" y="1535527"/>
                  <a:pt x="4739902" y="1507353"/>
                  <a:pt x="4711725" y="1479178"/>
                </a:cubicBezTo>
                <a:cubicBezTo>
                  <a:pt x="4711725" y="1479178"/>
                  <a:pt x="4711725" y="1465089"/>
                  <a:pt x="4711725" y="1465089"/>
                </a:cubicBezTo>
                <a:cubicBezTo>
                  <a:pt x="4711725" y="1465089"/>
                  <a:pt x="4725814" y="1479178"/>
                  <a:pt x="4711725" y="1465089"/>
                </a:cubicBezTo>
                <a:lnTo>
                  <a:pt x="4710831" y="1465089"/>
                </a:lnTo>
                <a:cubicBezTo>
                  <a:pt x="4696743" y="1465089"/>
                  <a:pt x="4686177" y="1465089"/>
                  <a:pt x="4675611" y="1466851"/>
                </a:cubicBezTo>
                <a:lnTo>
                  <a:pt x="4654834" y="1474122"/>
                </a:lnTo>
                <a:lnTo>
                  <a:pt x="4662417" y="1479178"/>
                </a:lnTo>
                <a:cubicBezTo>
                  <a:pt x="4669461" y="1482700"/>
                  <a:pt x="4676505" y="1486222"/>
                  <a:pt x="4683549" y="1493265"/>
                </a:cubicBezTo>
                <a:cubicBezTo>
                  <a:pt x="4711725" y="1507353"/>
                  <a:pt x="4725814" y="1521440"/>
                  <a:pt x="4753990" y="1535527"/>
                </a:cubicBezTo>
                <a:cubicBezTo>
                  <a:pt x="4753990" y="1535527"/>
                  <a:pt x="4753990" y="1549614"/>
                  <a:pt x="4768078" y="1549614"/>
                </a:cubicBezTo>
                <a:cubicBezTo>
                  <a:pt x="4768078" y="1549614"/>
                  <a:pt x="4768078" y="1563702"/>
                  <a:pt x="4782167" y="1563702"/>
                </a:cubicBezTo>
                <a:cubicBezTo>
                  <a:pt x="4782167" y="1563702"/>
                  <a:pt x="4782167" y="1577789"/>
                  <a:pt x="4796255" y="1577789"/>
                </a:cubicBezTo>
                <a:cubicBezTo>
                  <a:pt x="4796255" y="1577789"/>
                  <a:pt x="4782167" y="1577789"/>
                  <a:pt x="4782167" y="1577789"/>
                </a:cubicBezTo>
                <a:cubicBezTo>
                  <a:pt x="4796255" y="1591876"/>
                  <a:pt x="4796255" y="1591876"/>
                  <a:pt x="4810343" y="1605964"/>
                </a:cubicBezTo>
                <a:cubicBezTo>
                  <a:pt x="4810343" y="1605964"/>
                  <a:pt x="4824431" y="1620051"/>
                  <a:pt x="4824431" y="1620051"/>
                </a:cubicBezTo>
                <a:cubicBezTo>
                  <a:pt x="4824431" y="1620051"/>
                  <a:pt x="4824431" y="1620051"/>
                  <a:pt x="4838520" y="1620051"/>
                </a:cubicBezTo>
                <a:cubicBezTo>
                  <a:pt x="4838520" y="1634138"/>
                  <a:pt x="4852608" y="1634138"/>
                  <a:pt x="4866696" y="1648227"/>
                </a:cubicBezTo>
                <a:cubicBezTo>
                  <a:pt x="4880784" y="1662314"/>
                  <a:pt x="4894873" y="1676401"/>
                  <a:pt x="4908961" y="1690489"/>
                </a:cubicBezTo>
                <a:cubicBezTo>
                  <a:pt x="4908961" y="1690489"/>
                  <a:pt x="4908961" y="1690489"/>
                  <a:pt x="4908961" y="1704576"/>
                </a:cubicBezTo>
                <a:cubicBezTo>
                  <a:pt x="4894873" y="1676401"/>
                  <a:pt x="4866696" y="1662314"/>
                  <a:pt x="4852608" y="1648227"/>
                </a:cubicBezTo>
                <a:cubicBezTo>
                  <a:pt x="4852608" y="1662314"/>
                  <a:pt x="4852608" y="1662314"/>
                  <a:pt x="4880784" y="1690489"/>
                </a:cubicBezTo>
                <a:cubicBezTo>
                  <a:pt x="4880784" y="1690489"/>
                  <a:pt x="4880784" y="1690489"/>
                  <a:pt x="4894873" y="1704576"/>
                </a:cubicBezTo>
                <a:cubicBezTo>
                  <a:pt x="4894873" y="1704576"/>
                  <a:pt x="4894873" y="1704576"/>
                  <a:pt x="4880784" y="1704576"/>
                </a:cubicBezTo>
                <a:cubicBezTo>
                  <a:pt x="4894873" y="1704576"/>
                  <a:pt x="4908961" y="1718663"/>
                  <a:pt x="4923048" y="1732751"/>
                </a:cubicBezTo>
                <a:cubicBezTo>
                  <a:pt x="4937137" y="1760925"/>
                  <a:pt x="4965313" y="1775013"/>
                  <a:pt x="4979401" y="1803188"/>
                </a:cubicBezTo>
                <a:cubicBezTo>
                  <a:pt x="4979401" y="1803188"/>
                  <a:pt x="4979401" y="1803188"/>
                  <a:pt x="4993490" y="1803188"/>
                </a:cubicBezTo>
                <a:cubicBezTo>
                  <a:pt x="4993490" y="1803188"/>
                  <a:pt x="4993490" y="1803188"/>
                  <a:pt x="4993490" y="1817276"/>
                </a:cubicBezTo>
                <a:cubicBezTo>
                  <a:pt x="5007579" y="1817276"/>
                  <a:pt x="5007579" y="1817276"/>
                  <a:pt x="5007579" y="1817276"/>
                </a:cubicBezTo>
                <a:cubicBezTo>
                  <a:pt x="5035754" y="1845450"/>
                  <a:pt x="5021666" y="1845450"/>
                  <a:pt x="5021666" y="1859538"/>
                </a:cubicBezTo>
                <a:cubicBezTo>
                  <a:pt x="5035754" y="1873625"/>
                  <a:pt x="5035754" y="1873625"/>
                  <a:pt x="5021666" y="1873625"/>
                </a:cubicBezTo>
                <a:cubicBezTo>
                  <a:pt x="5021666" y="1887712"/>
                  <a:pt x="5021666" y="1887712"/>
                  <a:pt x="5035754" y="1915887"/>
                </a:cubicBezTo>
                <a:cubicBezTo>
                  <a:pt x="5049843" y="1929974"/>
                  <a:pt x="5049843" y="1944061"/>
                  <a:pt x="5063931" y="1958149"/>
                </a:cubicBezTo>
                <a:cubicBezTo>
                  <a:pt x="5078019" y="1958149"/>
                  <a:pt x="5078019" y="1972236"/>
                  <a:pt x="5078019" y="1972236"/>
                </a:cubicBezTo>
                <a:cubicBezTo>
                  <a:pt x="5078019" y="1972236"/>
                  <a:pt x="5092107" y="1986323"/>
                  <a:pt x="5078019" y="1986323"/>
                </a:cubicBezTo>
                <a:cubicBezTo>
                  <a:pt x="5078019" y="1972236"/>
                  <a:pt x="5063931" y="1972236"/>
                  <a:pt x="5035754" y="1944061"/>
                </a:cubicBezTo>
                <a:cubicBezTo>
                  <a:pt x="5035754" y="1944061"/>
                  <a:pt x="5021666" y="1929974"/>
                  <a:pt x="5007579" y="1929974"/>
                </a:cubicBezTo>
                <a:cubicBezTo>
                  <a:pt x="5007579" y="1915887"/>
                  <a:pt x="4993490" y="1901800"/>
                  <a:pt x="4979401" y="1887712"/>
                </a:cubicBezTo>
                <a:cubicBezTo>
                  <a:pt x="4979401" y="1887712"/>
                  <a:pt x="4965313" y="1873625"/>
                  <a:pt x="4965313" y="1873625"/>
                </a:cubicBezTo>
                <a:cubicBezTo>
                  <a:pt x="4951226" y="1873625"/>
                  <a:pt x="4951226" y="1873625"/>
                  <a:pt x="4951226" y="1859538"/>
                </a:cubicBezTo>
                <a:cubicBezTo>
                  <a:pt x="4937137" y="1845450"/>
                  <a:pt x="4923048" y="1831363"/>
                  <a:pt x="4908961" y="1831363"/>
                </a:cubicBezTo>
                <a:cubicBezTo>
                  <a:pt x="4908961" y="1817276"/>
                  <a:pt x="4894873" y="1817276"/>
                  <a:pt x="4880784" y="1803188"/>
                </a:cubicBezTo>
                <a:cubicBezTo>
                  <a:pt x="4880784" y="1789100"/>
                  <a:pt x="4866696" y="1775013"/>
                  <a:pt x="4852608" y="1775013"/>
                </a:cubicBezTo>
                <a:cubicBezTo>
                  <a:pt x="4824431" y="1746838"/>
                  <a:pt x="4810343" y="1732751"/>
                  <a:pt x="4782167" y="1704576"/>
                </a:cubicBezTo>
                <a:cubicBezTo>
                  <a:pt x="4782167" y="1704576"/>
                  <a:pt x="4782167" y="1704576"/>
                  <a:pt x="4697638" y="1634138"/>
                </a:cubicBezTo>
                <a:cubicBezTo>
                  <a:pt x="4683549" y="1634138"/>
                  <a:pt x="4669461" y="1620051"/>
                  <a:pt x="4669461" y="1620051"/>
                </a:cubicBezTo>
                <a:cubicBezTo>
                  <a:pt x="4669461" y="1620051"/>
                  <a:pt x="4669461" y="1605964"/>
                  <a:pt x="4655372" y="1605964"/>
                </a:cubicBezTo>
                <a:cubicBezTo>
                  <a:pt x="4641285" y="1605964"/>
                  <a:pt x="4627196" y="1577789"/>
                  <a:pt x="4613108" y="1577789"/>
                </a:cubicBezTo>
                <a:cubicBezTo>
                  <a:pt x="4584932" y="1563702"/>
                  <a:pt x="4570843" y="1549614"/>
                  <a:pt x="4542666" y="1535527"/>
                </a:cubicBezTo>
                <a:cubicBezTo>
                  <a:pt x="4535623" y="1528484"/>
                  <a:pt x="4528579" y="1524962"/>
                  <a:pt x="4521535" y="1521440"/>
                </a:cubicBezTo>
                <a:lnTo>
                  <a:pt x="4513274" y="1515933"/>
                </a:lnTo>
                <a:lnTo>
                  <a:pt x="4499507" y="1521440"/>
                </a:lnTo>
                <a:cubicBezTo>
                  <a:pt x="4499507" y="1521440"/>
                  <a:pt x="4499507" y="1521440"/>
                  <a:pt x="4485419" y="1521440"/>
                </a:cubicBezTo>
                <a:cubicBezTo>
                  <a:pt x="4471330" y="1521440"/>
                  <a:pt x="4471330" y="1535527"/>
                  <a:pt x="4471330" y="1535527"/>
                </a:cubicBezTo>
                <a:cubicBezTo>
                  <a:pt x="4443154" y="1535527"/>
                  <a:pt x="4429066" y="1549614"/>
                  <a:pt x="4414979" y="1549614"/>
                </a:cubicBezTo>
                <a:cubicBezTo>
                  <a:pt x="4414979" y="1563702"/>
                  <a:pt x="4400890" y="1563702"/>
                  <a:pt x="4400890" y="1563702"/>
                </a:cubicBezTo>
                <a:cubicBezTo>
                  <a:pt x="4386801" y="1577789"/>
                  <a:pt x="4344537" y="1591876"/>
                  <a:pt x="4316360" y="1605964"/>
                </a:cubicBezTo>
                <a:cubicBezTo>
                  <a:pt x="4302273" y="1605964"/>
                  <a:pt x="4302273" y="1620051"/>
                  <a:pt x="4288184" y="1620051"/>
                </a:cubicBezTo>
                <a:cubicBezTo>
                  <a:pt x="4274096" y="1620051"/>
                  <a:pt x="4274096" y="1634138"/>
                  <a:pt x="4260008" y="1634138"/>
                </a:cubicBezTo>
                <a:cubicBezTo>
                  <a:pt x="4260008" y="1634138"/>
                  <a:pt x="4260008" y="1648227"/>
                  <a:pt x="4245920" y="1648227"/>
                </a:cubicBezTo>
                <a:cubicBezTo>
                  <a:pt x="4245920" y="1648227"/>
                  <a:pt x="4231831" y="1662314"/>
                  <a:pt x="4217743" y="1676401"/>
                </a:cubicBezTo>
                <a:cubicBezTo>
                  <a:pt x="4217743" y="1676401"/>
                  <a:pt x="4217743" y="1676401"/>
                  <a:pt x="4203655" y="1676401"/>
                </a:cubicBezTo>
                <a:cubicBezTo>
                  <a:pt x="4203655" y="1676401"/>
                  <a:pt x="4203655" y="1676401"/>
                  <a:pt x="4175478" y="1704576"/>
                </a:cubicBezTo>
                <a:cubicBezTo>
                  <a:pt x="4175478" y="1704576"/>
                  <a:pt x="4175478" y="1704576"/>
                  <a:pt x="4161390" y="1704576"/>
                </a:cubicBezTo>
                <a:cubicBezTo>
                  <a:pt x="4161390" y="1718663"/>
                  <a:pt x="4147302" y="1718663"/>
                  <a:pt x="4147302" y="1718663"/>
                </a:cubicBezTo>
                <a:cubicBezTo>
                  <a:pt x="4147302" y="1718663"/>
                  <a:pt x="4133214" y="1732751"/>
                  <a:pt x="4133214" y="1732751"/>
                </a:cubicBezTo>
                <a:cubicBezTo>
                  <a:pt x="4133214" y="1732751"/>
                  <a:pt x="4119125" y="1746838"/>
                  <a:pt x="4119125" y="1746838"/>
                </a:cubicBezTo>
                <a:cubicBezTo>
                  <a:pt x="4105037" y="1746838"/>
                  <a:pt x="4105037" y="1746838"/>
                  <a:pt x="4105037" y="1760925"/>
                </a:cubicBezTo>
                <a:cubicBezTo>
                  <a:pt x="4090949" y="1760925"/>
                  <a:pt x="4090949" y="1760925"/>
                  <a:pt x="4090949" y="1760925"/>
                </a:cubicBezTo>
                <a:cubicBezTo>
                  <a:pt x="4090949" y="1760925"/>
                  <a:pt x="4090949" y="1760925"/>
                  <a:pt x="4062772" y="1789100"/>
                </a:cubicBezTo>
                <a:cubicBezTo>
                  <a:pt x="4062772" y="1789100"/>
                  <a:pt x="4062772" y="1789100"/>
                  <a:pt x="4048684" y="1789100"/>
                </a:cubicBezTo>
                <a:cubicBezTo>
                  <a:pt x="4048684" y="1803188"/>
                  <a:pt x="4034596" y="1803188"/>
                  <a:pt x="4034596" y="1817276"/>
                </a:cubicBezTo>
                <a:cubicBezTo>
                  <a:pt x="4034596" y="1817276"/>
                  <a:pt x="4020508" y="1817276"/>
                  <a:pt x="4020508" y="1817276"/>
                </a:cubicBezTo>
                <a:cubicBezTo>
                  <a:pt x="4020508" y="1817276"/>
                  <a:pt x="4020508" y="1831363"/>
                  <a:pt x="4006419" y="1831363"/>
                </a:cubicBezTo>
                <a:cubicBezTo>
                  <a:pt x="4006419" y="1831363"/>
                  <a:pt x="4006419" y="1831363"/>
                  <a:pt x="3992331" y="1845450"/>
                </a:cubicBezTo>
                <a:cubicBezTo>
                  <a:pt x="4006419" y="1845450"/>
                  <a:pt x="3992331" y="1859538"/>
                  <a:pt x="3978244" y="1859538"/>
                </a:cubicBezTo>
                <a:cubicBezTo>
                  <a:pt x="3964155" y="1873625"/>
                  <a:pt x="3964155" y="1887712"/>
                  <a:pt x="3950066" y="1887712"/>
                </a:cubicBezTo>
                <a:cubicBezTo>
                  <a:pt x="3950066" y="1901800"/>
                  <a:pt x="3935979" y="1901800"/>
                  <a:pt x="3935979" y="1915887"/>
                </a:cubicBezTo>
                <a:cubicBezTo>
                  <a:pt x="3921891" y="1915887"/>
                  <a:pt x="3921891" y="1915887"/>
                  <a:pt x="3907802" y="1929974"/>
                </a:cubicBezTo>
                <a:cubicBezTo>
                  <a:pt x="3893713" y="1944061"/>
                  <a:pt x="3865538" y="1958149"/>
                  <a:pt x="3851449" y="1986323"/>
                </a:cubicBezTo>
                <a:cubicBezTo>
                  <a:pt x="3851449" y="1986323"/>
                  <a:pt x="3823273" y="2000412"/>
                  <a:pt x="3823273" y="2014499"/>
                </a:cubicBezTo>
                <a:cubicBezTo>
                  <a:pt x="3823273" y="2028587"/>
                  <a:pt x="3823273" y="2028587"/>
                  <a:pt x="3809185" y="2028587"/>
                </a:cubicBezTo>
                <a:cubicBezTo>
                  <a:pt x="3795096" y="2042674"/>
                  <a:pt x="3781008" y="2056761"/>
                  <a:pt x="3766920" y="2070849"/>
                </a:cubicBezTo>
                <a:cubicBezTo>
                  <a:pt x="3766920" y="2070849"/>
                  <a:pt x="3766920" y="2084936"/>
                  <a:pt x="3752832" y="2084936"/>
                </a:cubicBezTo>
                <a:cubicBezTo>
                  <a:pt x="3752832" y="2099023"/>
                  <a:pt x="3738743" y="2113110"/>
                  <a:pt x="3724655" y="2127198"/>
                </a:cubicBezTo>
                <a:cubicBezTo>
                  <a:pt x="3724655" y="2134241"/>
                  <a:pt x="3721133" y="2137763"/>
                  <a:pt x="3715851" y="2141285"/>
                </a:cubicBezTo>
                <a:lnTo>
                  <a:pt x="3713698" y="2142850"/>
                </a:lnTo>
                <a:lnTo>
                  <a:pt x="3712328" y="2143046"/>
                </a:lnTo>
                <a:lnTo>
                  <a:pt x="3712200" y="2143940"/>
                </a:lnTo>
                <a:lnTo>
                  <a:pt x="3696479" y="2155372"/>
                </a:lnTo>
                <a:cubicBezTo>
                  <a:pt x="3710567" y="2155372"/>
                  <a:pt x="3710567" y="2155372"/>
                  <a:pt x="3710567" y="2155372"/>
                </a:cubicBezTo>
                <a:lnTo>
                  <a:pt x="3712200" y="2143940"/>
                </a:lnTo>
                <a:lnTo>
                  <a:pt x="3713698" y="2142850"/>
                </a:lnTo>
                <a:lnTo>
                  <a:pt x="3724655" y="2141285"/>
                </a:lnTo>
                <a:cubicBezTo>
                  <a:pt x="3696479" y="2169459"/>
                  <a:pt x="3682390" y="2183548"/>
                  <a:pt x="3668303" y="2211723"/>
                </a:cubicBezTo>
                <a:cubicBezTo>
                  <a:pt x="3654214" y="2211723"/>
                  <a:pt x="3654214" y="2225810"/>
                  <a:pt x="3654214" y="2225810"/>
                </a:cubicBezTo>
                <a:cubicBezTo>
                  <a:pt x="3640126" y="2253985"/>
                  <a:pt x="3626037" y="2268072"/>
                  <a:pt x="3597862" y="2296246"/>
                </a:cubicBezTo>
                <a:cubicBezTo>
                  <a:pt x="3597862" y="2303290"/>
                  <a:pt x="3594340" y="2310334"/>
                  <a:pt x="3589056" y="2317377"/>
                </a:cubicBezTo>
                <a:lnTo>
                  <a:pt x="3582600" y="2324421"/>
                </a:lnTo>
                <a:lnTo>
                  <a:pt x="3582013" y="2324421"/>
                </a:lnTo>
                <a:cubicBezTo>
                  <a:pt x="3580251" y="2324421"/>
                  <a:pt x="3576729" y="2324421"/>
                  <a:pt x="3569684" y="2324421"/>
                </a:cubicBezTo>
                <a:cubicBezTo>
                  <a:pt x="3569684" y="2324421"/>
                  <a:pt x="3569684" y="2324421"/>
                  <a:pt x="3569684" y="2338508"/>
                </a:cubicBezTo>
                <a:cubicBezTo>
                  <a:pt x="3569684" y="2338508"/>
                  <a:pt x="3555597" y="2338508"/>
                  <a:pt x="3555597" y="2352596"/>
                </a:cubicBezTo>
                <a:cubicBezTo>
                  <a:pt x="3548552" y="2359641"/>
                  <a:pt x="3545030" y="2366684"/>
                  <a:pt x="3541509" y="2373728"/>
                </a:cubicBezTo>
                <a:lnTo>
                  <a:pt x="3527420" y="2380771"/>
                </a:lnTo>
                <a:cubicBezTo>
                  <a:pt x="3527420" y="2394859"/>
                  <a:pt x="3527420" y="2394859"/>
                  <a:pt x="3527420" y="2394859"/>
                </a:cubicBezTo>
                <a:cubicBezTo>
                  <a:pt x="3520376" y="2401903"/>
                  <a:pt x="3516855" y="2405424"/>
                  <a:pt x="3515093" y="2408946"/>
                </a:cubicBezTo>
                <a:lnTo>
                  <a:pt x="3513333" y="2408946"/>
                </a:lnTo>
                <a:cubicBezTo>
                  <a:pt x="3513333" y="2423033"/>
                  <a:pt x="3513333" y="2423033"/>
                  <a:pt x="3513333" y="2423033"/>
                </a:cubicBezTo>
                <a:cubicBezTo>
                  <a:pt x="3499244" y="2423033"/>
                  <a:pt x="3499244" y="2423033"/>
                  <a:pt x="3499244" y="2437121"/>
                </a:cubicBezTo>
                <a:lnTo>
                  <a:pt x="3491417" y="2455904"/>
                </a:lnTo>
                <a:lnTo>
                  <a:pt x="3488287" y="2460599"/>
                </a:lnTo>
                <a:lnTo>
                  <a:pt x="3471067" y="2479383"/>
                </a:lnTo>
                <a:cubicBezTo>
                  <a:pt x="3471067" y="2493470"/>
                  <a:pt x="3456980" y="2507557"/>
                  <a:pt x="3456980" y="2507557"/>
                </a:cubicBezTo>
                <a:cubicBezTo>
                  <a:pt x="3471067" y="2507557"/>
                  <a:pt x="3471067" y="2493470"/>
                  <a:pt x="3471067" y="2493470"/>
                </a:cubicBezTo>
                <a:cubicBezTo>
                  <a:pt x="3471067" y="2493470"/>
                  <a:pt x="3471067" y="2479383"/>
                  <a:pt x="3485156" y="2479383"/>
                </a:cubicBezTo>
                <a:cubicBezTo>
                  <a:pt x="3485156" y="2493470"/>
                  <a:pt x="3485156" y="2493470"/>
                  <a:pt x="3485156" y="2493470"/>
                </a:cubicBezTo>
                <a:cubicBezTo>
                  <a:pt x="3471067" y="2507557"/>
                  <a:pt x="3471067" y="2507557"/>
                  <a:pt x="3471067" y="2521646"/>
                </a:cubicBezTo>
                <a:cubicBezTo>
                  <a:pt x="3456980" y="2535733"/>
                  <a:pt x="3442891" y="2549821"/>
                  <a:pt x="3442891" y="2563908"/>
                </a:cubicBezTo>
                <a:cubicBezTo>
                  <a:pt x="3442891" y="2563908"/>
                  <a:pt x="3442891" y="2577995"/>
                  <a:pt x="3428803" y="2577995"/>
                </a:cubicBezTo>
                <a:cubicBezTo>
                  <a:pt x="3428803" y="2592082"/>
                  <a:pt x="3428803" y="2606170"/>
                  <a:pt x="3428803" y="2606170"/>
                </a:cubicBezTo>
                <a:cubicBezTo>
                  <a:pt x="3414714" y="2620257"/>
                  <a:pt x="3414714" y="2620257"/>
                  <a:pt x="3414714" y="2634344"/>
                </a:cubicBezTo>
                <a:cubicBezTo>
                  <a:pt x="3400627" y="2662519"/>
                  <a:pt x="3386538" y="2690693"/>
                  <a:pt x="3372450" y="2718869"/>
                </a:cubicBezTo>
                <a:cubicBezTo>
                  <a:pt x="3372450" y="2718869"/>
                  <a:pt x="3372450" y="2718869"/>
                  <a:pt x="3372450" y="2732957"/>
                </a:cubicBezTo>
                <a:cubicBezTo>
                  <a:pt x="3372450" y="2732957"/>
                  <a:pt x="3372450" y="2747044"/>
                  <a:pt x="3372450" y="2747044"/>
                </a:cubicBezTo>
                <a:cubicBezTo>
                  <a:pt x="3372450" y="2761131"/>
                  <a:pt x="3358361" y="2775218"/>
                  <a:pt x="3372450" y="2789306"/>
                </a:cubicBezTo>
                <a:cubicBezTo>
                  <a:pt x="3358361" y="2803393"/>
                  <a:pt x="3358361" y="2817480"/>
                  <a:pt x="3358361" y="2831568"/>
                </a:cubicBezTo>
                <a:cubicBezTo>
                  <a:pt x="3344274" y="2859742"/>
                  <a:pt x="3344274" y="2887917"/>
                  <a:pt x="3344274" y="2916093"/>
                </a:cubicBezTo>
                <a:cubicBezTo>
                  <a:pt x="3344274" y="2930180"/>
                  <a:pt x="3330185" y="2930180"/>
                  <a:pt x="3330185" y="2944268"/>
                </a:cubicBezTo>
                <a:cubicBezTo>
                  <a:pt x="3330185" y="2944268"/>
                  <a:pt x="3330185" y="2958355"/>
                  <a:pt x="3330185" y="2986529"/>
                </a:cubicBezTo>
                <a:cubicBezTo>
                  <a:pt x="3330185" y="3000616"/>
                  <a:pt x="3316097" y="3028791"/>
                  <a:pt x="3316097" y="3056966"/>
                </a:cubicBezTo>
                <a:cubicBezTo>
                  <a:pt x="3316097" y="3056966"/>
                  <a:pt x="3316097" y="3071053"/>
                  <a:pt x="3316097" y="3071053"/>
                </a:cubicBezTo>
                <a:cubicBezTo>
                  <a:pt x="3316097" y="3085142"/>
                  <a:pt x="3316097" y="3099229"/>
                  <a:pt x="3316097" y="3099229"/>
                </a:cubicBezTo>
                <a:cubicBezTo>
                  <a:pt x="3316097" y="3099229"/>
                  <a:pt x="3316097" y="3099229"/>
                  <a:pt x="3302008" y="3183753"/>
                </a:cubicBezTo>
                <a:cubicBezTo>
                  <a:pt x="3302008" y="3226015"/>
                  <a:pt x="3302008" y="3254190"/>
                  <a:pt x="3302008" y="3282365"/>
                </a:cubicBezTo>
                <a:cubicBezTo>
                  <a:pt x="3302008" y="3310540"/>
                  <a:pt x="3316097" y="3324627"/>
                  <a:pt x="3316097" y="3352801"/>
                </a:cubicBezTo>
                <a:cubicBezTo>
                  <a:pt x="3316097" y="3352801"/>
                  <a:pt x="3316097" y="3366889"/>
                  <a:pt x="3316097" y="3380976"/>
                </a:cubicBezTo>
                <a:cubicBezTo>
                  <a:pt x="3316097" y="3395063"/>
                  <a:pt x="3316097" y="3409151"/>
                  <a:pt x="3330185" y="3423238"/>
                </a:cubicBezTo>
                <a:cubicBezTo>
                  <a:pt x="3330185" y="3437327"/>
                  <a:pt x="3330185" y="3437327"/>
                  <a:pt x="3330185" y="3437327"/>
                </a:cubicBezTo>
                <a:cubicBezTo>
                  <a:pt x="3330185" y="3465501"/>
                  <a:pt x="3330185" y="3493676"/>
                  <a:pt x="3344274" y="3521850"/>
                </a:cubicBezTo>
                <a:cubicBezTo>
                  <a:pt x="3358361" y="3550025"/>
                  <a:pt x="3358361" y="3578200"/>
                  <a:pt x="3372450" y="3592287"/>
                </a:cubicBezTo>
                <a:cubicBezTo>
                  <a:pt x="3372450" y="3606375"/>
                  <a:pt x="3386538" y="3620463"/>
                  <a:pt x="3386538" y="3634550"/>
                </a:cubicBezTo>
                <a:cubicBezTo>
                  <a:pt x="3386538" y="3634550"/>
                  <a:pt x="3386538" y="3634550"/>
                  <a:pt x="3386538" y="3648637"/>
                </a:cubicBezTo>
                <a:cubicBezTo>
                  <a:pt x="3386538" y="3662725"/>
                  <a:pt x="3400627" y="3676812"/>
                  <a:pt x="3414714" y="3690899"/>
                </a:cubicBezTo>
                <a:cubicBezTo>
                  <a:pt x="3414714" y="3690899"/>
                  <a:pt x="3414714" y="3704987"/>
                  <a:pt x="3414714" y="3704987"/>
                </a:cubicBezTo>
                <a:cubicBezTo>
                  <a:pt x="3414714" y="3704987"/>
                  <a:pt x="3414714" y="3704987"/>
                  <a:pt x="3414714" y="3719074"/>
                </a:cubicBezTo>
                <a:cubicBezTo>
                  <a:pt x="3414714" y="3719074"/>
                  <a:pt x="3428803" y="3733161"/>
                  <a:pt x="3428803" y="3733161"/>
                </a:cubicBezTo>
                <a:cubicBezTo>
                  <a:pt x="3428803" y="3747248"/>
                  <a:pt x="3442891" y="3775423"/>
                  <a:pt x="3442891" y="3789512"/>
                </a:cubicBezTo>
                <a:cubicBezTo>
                  <a:pt x="3456980" y="3803599"/>
                  <a:pt x="3456980" y="3817686"/>
                  <a:pt x="3471067" y="3831773"/>
                </a:cubicBezTo>
                <a:cubicBezTo>
                  <a:pt x="3485156" y="3874035"/>
                  <a:pt x="3499244" y="3916297"/>
                  <a:pt x="3527420" y="3958560"/>
                </a:cubicBezTo>
                <a:cubicBezTo>
                  <a:pt x="3541509" y="3986735"/>
                  <a:pt x="3555597" y="4000822"/>
                  <a:pt x="3555597" y="4028997"/>
                </a:cubicBezTo>
                <a:cubicBezTo>
                  <a:pt x="3569684" y="4043084"/>
                  <a:pt x="3569684" y="4057172"/>
                  <a:pt x="3583773" y="4071259"/>
                </a:cubicBezTo>
                <a:cubicBezTo>
                  <a:pt x="3597862" y="4085346"/>
                  <a:pt x="3597862" y="4099433"/>
                  <a:pt x="3611950" y="4113521"/>
                </a:cubicBezTo>
                <a:cubicBezTo>
                  <a:pt x="3654214" y="4155784"/>
                  <a:pt x="3682390" y="4212133"/>
                  <a:pt x="3724655" y="4254395"/>
                </a:cubicBezTo>
                <a:cubicBezTo>
                  <a:pt x="3738743" y="4268482"/>
                  <a:pt x="3752832" y="4268482"/>
                  <a:pt x="3752832" y="4282570"/>
                </a:cubicBezTo>
                <a:cubicBezTo>
                  <a:pt x="3752832" y="4282570"/>
                  <a:pt x="3766920" y="4282570"/>
                  <a:pt x="3766920" y="4282570"/>
                </a:cubicBezTo>
                <a:cubicBezTo>
                  <a:pt x="3795096" y="4324833"/>
                  <a:pt x="3823273" y="4353007"/>
                  <a:pt x="3851449" y="4381182"/>
                </a:cubicBezTo>
                <a:cubicBezTo>
                  <a:pt x="3879626" y="4395269"/>
                  <a:pt x="3893713" y="4409357"/>
                  <a:pt x="3921891" y="4437531"/>
                </a:cubicBezTo>
                <a:cubicBezTo>
                  <a:pt x="3935979" y="4437531"/>
                  <a:pt x="3950066" y="4451619"/>
                  <a:pt x="3964155" y="4465706"/>
                </a:cubicBezTo>
                <a:cubicBezTo>
                  <a:pt x="3978244" y="4479793"/>
                  <a:pt x="3992331" y="4493882"/>
                  <a:pt x="4006419" y="4507969"/>
                </a:cubicBezTo>
                <a:cubicBezTo>
                  <a:pt x="4020508" y="4507969"/>
                  <a:pt x="4020508" y="4507969"/>
                  <a:pt x="4020508" y="4507969"/>
                </a:cubicBezTo>
                <a:cubicBezTo>
                  <a:pt x="4020508" y="4522056"/>
                  <a:pt x="4034596" y="4522056"/>
                  <a:pt x="4048684" y="4536144"/>
                </a:cubicBezTo>
                <a:cubicBezTo>
                  <a:pt x="4048684" y="4536144"/>
                  <a:pt x="4048684" y="4536144"/>
                  <a:pt x="4062772" y="4536144"/>
                </a:cubicBezTo>
                <a:cubicBezTo>
                  <a:pt x="4048684" y="4536144"/>
                  <a:pt x="4062772" y="4550231"/>
                  <a:pt x="4048684" y="4550231"/>
                </a:cubicBezTo>
                <a:cubicBezTo>
                  <a:pt x="4048684" y="4550231"/>
                  <a:pt x="4048684" y="4550231"/>
                  <a:pt x="4034596" y="4550231"/>
                </a:cubicBezTo>
                <a:cubicBezTo>
                  <a:pt x="4048684" y="4564318"/>
                  <a:pt x="4048684" y="4564318"/>
                  <a:pt x="4062772" y="4578406"/>
                </a:cubicBezTo>
                <a:cubicBezTo>
                  <a:pt x="4076861" y="4592493"/>
                  <a:pt x="4105037" y="4592493"/>
                  <a:pt x="4119125" y="4606580"/>
                </a:cubicBezTo>
                <a:lnTo>
                  <a:pt x="4183518" y="4638774"/>
                </a:lnTo>
                <a:lnTo>
                  <a:pt x="4190461" y="4634755"/>
                </a:lnTo>
                <a:cubicBezTo>
                  <a:pt x="4190461" y="4634755"/>
                  <a:pt x="4218638" y="4634755"/>
                  <a:pt x="4232726" y="4634755"/>
                </a:cubicBezTo>
                <a:cubicBezTo>
                  <a:pt x="4232726" y="4634755"/>
                  <a:pt x="4232726" y="4634755"/>
                  <a:pt x="4232726" y="4648842"/>
                </a:cubicBezTo>
                <a:lnTo>
                  <a:pt x="4226826" y="4658430"/>
                </a:lnTo>
                <a:lnTo>
                  <a:pt x="4254724" y="4669974"/>
                </a:lnTo>
                <a:cubicBezTo>
                  <a:pt x="4274096" y="4677017"/>
                  <a:pt x="4295228" y="4684062"/>
                  <a:pt x="4316360" y="4691105"/>
                </a:cubicBezTo>
                <a:cubicBezTo>
                  <a:pt x="4323405" y="4691105"/>
                  <a:pt x="4330449" y="4691105"/>
                  <a:pt x="4337493" y="4692866"/>
                </a:cubicBezTo>
                <a:lnTo>
                  <a:pt x="4353845" y="4702405"/>
                </a:lnTo>
                <a:lnTo>
                  <a:pt x="4355117" y="4701450"/>
                </a:lnTo>
                <a:cubicBezTo>
                  <a:pt x="4363042" y="4695507"/>
                  <a:pt x="4373608" y="4687583"/>
                  <a:pt x="4387696" y="4677018"/>
                </a:cubicBezTo>
                <a:cubicBezTo>
                  <a:pt x="4415873" y="4662929"/>
                  <a:pt x="4429962" y="4648842"/>
                  <a:pt x="4444049" y="4648842"/>
                </a:cubicBezTo>
                <a:cubicBezTo>
                  <a:pt x="4458138" y="4634755"/>
                  <a:pt x="4472226" y="4634755"/>
                  <a:pt x="4472226" y="4634755"/>
                </a:cubicBezTo>
                <a:cubicBezTo>
                  <a:pt x="4500402" y="4606580"/>
                  <a:pt x="4500402" y="4606580"/>
                  <a:pt x="4500402" y="4620667"/>
                </a:cubicBezTo>
                <a:cubicBezTo>
                  <a:pt x="4514491" y="4606580"/>
                  <a:pt x="4528579" y="4606580"/>
                  <a:pt x="4542666" y="4592493"/>
                </a:cubicBezTo>
                <a:cubicBezTo>
                  <a:pt x="4542666" y="4592493"/>
                  <a:pt x="4542666" y="4578406"/>
                  <a:pt x="4556755" y="4578406"/>
                </a:cubicBezTo>
                <a:cubicBezTo>
                  <a:pt x="4570843" y="4564318"/>
                  <a:pt x="4599019" y="4536144"/>
                  <a:pt x="4613108" y="4522056"/>
                </a:cubicBezTo>
                <a:cubicBezTo>
                  <a:pt x="4627196" y="4522056"/>
                  <a:pt x="4627196" y="4507969"/>
                  <a:pt x="4641285" y="4493882"/>
                </a:cubicBezTo>
                <a:cubicBezTo>
                  <a:pt x="4655372" y="4493882"/>
                  <a:pt x="4683549" y="4465706"/>
                  <a:pt x="4697638" y="4451619"/>
                </a:cubicBezTo>
                <a:cubicBezTo>
                  <a:pt x="4697638" y="4451619"/>
                  <a:pt x="4711725" y="4451619"/>
                  <a:pt x="4711725" y="4437531"/>
                </a:cubicBezTo>
                <a:cubicBezTo>
                  <a:pt x="4725814" y="4409357"/>
                  <a:pt x="4753990" y="4395269"/>
                  <a:pt x="4768078" y="4353007"/>
                </a:cubicBezTo>
                <a:cubicBezTo>
                  <a:pt x="4782167" y="4353007"/>
                  <a:pt x="4782167" y="4353007"/>
                  <a:pt x="4782167" y="4338920"/>
                </a:cubicBezTo>
                <a:cubicBezTo>
                  <a:pt x="4796255" y="4324833"/>
                  <a:pt x="4810343" y="4310744"/>
                  <a:pt x="4824431" y="4296657"/>
                </a:cubicBezTo>
                <a:cubicBezTo>
                  <a:pt x="4838520" y="4282570"/>
                  <a:pt x="4838520" y="4282570"/>
                  <a:pt x="4838520" y="4282570"/>
                </a:cubicBezTo>
                <a:cubicBezTo>
                  <a:pt x="4838520" y="4268482"/>
                  <a:pt x="4838520" y="4268482"/>
                  <a:pt x="4838520" y="4268482"/>
                </a:cubicBezTo>
                <a:cubicBezTo>
                  <a:pt x="4866696" y="4254395"/>
                  <a:pt x="4880784" y="4226221"/>
                  <a:pt x="4894873" y="4226221"/>
                </a:cubicBezTo>
                <a:cubicBezTo>
                  <a:pt x="4894873" y="4226221"/>
                  <a:pt x="4894873" y="4212133"/>
                  <a:pt x="4894873" y="4212133"/>
                </a:cubicBezTo>
                <a:cubicBezTo>
                  <a:pt x="4908961" y="4212133"/>
                  <a:pt x="4908961" y="4198046"/>
                  <a:pt x="4923048" y="4183958"/>
                </a:cubicBezTo>
                <a:cubicBezTo>
                  <a:pt x="4923048" y="4169871"/>
                  <a:pt x="4937137" y="4169871"/>
                  <a:pt x="4937137" y="4169871"/>
                </a:cubicBezTo>
                <a:cubicBezTo>
                  <a:pt x="4951226" y="4155784"/>
                  <a:pt x="4965313" y="4127608"/>
                  <a:pt x="4979401" y="4113521"/>
                </a:cubicBezTo>
                <a:cubicBezTo>
                  <a:pt x="4979401" y="4113521"/>
                  <a:pt x="4979401" y="4099433"/>
                  <a:pt x="4993490" y="4099433"/>
                </a:cubicBezTo>
                <a:cubicBezTo>
                  <a:pt x="4993490" y="4071259"/>
                  <a:pt x="5007579" y="4057172"/>
                  <a:pt x="5021666" y="4028997"/>
                </a:cubicBezTo>
                <a:cubicBezTo>
                  <a:pt x="5035754" y="4014910"/>
                  <a:pt x="5049843" y="3986735"/>
                  <a:pt x="5063931" y="3958560"/>
                </a:cubicBezTo>
                <a:cubicBezTo>
                  <a:pt x="5063931" y="3972648"/>
                  <a:pt x="5078019" y="3972648"/>
                  <a:pt x="5078019" y="3986735"/>
                </a:cubicBezTo>
                <a:cubicBezTo>
                  <a:pt x="5078019" y="4000822"/>
                  <a:pt x="5063931" y="4028997"/>
                  <a:pt x="5063931" y="4043084"/>
                </a:cubicBezTo>
                <a:cubicBezTo>
                  <a:pt x="5063931" y="4057172"/>
                  <a:pt x="5063931" y="4071259"/>
                  <a:pt x="5063931" y="4085346"/>
                </a:cubicBezTo>
                <a:cubicBezTo>
                  <a:pt x="5063931" y="4085346"/>
                  <a:pt x="5063931" y="4099433"/>
                  <a:pt x="5063931" y="4113521"/>
                </a:cubicBezTo>
                <a:cubicBezTo>
                  <a:pt x="5049843" y="4141697"/>
                  <a:pt x="5035754" y="4169871"/>
                  <a:pt x="5021666" y="4198046"/>
                </a:cubicBezTo>
                <a:cubicBezTo>
                  <a:pt x="5021666" y="4212133"/>
                  <a:pt x="5021666" y="4212133"/>
                  <a:pt x="5021666" y="4212133"/>
                </a:cubicBezTo>
                <a:cubicBezTo>
                  <a:pt x="5021666" y="4226221"/>
                  <a:pt x="5007579" y="4240308"/>
                  <a:pt x="4993490" y="4268482"/>
                </a:cubicBezTo>
                <a:cubicBezTo>
                  <a:pt x="4979401" y="4296657"/>
                  <a:pt x="4979401" y="4324833"/>
                  <a:pt x="4965313" y="4353007"/>
                </a:cubicBezTo>
                <a:cubicBezTo>
                  <a:pt x="4937137" y="4367095"/>
                  <a:pt x="4923048" y="4395269"/>
                  <a:pt x="4908961" y="4423444"/>
                </a:cubicBezTo>
                <a:cubicBezTo>
                  <a:pt x="4894873" y="4451619"/>
                  <a:pt x="4880784" y="4479793"/>
                  <a:pt x="4852608" y="4522056"/>
                </a:cubicBezTo>
                <a:cubicBezTo>
                  <a:pt x="4838520" y="4536144"/>
                  <a:pt x="4824431" y="4550231"/>
                  <a:pt x="4824431" y="4564318"/>
                </a:cubicBezTo>
                <a:cubicBezTo>
                  <a:pt x="4796255" y="4592493"/>
                  <a:pt x="4796255" y="4620667"/>
                  <a:pt x="4782167" y="4634755"/>
                </a:cubicBezTo>
                <a:cubicBezTo>
                  <a:pt x="4782167" y="4662929"/>
                  <a:pt x="4768078" y="4677018"/>
                  <a:pt x="4753990" y="4705192"/>
                </a:cubicBezTo>
                <a:cubicBezTo>
                  <a:pt x="4739902" y="4733367"/>
                  <a:pt x="4725814" y="4761542"/>
                  <a:pt x="4711725" y="4775629"/>
                </a:cubicBezTo>
                <a:cubicBezTo>
                  <a:pt x="4704682" y="4789716"/>
                  <a:pt x="4697638" y="4800282"/>
                  <a:pt x="4690593" y="4809086"/>
                </a:cubicBezTo>
                <a:lnTo>
                  <a:pt x="4674017" y="4827043"/>
                </a:lnTo>
                <a:lnTo>
                  <a:pt x="4682655" y="4831978"/>
                </a:lnTo>
                <a:cubicBezTo>
                  <a:pt x="4682655" y="4831978"/>
                  <a:pt x="4696742" y="4831978"/>
                  <a:pt x="4696742" y="4831978"/>
                </a:cubicBezTo>
                <a:cubicBezTo>
                  <a:pt x="4710831" y="4839022"/>
                  <a:pt x="4721397" y="4842545"/>
                  <a:pt x="4730202" y="4844306"/>
                </a:cubicBezTo>
                <a:lnTo>
                  <a:pt x="4741867" y="4845203"/>
                </a:lnTo>
                <a:lnTo>
                  <a:pt x="4753990" y="4831978"/>
                </a:lnTo>
                <a:cubicBezTo>
                  <a:pt x="4768078" y="4817891"/>
                  <a:pt x="4782167" y="4803804"/>
                  <a:pt x="4796255" y="4789716"/>
                </a:cubicBezTo>
                <a:cubicBezTo>
                  <a:pt x="4810343" y="4775629"/>
                  <a:pt x="4838520" y="4761542"/>
                  <a:pt x="4838520" y="4747454"/>
                </a:cubicBezTo>
                <a:cubicBezTo>
                  <a:pt x="4866696" y="4733367"/>
                  <a:pt x="4880784" y="4705192"/>
                  <a:pt x="4894873" y="4691105"/>
                </a:cubicBezTo>
                <a:cubicBezTo>
                  <a:pt x="4894873" y="4691105"/>
                  <a:pt x="4908961" y="4691105"/>
                  <a:pt x="4908961" y="4691105"/>
                </a:cubicBezTo>
                <a:cubicBezTo>
                  <a:pt x="4923048" y="4677018"/>
                  <a:pt x="4951226" y="4648842"/>
                  <a:pt x="4965313" y="4634755"/>
                </a:cubicBezTo>
                <a:cubicBezTo>
                  <a:pt x="4993490" y="4606580"/>
                  <a:pt x="5021666" y="4578406"/>
                  <a:pt x="5035754" y="4550231"/>
                </a:cubicBezTo>
                <a:cubicBezTo>
                  <a:pt x="5049843" y="4536144"/>
                  <a:pt x="5049843" y="4522056"/>
                  <a:pt x="5063931" y="4522056"/>
                </a:cubicBezTo>
                <a:cubicBezTo>
                  <a:pt x="5078019" y="4522056"/>
                  <a:pt x="5078019" y="4522056"/>
                  <a:pt x="5063931" y="4536144"/>
                </a:cubicBezTo>
                <a:cubicBezTo>
                  <a:pt x="5049843" y="4564318"/>
                  <a:pt x="5049843" y="4578406"/>
                  <a:pt x="5049843" y="4592493"/>
                </a:cubicBezTo>
                <a:cubicBezTo>
                  <a:pt x="5049843" y="4592493"/>
                  <a:pt x="5049843" y="4606580"/>
                  <a:pt x="5049843" y="4606580"/>
                </a:cubicBezTo>
                <a:cubicBezTo>
                  <a:pt x="5049843" y="4620667"/>
                  <a:pt x="5021666" y="4662929"/>
                  <a:pt x="5021666" y="4677018"/>
                </a:cubicBezTo>
                <a:cubicBezTo>
                  <a:pt x="4979401" y="4733367"/>
                  <a:pt x="4951226" y="4803804"/>
                  <a:pt x="4894873" y="4860154"/>
                </a:cubicBezTo>
                <a:lnTo>
                  <a:pt x="4902783" y="4860154"/>
                </a:lnTo>
                <a:cubicBezTo>
                  <a:pt x="4908066" y="4860154"/>
                  <a:pt x="4915110" y="4860154"/>
                  <a:pt x="4922154" y="4860154"/>
                </a:cubicBezTo>
                <a:cubicBezTo>
                  <a:pt x="4922154" y="4860154"/>
                  <a:pt x="4922154" y="4860154"/>
                  <a:pt x="4936242" y="4860154"/>
                </a:cubicBezTo>
                <a:cubicBezTo>
                  <a:pt x="4936242" y="4860154"/>
                  <a:pt x="4936242" y="4860154"/>
                  <a:pt x="4950331" y="4860154"/>
                </a:cubicBezTo>
                <a:cubicBezTo>
                  <a:pt x="4950331" y="4846067"/>
                  <a:pt x="4950331" y="4846067"/>
                  <a:pt x="4964418" y="4846067"/>
                </a:cubicBezTo>
                <a:cubicBezTo>
                  <a:pt x="4992595" y="4846067"/>
                  <a:pt x="5006683" y="4846067"/>
                  <a:pt x="5034860" y="4846067"/>
                </a:cubicBezTo>
                <a:cubicBezTo>
                  <a:pt x="5063036" y="4831978"/>
                  <a:pt x="5091213" y="4846067"/>
                  <a:pt x="5119389" y="4846067"/>
                </a:cubicBezTo>
                <a:cubicBezTo>
                  <a:pt x="5119389" y="4846067"/>
                  <a:pt x="5122911" y="4846067"/>
                  <a:pt x="5128194" y="4846067"/>
                </a:cubicBezTo>
                <a:lnTo>
                  <a:pt x="5136626" y="4846067"/>
                </a:lnTo>
                <a:lnTo>
                  <a:pt x="5153743" y="4830218"/>
                </a:lnTo>
                <a:cubicBezTo>
                  <a:pt x="5169593" y="4814369"/>
                  <a:pt x="5183681" y="4796760"/>
                  <a:pt x="5190725" y="4775629"/>
                </a:cubicBezTo>
                <a:cubicBezTo>
                  <a:pt x="5190725" y="4775629"/>
                  <a:pt x="5190725" y="4775629"/>
                  <a:pt x="5204813" y="4761542"/>
                </a:cubicBezTo>
                <a:cubicBezTo>
                  <a:pt x="5204813" y="4761542"/>
                  <a:pt x="5204813" y="4761542"/>
                  <a:pt x="5190725" y="4761542"/>
                </a:cubicBezTo>
                <a:cubicBezTo>
                  <a:pt x="5204813" y="4761542"/>
                  <a:pt x="5204813" y="4747454"/>
                  <a:pt x="5218902" y="4747454"/>
                </a:cubicBezTo>
                <a:cubicBezTo>
                  <a:pt x="5232990" y="4705192"/>
                  <a:pt x="5261166" y="4662929"/>
                  <a:pt x="5289343" y="4634755"/>
                </a:cubicBezTo>
                <a:cubicBezTo>
                  <a:pt x="5289343" y="4634755"/>
                  <a:pt x="5289343" y="4634755"/>
                  <a:pt x="5303431" y="4620667"/>
                </a:cubicBezTo>
                <a:cubicBezTo>
                  <a:pt x="5303431" y="4606580"/>
                  <a:pt x="5317519" y="4606580"/>
                  <a:pt x="5317519" y="4606580"/>
                </a:cubicBezTo>
                <a:cubicBezTo>
                  <a:pt x="5317519" y="4606580"/>
                  <a:pt x="5331608" y="4592493"/>
                  <a:pt x="5331608" y="4592493"/>
                </a:cubicBezTo>
                <a:cubicBezTo>
                  <a:pt x="5331608" y="4592493"/>
                  <a:pt x="5331608" y="4592493"/>
                  <a:pt x="5345695" y="4564318"/>
                </a:cubicBezTo>
                <a:cubicBezTo>
                  <a:pt x="5345695" y="4564318"/>
                  <a:pt x="5345695" y="4564318"/>
                  <a:pt x="5373872" y="4536144"/>
                </a:cubicBezTo>
                <a:cubicBezTo>
                  <a:pt x="5373872" y="4536144"/>
                  <a:pt x="5373872" y="4522056"/>
                  <a:pt x="5373872" y="4522056"/>
                </a:cubicBezTo>
                <a:cubicBezTo>
                  <a:pt x="5373872" y="4522056"/>
                  <a:pt x="5387961" y="4507969"/>
                  <a:pt x="5387961" y="4507969"/>
                </a:cubicBezTo>
                <a:cubicBezTo>
                  <a:pt x="5402048" y="4507969"/>
                  <a:pt x="5402048" y="4493882"/>
                  <a:pt x="5416136" y="4479793"/>
                </a:cubicBezTo>
                <a:cubicBezTo>
                  <a:pt x="5416136" y="4465706"/>
                  <a:pt x="5430225" y="4451619"/>
                  <a:pt x="5444314" y="4437531"/>
                </a:cubicBezTo>
                <a:cubicBezTo>
                  <a:pt x="5458401" y="4409357"/>
                  <a:pt x="5472489" y="4395269"/>
                  <a:pt x="5472489" y="4381182"/>
                </a:cubicBezTo>
                <a:cubicBezTo>
                  <a:pt x="5472489" y="4381182"/>
                  <a:pt x="5472489" y="4367095"/>
                  <a:pt x="5472489" y="4367095"/>
                </a:cubicBezTo>
                <a:cubicBezTo>
                  <a:pt x="5486578" y="4338920"/>
                  <a:pt x="5500667" y="4310744"/>
                  <a:pt x="5528842" y="4268482"/>
                </a:cubicBezTo>
                <a:cubicBezTo>
                  <a:pt x="5528842" y="4268482"/>
                  <a:pt x="5528842" y="4254395"/>
                  <a:pt x="5528842" y="4254395"/>
                </a:cubicBezTo>
                <a:cubicBezTo>
                  <a:pt x="5528842" y="4240308"/>
                  <a:pt x="5542931" y="4240308"/>
                  <a:pt x="5542931" y="4226221"/>
                </a:cubicBezTo>
                <a:cubicBezTo>
                  <a:pt x="5542931" y="4212133"/>
                  <a:pt x="5571107" y="4169871"/>
                  <a:pt x="5585195" y="4141697"/>
                </a:cubicBezTo>
                <a:cubicBezTo>
                  <a:pt x="5585195" y="4127608"/>
                  <a:pt x="5585195" y="4113521"/>
                  <a:pt x="5599284" y="4099433"/>
                </a:cubicBezTo>
                <a:cubicBezTo>
                  <a:pt x="5613371" y="4057172"/>
                  <a:pt x="5627460" y="4000822"/>
                  <a:pt x="5641548" y="3958560"/>
                </a:cubicBezTo>
                <a:cubicBezTo>
                  <a:pt x="5641548" y="3944472"/>
                  <a:pt x="5655637" y="3930385"/>
                  <a:pt x="5655637" y="3916297"/>
                </a:cubicBezTo>
                <a:cubicBezTo>
                  <a:pt x="5655637" y="3916297"/>
                  <a:pt x="5655637" y="3916297"/>
                  <a:pt x="5669724" y="3888123"/>
                </a:cubicBezTo>
                <a:cubicBezTo>
                  <a:pt x="5683813" y="3845861"/>
                  <a:pt x="5683813" y="3803599"/>
                  <a:pt x="5697901" y="3775423"/>
                </a:cubicBezTo>
                <a:cubicBezTo>
                  <a:pt x="5711990" y="3747248"/>
                  <a:pt x="5726077" y="3719074"/>
                  <a:pt x="5726077" y="3690899"/>
                </a:cubicBezTo>
                <a:cubicBezTo>
                  <a:pt x="5726077" y="3662725"/>
                  <a:pt x="5726077" y="3620463"/>
                  <a:pt x="5740166" y="3592287"/>
                </a:cubicBezTo>
                <a:cubicBezTo>
                  <a:pt x="5754254" y="3578200"/>
                  <a:pt x="5754254" y="3564112"/>
                  <a:pt x="5754254" y="3564112"/>
                </a:cubicBezTo>
                <a:cubicBezTo>
                  <a:pt x="5754254" y="3535938"/>
                  <a:pt x="5754254" y="3521850"/>
                  <a:pt x="5768341" y="3521850"/>
                </a:cubicBezTo>
                <a:cubicBezTo>
                  <a:pt x="5768341" y="3507763"/>
                  <a:pt x="5768341" y="3493676"/>
                  <a:pt x="5768341" y="3479588"/>
                </a:cubicBezTo>
                <a:cubicBezTo>
                  <a:pt x="5782430" y="3437327"/>
                  <a:pt x="5782430" y="3409151"/>
                  <a:pt x="5782430" y="3366889"/>
                </a:cubicBezTo>
                <a:cubicBezTo>
                  <a:pt x="5782430" y="3352801"/>
                  <a:pt x="5796519" y="3324627"/>
                  <a:pt x="5782430" y="3310540"/>
                </a:cubicBezTo>
                <a:cubicBezTo>
                  <a:pt x="5782430" y="3282365"/>
                  <a:pt x="5796519" y="3268278"/>
                  <a:pt x="5796519" y="3240102"/>
                </a:cubicBezTo>
                <a:cubicBezTo>
                  <a:pt x="5796519" y="3226015"/>
                  <a:pt x="5810607" y="3211927"/>
                  <a:pt x="5810607" y="3211927"/>
                </a:cubicBezTo>
                <a:cubicBezTo>
                  <a:pt x="5824694" y="3183753"/>
                  <a:pt x="5824694" y="3183753"/>
                  <a:pt x="5824694" y="3226015"/>
                </a:cubicBezTo>
                <a:cubicBezTo>
                  <a:pt x="5824694" y="3254190"/>
                  <a:pt x="5824694" y="3268278"/>
                  <a:pt x="5824694" y="3282365"/>
                </a:cubicBezTo>
                <a:cubicBezTo>
                  <a:pt x="5824694" y="3296452"/>
                  <a:pt x="5824694" y="3310540"/>
                  <a:pt x="5824694" y="3324627"/>
                </a:cubicBezTo>
                <a:lnTo>
                  <a:pt x="5824694" y="3352801"/>
                </a:lnTo>
                <a:cubicBezTo>
                  <a:pt x="5838783" y="3352801"/>
                  <a:pt x="5838783" y="3352801"/>
                  <a:pt x="5838783" y="3352801"/>
                </a:cubicBezTo>
                <a:cubicBezTo>
                  <a:pt x="5852872" y="3324627"/>
                  <a:pt x="5852872" y="3324627"/>
                  <a:pt x="5852872" y="3338714"/>
                </a:cubicBezTo>
                <a:cubicBezTo>
                  <a:pt x="5866960" y="3338714"/>
                  <a:pt x="5881047" y="3324627"/>
                  <a:pt x="5881047" y="3282365"/>
                </a:cubicBezTo>
                <a:cubicBezTo>
                  <a:pt x="5881047" y="3268278"/>
                  <a:pt x="5881047" y="3268278"/>
                  <a:pt x="5895136" y="3254190"/>
                </a:cubicBezTo>
                <a:cubicBezTo>
                  <a:pt x="5895136" y="3268278"/>
                  <a:pt x="5895136" y="3268278"/>
                  <a:pt x="5895136" y="3268278"/>
                </a:cubicBezTo>
                <a:cubicBezTo>
                  <a:pt x="5895136" y="3268278"/>
                  <a:pt x="5895136" y="3282365"/>
                  <a:pt x="5895136" y="3282365"/>
                </a:cubicBezTo>
                <a:cubicBezTo>
                  <a:pt x="5909224" y="3296452"/>
                  <a:pt x="5923313" y="3296452"/>
                  <a:pt x="5923313" y="3296452"/>
                </a:cubicBezTo>
                <a:cubicBezTo>
                  <a:pt x="5937400" y="3310540"/>
                  <a:pt x="5951489" y="3338714"/>
                  <a:pt x="5951489" y="3395063"/>
                </a:cubicBezTo>
                <a:cubicBezTo>
                  <a:pt x="5951489" y="3409151"/>
                  <a:pt x="5965577" y="3409151"/>
                  <a:pt x="5965577" y="3395063"/>
                </a:cubicBezTo>
                <a:cubicBezTo>
                  <a:pt x="5965577" y="3380976"/>
                  <a:pt x="5979666" y="3395063"/>
                  <a:pt x="5979666" y="3409151"/>
                </a:cubicBezTo>
                <a:cubicBezTo>
                  <a:pt x="5979666" y="3437327"/>
                  <a:pt x="5979666" y="3465501"/>
                  <a:pt x="5979666" y="3465501"/>
                </a:cubicBezTo>
                <a:cubicBezTo>
                  <a:pt x="5993753" y="3465501"/>
                  <a:pt x="5993753" y="3479588"/>
                  <a:pt x="5993753" y="3493676"/>
                </a:cubicBezTo>
                <a:cubicBezTo>
                  <a:pt x="5993753" y="3521850"/>
                  <a:pt x="5993753" y="3564112"/>
                  <a:pt x="5993753" y="3578200"/>
                </a:cubicBezTo>
                <a:cubicBezTo>
                  <a:pt x="5993753" y="3606375"/>
                  <a:pt x="5993753" y="3662725"/>
                  <a:pt x="5993753" y="3690899"/>
                </a:cubicBezTo>
                <a:cubicBezTo>
                  <a:pt x="5993753" y="3719074"/>
                  <a:pt x="5993753" y="3747248"/>
                  <a:pt x="5993753" y="3775423"/>
                </a:cubicBezTo>
                <a:cubicBezTo>
                  <a:pt x="5993753" y="3789512"/>
                  <a:pt x="5993753" y="3803599"/>
                  <a:pt x="5993753" y="3817686"/>
                </a:cubicBezTo>
                <a:cubicBezTo>
                  <a:pt x="5979666" y="3831773"/>
                  <a:pt x="5979666" y="3845861"/>
                  <a:pt x="5979666" y="3859948"/>
                </a:cubicBezTo>
                <a:cubicBezTo>
                  <a:pt x="5979666" y="3874035"/>
                  <a:pt x="5979666" y="3888123"/>
                  <a:pt x="5979666" y="3902210"/>
                </a:cubicBezTo>
                <a:cubicBezTo>
                  <a:pt x="5979666" y="3902210"/>
                  <a:pt x="5979666" y="3902210"/>
                  <a:pt x="5979666" y="3916297"/>
                </a:cubicBezTo>
                <a:cubicBezTo>
                  <a:pt x="5965577" y="3930385"/>
                  <a:pt x="5965577" y="3930385"/>
                  <a:pt x="5979666" y="3944472"/>
                </a:cubicBezTo>
                <a:cubicBezTo>
                  <a:pt x="5979666" y="3944472"/>
                  <a:pt x="5965577" y="3972648"/>
                  <a:pt x="5965577" y="4000822"/>
                </a:cubicBezTo>
                <a:cubicBezTo>
                  <a:pt x="5965577" y="4043084"/>
                  <a:pt x="5937400" y="4099433"/>
                  <a:pt x="5923313" y="4155784"/>
                </a:cubicBezTo>
                <a:cubicBezTo>
                  <a:pt x="5923313" y="4183958"/>
                  <a:pt x="5923313" y="4212133"/>
                  <a:pt x="5895136" y="4254395"/>
                </a:cubicBezTo>
                <a:cubicBezTo>
                  <a:pt x="5909224" y="4254395"/>
                  <a:pt x="5895136" y="4296657"/>
                  <a:pt x="5895136" y="4310744"/>
                </a:cubicBezTo>
                <a:cubicBezTo>
                  <a:pt x="5895136" y="4310744"/>
                  <a:pt x="5881047" y="4310744"/>
                  <a:pt x="5881047" y="4324833"/>
                </a:cubicBezTo>
                <a:cubicBezTo>
                  <a:pt x="5895136" y="4310744"/>
                  <a:pt x="5909224" y="4296657"/>
                  <a:pt x="5895136" y="4338920"/>
                </a:cubicBezTo>
                <a:cubicBezTo>
                  <a:pt x="5881047" y="4367095"/>
                  <a:pt x="5866960" y="4395269"/>
                  <a:pt x="5866960" y="4423444"/>
                </a:cubicBezTo>
                <a:cubicBezTo>
                  <a:pt x="5852872" y="4465706"/>
                  <a:pt x="5838783" y="4479793"/>
                  <a:pt x="5824694" y="4507969"/>
                </a:cubicBezTo>
                <a:cubicBezTo>
                  <a:pt x="5838783" y="4522056"/>
                  <a:pt x="5824694" y="4550231"/>
                  <a:pt x="5810607" y="4564318"/>
                </a:cubicBezTo>
                <a:cubicBezTo>
                  <a:pt x="5803563" y="4578405"/>
                  <a:pt x="5796519" y="4596015"/>
                  <a:pt x="5787714" y="4615385"/>
                </a:cubicBezTo>
                <a:lnTo>
                  <a:pt x="5764157" y="4658776"/>
                </a:lnTo>
                <a:lnTo>
                  <a:pt x="5776252" y="4654125"/>
                </a:lnTo>
                <a:cubicBezTo>
                  <a:pt x="5785057" y="4648842"/>
                  <a:pt x="5795623" y="4641799"/>
                  <a:pt x="5809711" y="4634755"/>
                </a:cubicBezTo>
                <a:cubicBezTo>
                  <a:pt x="5809711" y="4634755"/>
                  <a:pt x="5837888" y="4634755"/>
                  <a:pt x="5851976" y="4634755"/>
                </a:cubicBezTo>
                <a:cubicBezTo>
                  <a:pt x="5851976" y="4634755"/>
                  <a:pt x="5851976" y="4634755"/>
                  <a:pt x="5851976" y="4648842"/>
                </a:cubicBezTo>
                <a:cubicBezTo>
                  <a:pt x="5837888" y="4662929"/>
                  <a:pt x="5837888" y="4677018"/>
                  <a:pt x="5823800" y="4705192"/>
                </a:cubicBezTo>
                <a:cubicBezTo>
                  <a:pt x="5809711" y="4705192"/>
                  <a:pt x="5809711" y="4719280"/>
                  <a:pt x="5809711" y="4719280"/>
                </a:cubicBezTo>
                <a:cubicBezTo>
                  <a:pt x="5823800" y="4719280"/>
                  <a:pt x="5809711" y="4719280"/>
                  <a:pt x="5809711" y="4733367"/>
                </a:cubicBezTo>
                <a:cubicBezTo>
                  <a:pt x="5809711" y="4733367"/>
                  <a:pt x="5795623" y="4747454"/>
                  <a:pt x="5795623" y="4761542"/>
                </a:cubicBezTo>
                <a:cubicBezTo>
                  <a:pt x="5781535" y="4775629"/>
                  <a:pt x="5767447" y="4775629"/>
                  <a:pt x="5739270" y="4789716"/>
                </a:cubicBezTo>
                <a:lnTo>
                  <a:pt x="5738497" y="4795901"/>
                </a:lnTo>
                <a:lnTo>
                  <a:pt x="5745449" y="4791477"/>
                </a:lnTo>
                <a:cubicBezTo>
                  <a:pt x="5750732" y="4789716"/>
                  <a:pt x="5754254" y="4789716"/>
                  <a:pt x="5754254" y="4789716"/>
                </a:cubicBezTo>
                <a:cubicBezTo>
                  <a:pt x="5740166" y="4803804"/>
                  <a:pt x="5740166" y="4817891"/>
                  <a:pt x="5726077" y="4831978"/>
                </a:cubicBezTo>
                <a:lnTo>
                  <a:pt x="5712487" y="4850666"/>
                </a:lnTo>
                <a:lnTo>
                  <a:pt x="5751597" y="4826696"/>
                </a:lnTo>
                <a:cubicBezTo>
                  <a:pt x="5767447" y="4817891"/>
                  <a:pt x="5781535" y="4810847"/>
                  <a:pt x="5795623" y="4803804"/>
                </a:cubicBezTo>
                <a:cubicBezTo>
                  <a:pt x="5837888" y="4775629"/>
                  <a:pt x="5866064" y="4761542"/>
                  <a:pt x="5908329" y="4747454"/>
                </a:cubicBezTo>
                <a:cubicBezTo>
                  <a:pt x="5922417" y="4733367"/>
                  <a:pt x="5936506" y="4719280"/>
                  <a:pt x="5950593" y="4719280"/>
                </a:cubicBezTo>
                <a:cubicBezTo>
                  <a:pt x="5950593" y="4719280"/>
                  <a:pt x="5950593" y="4719280"/>
                  <a:pt x="6006946" y="4677018"/>
                </a:cubicBezTo>
                <a:cubicBezTo>
                  <a:pt x="6035123" y="4662929"/>
                  <a:pt x="6049212" y="4648842"/>
                  <a:pt x="6063299" y="4648842"/>
                </a:cubicBezTo>
                <a:cubicBezTo>
                  <a:pt x="6077388" y="4634755"/>
                  <a:pt x="6091476" y="4634755"/>
                  <a:pt x="6091476" y="4634755"/>
                </a:cubicBezTo>
                <a:cubicBezTo>
                  <a:pt x="6119652" y="4606580"/>
                  <a:pt x="6119652" y="4606580"/>
                  <a:pt x="6119652" y="4620667"/>
                </a:cubicBezTo>
                <a:cubicBezTo>
                  <a:pt x="6133741" y="4606580"/>
                  <a:pt x="6147829" y="4606580"/>
                  <a:pt x="6161916" y="4592493"/>
                </a:cubicBezTo>
                <a:cubicBezTo>
                  <a:pt x="6161916" y="4592493"/>
                  <a:pt x="6161916" y="4578406"/>
                  <a:pt x="6176005" y="4578406"/>
                </a:cubicBezTo>
                <a:cubicBezTo>
                  <a:pt x="6190093" y="4564318"/>
                  <a:pt x="6218269" y="4536144"/>
                  <a:pt x="6232358" y="4522056"/>
                </a:cubicBezTo>
                <a:cubicBezTo>
                  <a:pt x="6246446" y="4522056"/>
                  <a:pt x="6246446" y="4507969"/>
                  <a:pt x="6260535" y="4493882"/>
                </a:cubicBezTo>
                <a:cubicBezTo>
                  <a:pt x="6274622" y="4493882"/>
                  <a:pt x="6302799" y="4465706"/>
                  <a:pt x="6316888" y="4451619"/>
                </a:cubicBezTo>
                <a:cubicBezTo>
                  <a:pt x="6316888" y="4451619"/>
                  <a:pt x="6330975" y="4451619"/>
                  <a:pt x="6330975" y="4437531"/>
                </a:cubicBezTo>
                <a:cubicBezTo>
                  <a:pt x="6345064" y="4409357"/>
                  <a:pt x="6373240" y="4395269"/>
                  <a:pt x="6387328" y="4353007"/>
                </a:cubicBezTo>
                <a:cubicBezTo>
                  <a:pt x="6401417" y="4353007"/>
                  <a:pt x="6401417" y="4353007"/>
                  <a:pt x="6401417" y="4338920"/>
                </a:cubicBezTo>
                <a:cubicBezTo>
                  <a:pt x="6415505" y="4324833"/>
                  <a:pt x="6429593" y="4310744"/>
                  <a:pt x="6443681" y="4296657"/>
                </a:cubicBezTo>
                <a:cubicBezTo>
                  <a:pt x="6457770" y="4282570"/>
                  <a:pt x="6457770" y="4282570"/>
                  <a:pt x="6457770" y="4282570"/>
                </a:cubicBezTo>
                <a:cubicBezTo>
                  <a:pt x="6457770" y="4268482"/>
                  <a:pt x="6457770" y="4268482"/>
                  <a:pt x="6457770" y="4268482"/>
                </a:cubicBezTo>
                <a:cubicBezTo>
                  <a:pt x="6485946" y="4254395"/>
                  <a:pt x="6500034" y="4226221"/>
                  <a:pt x="6514123" y="4226221"/>
                </a:cubicBezTo>
                <a:cubicBezTo>
                  <a:pt x="6514123" y="4226221"/>
                  <a:pt x="6514123" y="4212133"/>
                  <a:pt x="6514123" y="4212133"/>
                </a:cubicBezTo>
                <a:cubicBezTo>
                  <a:pt x="6528211" y="4212133"/>
                  <a:pt x="6528211" y="4198046"/>
                  <a:pt x="6542298" y="4183958"/>
                </a:cubicBezTo>
                <a:cubicBezTo>
                  <a:pt x="6542298" y="4169871"/>
                  <a:pt x="6556387" y="4169871"/>
                  <a:pt x="6556387" y="4169871"/>
                </a:cubicBezTo>
                <a:cubicBezTo>
                  <a:pt x="6570476" y="4155784"/>
                  <a:pt x="6584563" y="4127608"/>
                  <a:pt x="6598651" y="4113521"/>
                </a:cubicBezTo>
                <a:cubicBezTo>
                  <a:pt x="6598651" y="4113521"/>
                  <a:pt x="6598651" y="4099433"/>
                  <a:pt x="6612740" y="4099433"/>
                </a:cubicBezTo>
                <a:cubicBezTo>
                  <a:pt x="6612740" y="4071259"/>
                  <a:pt x="6626829" y="4057172"/>
                  <a:pt x="6640916" y="4028997"/>
                </a:cubicBezTo>
                <a:cubicBezTo>
                  <a:pt x="6655004" y="4014910"/>
                  <a:pt x="6669093" y="3986735"/>
                  <a:pt x="6683181" y="3958560"/>
                </a:cubicBezTo>
                <a:cubicBezTo>
                  <a:pt x="6683181" y="3972648"/>
                  <a:pt x="6697269" y="3972648"/>
                  <a:pt x="6697269" y="3986735"/>
                </a:cubicBezTo>
                <a:cubicBezTo>
                  <a:pt x="6697269" y="4000822"/>
                  <a:pt x="6683181" y="4028997"/>
                  <a:pt x="6683181" y="4043084"/>
                </a:cubicBezTo>
                <a:cubicBezTo>
                  <a:pt x="6683181" y="4057172"/>
                  <a:pt x="6683181" y="4071259"/>
                  <a:pt x="6683181" y="4085346"/>
                </a:cubicBezTo>
                <a:cubicBezTo>
                  <a:pt x="6683181" y="4085346"/>
                  <a:pt x="6683181" y="4099433"/>
                  <a:pt x="6683181" y="4113521"/>
                </a:cubicBezTo>
                <a:cubicBezTo>
                  <a:pt x="6669093" y="4141697"/>
                  <a:pt x="6655004" y="4169871"/>
                  <a:pt x="6640916" y="4198046"/>
                </a:cubicBezTo>
                <a:cubicBezTo>
                  <a:pt x="6640916" y="4212133"/>
                  <a:pt x="6640916" y="4212133"/>
                  <a:pt x="6640916" y="4212133"/>
                </a:cubicBezTo>
                <a:cubicBezTo>
                  <a:pt x="6640916" y="4226221"/>
                  <a:pt x="6626829" y="4240308"/>
                  <a:pt x="6612740" y="4268482"/>
                </a:cubicBezTo>
                <a:cubicBezTo>
                  <a:pt x="6598651" y="4296657"/>
                  <a:pt x="6598651" y="4324833"/>
                  <a:pt x="6584563" y="4353007"/>
                </a:cubicBezTo>
                <a:cubicBezTo>
                  <a:pt x="6556387" y="4367095"/>
                  <a:pt x="6542298" y="4395269"/>
                  <a:pt x="6528211" y="4423444"/>
                </a:cubicBezTo>
                <a:cubicBezTo>
                  <a:pt x="6514123" y="4451619"/>
                  <a:pt x="6500034" y="4479793"/>
                  <a:pt x="6471858" y="4522056"/>
                </a:cubicBezTo>
                <a:cubicBezTo>
                  <a:pt x="6457770" y="4536144"/>
                  <a:pt x="6443681" y="4550231"/>
                  <a:pt x="6443681" y="4564318"/>
                </a:cubicBezTo>
                <a:cubicBezTo>
                  <a:pt x="6415505" y="4592493"/>
                  <a:pt x="6415505" y="4620667"/>
                  <a:pt x="6401417" y="4634755"/>
                </a:cubicBezTo>
                <a:cubicBezTo>
                  <a:pt x="6401417" y="4662929"/>
                  <a:pt x="6387328" y="4677018"/>
                  <a:pt x="6373240" y="4705192"/>
                </a:cubicBezTo>
                <a:cubicBezTo>
                  <a:pt x="6359152" y="4733367"/>
                  <a:pt x="6345064" y="4761542"/>
                  <a:pt x="6330975" y="4775629"/>
                </a:cubicBezTo>
                <a:cubicBezTo>
                  <a:pt x="6316888" y="4803804"/>
                  <a:pt x="6302799" y="4817891"/>
                  <a:pt x="6288711" y="4831978"/>
                </a:cubicBezTo>
                <a:cubicBezTo>
                  <a:pt x="6288711" y="4831978"/>
                  <a:pt x="6274622" y="4846067"/>
                  <a:pt x="6274622" y="4846067"/>
                </a:cubicBezTo>
                <a:cubicBezTo>
                  <a:pt x="6260535" y="4860154"/>
                  <a:pt x="6260535" y="4874241"/>
                  <a:pt x="6246446" y="4888329"/>
                </a:cubicBezTo>
                <a:cubicBezTo>
                  <a:pt x="6246446" y="4888329"/>
                  <a:pt x="6246446" y="4888329"/>
                  <a:pt x="6232358" y="4888329"/>
                </a:cubicBezTo>
                <a:cubicBezTo>
                  <a:pt x="6232358" y="4888329"/>
                  <a:pt x="6232358" y="4888329"/>
                  <a:pt x="6232358" y="4902416"/>
                </a:cubicBezTo>
                <a:cubicBezTo>
                  <a:pt x="6232358" y="4902416"/>
                  <a:pt x="6218269" y="4902416"/>
                  <a:pt x="6218269" y="4902416"/>
                </a:cubicBezTo>
                <a:cubicBezTo>
                  <a:pt x="6204182" y="4916503"/>
                  <a:pt x="6176005" y="4944678"/>
                  <a:pt x="6161916" y="4958765"/>
                </a:cubicBezTo>
                <a:cubicBezTo>
                  <a:pt x="6161916" y="4958765"/>
                  <a:pt x="6161916" y="4972852"/>
                  <a:pt x="6147829" y="4972852"/>
                </a:cubicBezTo>
                <a:cubicBezTo>
                  <a:pt x="6147829" y="4972852"/>
                  <a:pt x="6133741" y="4986940"/>
                  <a:pt x="6119652" y="4986940"/>
                </a:cubicBezTo>
                <a:cubicBezTo>
                  <a:pt x="6105565" y="5001027"/>
                  <a:pt x="6091476" y="5015114"/>
                  <a:pt x="6077388" y="5029203"/>
                </a:cubicBezTo>
                <a:cubicBezTo>
                  <a:pt x="6049212" y="5043290"/>
                  <a:pt x="6049212" y="5057378"/>
                  <a:pt x="6035123" y="5071465"/>
                </a:cubicBezTo>
                <a:cubicBezTo>
                  <a:pt x="6035123" y="5071465"/>
                  <a:pt x="6049212" y="5057378"/>
                  <a:pt x="6049212" y="5057378"/>
                </a:cubicBezTo>
                <a:cubicBezTo>
                  <a:pt x="6049212" y="5057378"/>
                  <a:pt x="6049212" y="5057378"/>
                  <a:pt x="6063299" y="5057378"/>
                </a:cubicBezTo>
                <a:cubicBezTo>
                  <a:pt x="6077388" y="5057378"/>
                  <a:pt x="6105565" y="5043290"/>
                  <a:pt x="6119652" y="5029203"/>
                </a:cubicBezTo>
                <a:cubicBezTo>
                  <a:pt x="6119652" y="5029203"/>
                  <a:pt x="6133741" y="5029203"/>
                  <a:pt x="6133741" y="5015114"/>
                </a:cubicBezTo>
                <a:cubicBezTo>
                  <a:pt x="6133741" y="5015114"/>
                  <a:pt x="6147829" y="5001027"/>
                  <a:pt x="6161916" y="4986940"/>
                </a:cubicBezTo>
                <a:cubicBezTo>
                  <a:pt x="6176005" y="4972852"/>
                  <a:pt x="6190093" y="4958765"/>
                  <a:pt x="6204182" y="4958765"/>
                </a:cubicBezTo>
                <a:lnTo>
                  <a:pt x="6218266" y="4944683"/>
                </a:lnTo>
                <a:lnTo>
                  <a:pt x="6191855" y="4972852"/>
                </a:lnTo>
                <a:cubicBezTo>
                  <a:pt x="6183050" y="4983418"/>
                  <a:pt x="6176005" y="4993983"/>
                  <a:pt x="6176005" y="5001027"/>
                </a:cubicBezTo>
                <a:cubicBezTo>
                  <a:pt x="6176005" y="5001027"/>
                  <a:pt x="6190093" y="4986940"/>
                  <a:pt x="6190093" y="4986940"/>
                </a:cubicBezTo>
                <a:cubicBezTo>
                  <a:pt x="6190093" y="4986940"/>
                  <a:pt x="6190093" y="4986940"/>
                  <a:pt x="6204182" y="4986940"/>
                </a:cubicBezTo>
                <a:cubicBezTo>
                  <a:pt x="6218269" y="4972852"/>
                  <a:pt x="6218269" y="4958765"/>
                  <a:pt x="6218269" y="4958765"/>
                </a:cubicBezTo>
                <a:cubicBezTo>
                  <a:pt x="6246446" y="4930591"/>
                  <a:pt x="6274622" y="4916503"/>
                  <a:pt x="6302799" y="4902416"/>
                </a:cubicBezTo>
                <a:cubicBezTo>
                  <a:pt x="6316888" y="4888329"/>
                  <a:pt x="6330975" y="4874241"/>
                  <a:pt x="6345064" y="4874241"/>
                </a:cubicBezTo>
                <a:cubicBezTo>
                  <a:pt x="6345064" y="4860154"/>
                  <a:pt x="6359152" y="4846067"/>
                  <a:pt x="6373240" y="4831978"/>
                </a:cubicBezTo>
                <a:cubicBezTo>
                  <a:pt x="6387328" y="4817891"/>
                  <a:pt x="6401417" y="4803804"/>
                  <a:pt x="6415505" y="4789716"/>
                </a:cubicBezTo>
                <a:cubicBezTo>
                  <a:pt x="6429593" y="4775629"/>
                  <a:pt x="6457770" y="4761542"/>
                  <a:pt x="6457770" y="4747454"/>
                </a:cubicBezTo>
                <a:cubicBezTo>
                  <a:pt x="6485946" y="4733367"/>
                  <a:pt x="6500034" y="4705192"/>
                  <a:pt x="6514123" y="4691105"/>
                </a:cubicBezTo>
                <a:cubicBezTo>
                  <a:pt x="6514123" y="4691105"/>
                  <a:pt x="6528211" y="4691105"/>
                  <a:pt x="6528211" y="4691105"/>
                </a:cubicBezTo>
                <a:cubicBezTo>
                  <a:pt x="6542298" y="4677018"/>
                  <a:pt x="6570476" y="4648842"/>
                  <a:pt x="6584563" y="4634755"/>
                </a:cubicBezTo>
                <a:cubicBezTo>
                  <a:pt x="6612740" y="4606580"/>
                  <a:pt x="6640916" y="4578406"/>
                  <a:pt x="6655004" y="4550231"/>
                </a:cubicBezTo>
                <a:cubicBezTo>
                  <a:pt x="6669093" y="4536144"/>
                  <a:pt x="6669093" y="4522056"/>
                  <a:pt x="6683181" y="4522056"/>
                </a:cubicBezTo>
                <a:cubicBezTo>
                  <a:pt x="6697269" y="4522056"/>
                  <a:pt x="6697269" y="4522056"/>
                  <a:pt x="6683181" y="4536144"/>
                </a:cubicBezTo>
                <a:cubicBezTo>
                  <a:pt x="6669093" y="4564318"/>
                  <a:pt x="6669093" y="4578406"/>
                  <a:pt x="6669093" y="4592493"/>
                </a:cubicBezTo>
                <a:cubicBezTo>
                  <a:pt x="6669093" y="4592493"/>
                  <a:pt x="6669093" y="4606580"/>
                  <a:pt x="6669093" y="4606580"/>
                </a:cubicBezTo>
                <a:cubicBezTo>
                  <a:pt x="6669093" y="4620667"/>
                  <a:pt x="6640916" y="4662929"/>
                  <a:pt x="6640916" y="4677018"/>
                </a:cubicBezTo>
                <a:cubicBezTo>
                  <a:pt x="6598651" y="4733367"/>
                  <a:pt x="6570476" y="4803804"/>
                  <a:pt x="6514123" y="4860154"/>
                </a:cubicBezTo>
                <a:cubicBezTo>
                  <a:pt x="6471858" y="4902416"/>
                  <a:pt x="6443681" y="4944678"/>
                  <a:pt x="6401417" y="4986940"/>
                </a:cubicBezTo>
                <a:cubicBezTo>
                  <a:pt x="6387328" y="5001027"/>
                  <a:pt x="6373240" y="5015114"/>
                  <a:pt x="6359152" y="5015114"/>
                </a:cubicBezTo>
                <a:cubicBezTo>
                  <a:pt x="6359152" y="5029203"/>
                  <a:pt x="6345064" y="5043290"/>
                  <a:pt x="6330975" y="5057378"/>
                </a:cubicBezTo>
                <a:cubicBezTo>
                  <a:pt x="6302799" y="5071465"/>
                  <a:pt x="6288711" y="5099639"/>
                  <a:pt x="6274622" y="5113727"/>
                </a:cubicBezTo>
                <a:cubicBezTo>
                  <a:pt x="6246446" y="5155989"/>
                  <a:pt x="6190093" y="5184163"/>
                  <a:pt x="6147829" y="5212339"/>
                </a:cubicBezTo>
                <a:cubicBezTo>
                  <a:pt x="6119652" y="5240514"/>
                  <a:pt x="6091476" y="5268688"/>
                  <a:pt x="6063299" y="5282776"/>
                </a:cubicBezTo>
                <a:cubicBezTo>
                  <a:pt x="6063299" y="5296863"/>
                  <a:pt x="6049212" y="5296863"/>
                  <a:pt x="6063299" y="5296863"/>
                </a:cubicBezTo>
                <a:cubicBezTo>
                  <a:pt x="6105565" y="5268688"/>
                  <a:pt x="6147829" y="5254601"/>
                  <a:pt x="6190093" y="5226426"/>
                </a:cubicBezTo>
                <a:cubicBezTo>
                  <a:pt x="6204182" y="5212339"/>
                  <a:pt x="6218269" y="5212339"/>
                  <a:pt x="6218269" y="5198252"/>
                </a:cubicBezTo>
                <a:cubicBezTo>
                  <a:pt x="6218269" y="5198252"/>
                  <a:pt x="6218269" y="5198252"/>
                  <a:pt x="6220031" y="5198252"/>
                </a:cubicBezTo>
                <a:lnTo>
                  <a:pt x="6228836" y="5198252"/>
                </a:lnTo>
                <a:lnTo>
                  <a:pt x="6232358" y="5198252"/>
                </a:lnTo>
                <a:cubicBezTo>
                  <a:pt x="6260535" y="5184163"/>
                  <a:pt x="6288711" y="5155989"/>
                  <a:pt x="6330975" y="5127814"/>
                </a:cubicBezTo>
                <a:cubicBezTo>
                  <a:pt x="6359152" y="5113727"/>
                  <a:pt x="6401417" y="5085552"/>
                  <a:pt x="6429593" y="5071465"/>
                </a:cubicBezTo>
                <a:cubicBezTo>
                  <a:pt x="6429593" y="5057378"/>
                  <a:pt x="6443681" y="5057378"/>
                  <a:pt x="6443681" y="5057378"/>
                </a:cubicBezTo>
                <a:cubicBezTo>
                  <a:pt x="6457770" y="5043290"/>
                  <a:pt x="6485946" y="5029203"/>
                  <a:pt x="6500034" y="5015114"/>
                </a:cubicBezTo>
                <a:cubicBezTo>
                  <a:pt x="6542298" y="4986940"/>
                  <a:pt x="6570476" y="4986940"/>
                  <a:pt x="6556387" y="5001027"/>
                </a:cubicBezTo>
                <a:cubicBezTo>
                  <a:pt x="6556387" y="5015114"/>
                  <a:pt x="6556387" y="5029203"/>
                  <a:pt x="6542298" y="5043290"/>
                </a:cubicBezTo>
                <a:cubicBezTo>
                  <a:pt x="6514123" y="5057378"/>
                  <a:pt x="6514123" y="5071465"/>
                  <a:pt x="6500034" y="5099639"/>
                </a:cubicBezTo>
                <a:cubicBezTo>
                  <a:pt x="6500034" y="5099639"/>
                  <a:pt x="6500034" y="5099639"/>
                  <a:pt x="6514123" y="5099639"/>
                </a:cubicBezTo>
                <a:cubicBezTo>
                  <a:pt x="6514123" y="5085552"/>
                  <a:pt x="6514123" y="5085552"/>
                  <a:pt x="6514123" y="5085552"/>
                </a:cubicBezTo>
                <a:cubicBezTo>
                  <a:pt x="6514123" y="5085552"/>
                  <a:pt x="6514123" y="5085552"/>
                  <a:pt x="6528211" y="5085552"/>
                </a:cubicBezTo>
                <a:cubicBezTo>
                  <a:pt x="6528211" y="5071465"/>
                  <a:pt x="6528211" y="5071465"/>
                  <a:pt x="6542298" y="5071465"/>
                </a:cubicBezTo>
                <a:cubicBezTo>
                  <a:pt x="6556387" y="5043290"/>
                  <a:pt x="6556387" y="5029203"/>
                  <a:pt x="6584563" y="5015114"/>
                </a:cubicBezTo>
                <a:cubicBezTo>
                  <a:pt x="6584563" y="5015114"/>
                  <a:pt x="6584563" y="5015114"/>
                  <a:pt x="6598651" y="5001027"/>
                </a:cubicBezTo>
                <a:cubicBezTo>
                  <a:pt x="6598651" y="4986940"/>
                  <a:pt x="6598651" y="4986940"/>
                  <a:pt x="6598651" y="4986940"/>
                </a:cubicBezTo>
                <a:cubicBezTo>
                  <a:pt x="6598651" y="4986940"/>
                  <a:pt x="6598651" y="4986940"/>
                  <a:pt x="6612740" y="4986940"/>
                </a:cubicBezTo>
                <a:cubicBezTo>
                  <a:pt x="6612740" y="4972852"/>
                  <a:pt x="6612740" y="4972852"/>
                  <a:pt x="6612740" y="4972852"/>
                </a:cubicBezTo>
                <a:cubicBezTo>
                  <a:pt x="6626829" y="4972852"/>
                  <a:pt x="6612740" y="4972852"/>
                  <a:pt x="6626829" y="4972852"/>
                </a:cubicBezTo>
                <a:cubicBezTo>
                  <a:pt x="6626829" y="4972852"/>
                  <a:pt x="6626829" y="4972852"/>
                  <a:pt x="6626829" y="4958765"/>
                </a:cubicBezTo>
                <a:cubicBezTo>
                  <a:pt x="6612740" y="4972852"/>
                  <a:pt x="6612740" y="4958765"/>
                  <a:pt x="6626829" y="4944678"/>
                </a:cubicBezTo>
                <a:lnTo>
                  <a:pt x="6630350" y="4944678"/>
                </a:lnTo>
                <a:lnTo>
                  <a:pt x="6633872" y="4944678"/>
                </a:lnTo>
                <a:cubicBezTo>
                  <a:pt x="6637394" y="4944678"/>
                  <a:pt x="6640916" y="4944678"/>
                  <a:pt x="6640916" y="4944678"/>
                </a:cubicBezTo>
                <a:cubicBezTo>
                  <a:pt x="6640916" y="4944678"/>
                  <a:pt x="6626829" y="4944678"/>
                  <a:pt x="6640916" y="4930591"/>
                </a:cubicBezTo>
                <a:cubicBezTo>
                  <a:pt x="6655004" y="4916503"/>
                  <a:pt x="6640916" y="4916503"/>
                  <a:pt x="6655004" y="4902416"/>
                </a:cubicBezTo>
                <a:cubicBezTo>
                  <a:pt x="6669093" y="4902416"/>
                  <a:pt x="6669093" y="4902416"/>
                  <a:pt x="6669093" y="4902416"/>
                </a:cubicBezTo>
                <a:cubicBezTo>
                  <a:pt x="6683181" y="4902416"/>
                  <a:pt x="6683181" y="4888329"/>
                  <a:pt x="6683181" y="4902416"/>
                </a:cubicBezTo>
                <a:cubicBezTo>
                  <a:pt x="6683181" y="4916503"/>
                  <a:pt x="6697269" y="4902416"/>
                  <a:pt x="6711357" y="4902416"/>
                </a:cubicBezTo>
                <a:cubicBezTo>
                  <a:pt x="6711357" y="4888329"/>
                  <a:pt x="6725446" y="4888329"/>
                  <a:pt x="6725446" y="4874241"/>
                </a:cubicBezTo>
                <a:cubicBezTo>
                  <a:pt x="6753622" y="4846067"/>
                  <a:pt x="6795887" y="4817891"/>
                  <a:pt x="6809975" y="4775629"/>
                </a:cubicBezTo>
                <a:cubicBezTo>
                  <a:pt x="6809975" y="4775629"/>
                  <a:pt x="6809975" y="4775629"/>
                  <a:pt x="6824063" y="4761542"/>
                </a:cubicBezTo>
                <a:cubicBezTo>
                  <a:pt x="6824063" y="4761542"/>
                  <a:pt x="6824063" y="4761542"/>
                  <a:pt x="6809975" y="4761542"/>
                </a:cubicBezTo>
                <a:cubicBezTo>
                  <a:pt x="6824063" y="4761542"/>
                  <a:pt x="6824063" y="4747454"/>
                  <a:pt x="6838152" y="4747454"/>
                </a:cubicBezTo>
                <a:cubicBezTo>
                  <a:pt x="6852240" y="4705192"/>
                  <a:pt x="6880416" y="4662929"/>
                  <a:pt x="6908593" y="4634755"/>
                </a:cubicBezTo>
                <a:cubicBezTo>
                  <a:pt x="6908593" y="4634755"/>
                  <a:pt x="6908593" y="4634755"/>
                  <a:pt x="6922681" y="4620667"/>
                </a:cubicBezTo>
                <a:cubicBezTo>
                  <a:pt x="6922681" y="4606580"/>
                  <a:pt x="6936769" y="4606580"/>
                  <a:pt x="6936769" y="4606580"/>
                </a:cubicBezTo>
                <a:cubicBezTo>
                  <a:pt x="6936769" y="4606580"/>
                  <a:pt x="6950858" y="4592493"/>
                  <a:pt x="6950858" y="4592493"/>
                </a:cubicBezTo>
                <a:cubicBezTo>
                  <a:pt x="6950858" y="4592493"/>
                  <a:pt x="6950858" y="4592493"/>
                  <a:pt x="6964945" y="4564318"/>
                </a:cubicBezTo>
                <a:cubicBezTo>
                  <a:pt x="6964945" y="4564318"/>
                  <a:pt x="6964945" y="4564318"/>
                  <a:pt x="6993122" y="4536144"/>
                </a:cubicBezTo>
                <a:cubicBezTo>
                  <a:pt x="6993122" y="4536144"/>
                  <a:pt x="6993122" y="4522056"/>
                  <a:pt x="6993122" y="4522056"/>
                </a:cubicBezTo>
                <a:cubicBezTo>
                  <a:pt x="6993122" y="4522056"/>
                  <a:pt x="7007211" y="4507969"/>
                  <a:pt x="7007211" y="4507969"/>
                </a:cubicBezTo>
                <a:cubicBezTo>
                  <a:pt x="7021298" y="4507969"/>
                  <a:pt x="7021298" y="4493882"/>
                  <a:pt x="7035386" y="4479793"/>
                </a:cubicBezTo>
                <a:cubicBezTo>
                  <a:pt x="7035386" y="4465706"/>
                  <a:pt x="7049475" y="4451619"/>
                  <a:pt x="7063564" y="4437531"/>
                </a:cubicBezTo>
                <a:cubicBezTo>
                  <a:pt x="7077651" y="4409357"/>
                  <a:pt x="7091739" y="4395269"/>
                  <a:pt x="7091739" y="4381182"/>
                </a:cubicBezTo>
                <a:cubicBezTo>
                  <a:pt x="7091739" y="4381182"/>
                  <a:pt x="7091739" y="4367095"/>
                  <a:pt x="7091739" y="4367095"/>
                </a:cubicBezTo>
                <a:cubicBezTo>
                  <a:pt x="7105828" y="4338920"/>
                  <a:pt x="7119917" y="4310744"/>
                  <a:pt x="7148092" y="4268482"/>
                </a:cubicBezTo>
                <a:cubicBezTo>
                  <a:pt x="7148092" y="4268482"/>
                  <a:pt x="7148092" y="4254395"/>
                  <a:pt x="7148092" y="4254395"/>
                </a:cubicBezTo>
                <a:cubicBezTo>
                  <a:pt x="7148092" y="4240308"/>
                  <a:pt x="7162181" y="4240308"/>
                  <a:pt x="7162181" y="4226221"/>
                </a:cubicBezTo>
                <a:cubicBezTo>
                  <a:pt x="7162181" y="4212133"/>
                  <a:pt x="7190357" y="4169871"/>
                  <a:pt x="7204445" y="4141697"/>
                </a:cubicBezTo>
                <a:cubicBezTo>
                  <a:pt x="7204445" y="4127608"/>
                  <a:pt x="7204445" y="4113521"/>
                  <a:pt x="7218534" y="4099433"/>
                </a:cubicBezTo>
                <a:cubicBezTo>
                  <a:pt x="7232621" y="4057172"/>
                  <a:pt x="7246710" y="4000822"/>
                  <a:pt x="7260798" y="3958560"/>
                </a:cubicBezTo>
                <a:cubicBezTo>
                  <a:pt x="7260798" y="3944472"/>
                  <a:pt x="7274887" y="3930385"/>
                  <a:pt x="7274887" y="3916297"/>
                </a:cubicBezTo>
                <a:cubicBezTo>
                  <a:pt x="7274887" y="3916297"/>
                  <a:pt x="7274887" y="3916297"/>
                  <a:pt x="7288974" y="3888123"/>
                </a:cubicBezTo>
                <a:cubicBezTo>
                  <a:pt x="7303063" y="3845861"/>
                  <a:pt x="7303063" y="3803599"/>
                  <a:pt x="7317151" y="3775423"/>
                </a:cubicBezTo>
                <a:cubicBezTo>
                  <a:pt x="7331240" y="3747248"/>
                  <a:pt x="7345327" y="3719074"/>
                  <a:pt x="7345327" y="3690899"/>
                </a:cubicBezTo>
                <a:cubicBezTo>
                  <a:pt x="7345327" y="3662725"/>
                  <a:pt x="7345327" y="3620463"/>
                  <a:pt x="7359416" y="3592287"/>
                </a:cubicBezTo>
                <a:cubicBezTo>
                  <a:pt x="7373504" y="3578200"/>
                  <a:pt x="7373504" y="3564112"/>
                  <a:pt x="7373504" y="3564112"/>
                </a:cubicBezTo>
                <a:cubicBezTo>
                  <a:pt x="7373504" y="3535938"/>
                  <a:pt x="7373504" y="3521850"/>
                  <a:pt x="7387591" y="3521850"/>
                </a:cubicBezTo>
                <a:cubicBezTo>
                  <a:pt x="7387591" y="3507763"/>
                  <a:pt x="7387591" y="3493676"/>
                  <a:pt x="7387591" y="3479588"/>
                </a:cubicBezTo>
                <a:cubicBezTo>
                  <a:pt x="7401680" y="3437327"/>
                  <a:pt x="7401680" y="3409151"/>
                  <a:pt x="7401680" y="3366889"/>
                </a:cubicBezTo>
                <a:cubicBezTo>
                  <a:pt x="7401680" y="3352801"/>
                  <a:pt x="7415769" y="3324627"/>
                  <a:pt x="7401680" y="3310540"/>
                </a:cubicBezTo>
                <a:cubicBezTo>
                  <a:pt x="7401680" y="3282365"/>
                  <a:pt x="7415769" y="3268278"/>
                  <a:pt x="7415769" y="3240102"/>
                </a:cubicBezTo>
                <a:cubicBezTo>
                  <a:pt x="7415769" y="3226015"/>
                  <a:pt x="7429857" y="3211927"/>
                  <a:pt x="7429857" y="3211927"/>
                </a:cubicBezTo>
                <a:cubicBezTo>
                  <a:pt x="7443944" y="3183753"/>
                  <a:pt x="7443944" y="3183753"/>
                  <a:pt x="7443944" y="3226015"/>
                </a:cubicBezTo>
                <a:cubicBezTo>
                  <a:pt x="7443944" y="3254190"/>
                  <a:pt x="7443944" y="3268278"/>
                  <a:pt x="7443944" y="3282365"/>
                </a:cubicBezTo>
                <a:cubicBezTo>
                  <a:pt x="7443944" y="3296452"/>
                  <a:pt x="7443944" y="3310540"/>
                  <a:pt x="7443944" y="3324627"/>
                </a:cubicBezTo>
                <a:lnTo>
                  <a:pt x="7443944" y="3352801"/>
                </a:lnTo>
                <a:cubicBezTo>
                  <a:pt x="7458033" y="3352801"/>
                  <a:pt x="7458033" y="3352801"/>
                  <a:pt x="7458033" y="3352801"/>
                </a:cubicBezTo>
                <a:cubicBezTo>
                  <a:pt x="7472122" y="3324627"/>
                  <a:pt x="7472122" y="3324627"/>
                  <a:pt x="7472122" y="3338714"/>
                </a:cubicBezTo>
                <a:cubicBezTo>
                  <a:pt x="7486210" y="3338714"/>
                  <a:pt x="7500297" y="3324627"/>
                  <a:pt x="7500297" y="3282365"/>
                </a:cubicBezTo>
                <a:cubicBezTo>
                  <a:pt x="7500297" y="3268278"/>
                  <a:pt x="7500297" y="3268278"/>
                  <a:pt x="7514386" y="3254190"/>
                </a:cubicBezTo>
                <a:cubicBezTo>
                  <a:pt x="7514386" y="3268278"/>
                  <a:pt x="7514386" y="3268278"/>
                  <a:pt x="7514386" y="3268278"/>
                </a:cubicBezTo>
                <a:cubicBezTo>
                  <a:pt x="7514386" y="3268278"/>
                  <a:pt x="7514386" y="3282365"/>
                  <a:pt x="7514386" y="3282365"/>
                </a:cubicBezTo>
                <a:cubicBezTo>
                  <a:pt x="7528474" y="3296452"/>
                  <a:pt x="7542563" y="3296452"/>
                  <a:pt x="7542563" y="3296452"/>
                </a:cubicBezTo>
                <a:cubicBezTo>
                  <a:pt x="7556650" y="3310540"/>
                  <a:pt x="7570739" y="3338714"/>
                  <a:pt x="7570739" y="3395063"/>
                </a:cubicBezTo>
                <a:cubicBezTo>
                  <a:pt x="7570739" y="3409151"/>
                  <a:pt x="7584827" y="3409151"/>
                  <a:pt x="7584827" y="3395063"/>
                </a:cubicBezTo>
                <a:cubicBezTo>
                  <a:pt x="7584827" y="3380976"/>
                  <a:pt x="7598916" y="3395063"/>
                  <a:pt x="7598916" y="3409151"/>
                </a:cubicBezTo>
                <a:cubicBezTo>
                  <a:pt x="7598916" y="3437327"/>
                  <a:pt x="7598916" y="3465501"/>
                  <a:pt x="7598916" y="3465501"/>
                </a:cubicBezTo>
                <a:cubicBezTo>
                  <a:pt x="7613003" y="3465501"/>
                  <a:pt x="7613003" y="3479588"/>
                  <a:pt x="7613003" y="3493676"/>
                </a:cubicBezTo>
                <a:cubicBezTo>
                  <a:pt x="7613003" y="3521850"/>
                  <a:pt x="7613003" y="3564112"/>
                  <a:pt x="7613003" y="3578200"/>
                </a:cubicBezTo>
                <a:cubicBezTo>
                  <a:pt x="7613003" y="3606375"/>
                  <a:pt x="7613003" y="3662725"/>
                  <a:pt x="7613003" y="3690899"/>
                </a:cubicBezTo>
                <a:cubicBezTo>
                  <a:pt x="7613003" y="3719074"/>
                  <a:pt x="7613003" y="3747248"/>
                  <a:pt x="7613003" y="3775423"/>
                </a:cubicBezTo>
                <a:cubicBezTo>
                  <a:pt x="7613003" y="3789512"/>
                  <a:pt x="7613003" y="3803599"/>
                  <a:pt x="7613003" y="3817686"/>
                </a:cubicBezTo>
                <a:cubicBezTo>
                  <a:pt x="7598916" y="3831773"/>
                  <a:pt x="7598916" y="3845861"/>
                  <a:pt x="7598916" y="3859948"/>
                </a:cubicBezTo>
                <a:cubicBezTo>
                  <a:pt x="7598916" y="3874035"/>
                  <a:pt x="7598916" y="3888123"/>
                  <a:pt x="7598916" y="3902210"/>
                </a:cubicBezTo>
                <a:cubicBezTo>
                  <a:pt x="7598916" y="3902210"/>
                  <a:pt x="7598916" y="3902210"/>
                  <a:pt x="7598916" y="3916297"/>
                </a:cubicBezTo>
                <a:cubicBezTo>
                  <a:pt x="7584827" y="3930385"/>
                  <a:pt x="7584827" y="3930385"/>
                  <a:pt x="7598916" y="3944472"/>
                </a:cubicBezTo>
                <a:cubicBezTo>
                  <a:pt x="7598916" y="3944472"/>
                  <a:pt x="7584827" y="3972648"/>
                  <a:pt x="7584827" y="4000822"/>
                </a:cubicBezTo>
                <a:cubicBezTo>
                  <a:pt x="7584827" y="4043084"/>
                  <a:pt x="7556650" y="4099433"/>
                  <a:pt x="7542563" y="4155784"/>
                </a:cubicBezTo>
                <a:cubicBezTo>
                  <a:pt x="7542563" y="4183958"/>
                  <a:pt x="7542563" y="4212133"/>
                  <a:pt x="7514386" y="4254395"/>
                </a:cubicBezTo>
                <a:cubicBezTo>
                  <a:pt x="7528474" y="4254395"/>
                  <a:pt x="7514386" y="4296657"/>
                  <a:pt x="7514386" y="4310744"/>
                </a:cubicBezTo>
                <a:cubicBezTo>
                  <a:pt x="7514386" y="4310744"/>
                  <a:pt x="7500297" y="4310744"/>
                  <a:pt x="7500297" y="4324833"/>
                </a:cubicBezTo>
                <a:cubicBezTo>
                  <a:pt x="7514386" y="4310744"/>
                  <a:pt x="7528474" y="4296657"/>
                  <a:pt x="7514386" y="4338920"/>
                </a:cubicBezTo>
                <a:cubicBezTo>
                  <a:pt x="7500297" y="4367095"/>
                  <a:pt x="7486210" y="4395269"/>
                  <a:pt x="7486210" y="4423444"/>
                </a:cubicBezTo>
                <a:cubicBezTo>
                  <a:pt x="7472122" y="4465706"/>
                  <a:pt x="7458033" y="4479793"/>
                  <a:pt x="7443944" y="4507969"/>
                </a:cubicBezTo>
                <a:cubicBezTo>
                  <a:pt x="7458033" y="4522056"/>
                  <a:pt x="7443944" y="4550231"/>
                  <a:pt x="7429857" y="4564318"/>
                </a:cubicBezTo>
                <a:cubicBezTo>
                  <a:pt x="7415769" y="4592493"/>
                  <a:pt x="7401680" y="4634755"/>
                  <a:pt x="7373504" y="4677018"/>
                </a:cubicBezTo>
                <a:cubicBezTo>
                  <a:pt x="7373504" y="4705192"/>
                  <a:pt x="7345327" y="4747454"/>
                  <a:pt x="7359416" y="4733367"/>
                </a:cubicBezTo>
                <a:cubicBezTo>
                  <a:pt x="7359416" y="4733367"/>
                  <a:pt x="7345327" y="4747454"/>
                  <a:pt x="7345327" y="4761542"/>
                </a:cubicBezTo>
                <a:cubicBezTo>
                  <a:pt x="7331240" y="4789716"/>
                  <a:pt x="7303063" y="4817891"/>
                  <a:pt x="7303063" y="4846067"/>
                </a:cubicBezTo>
                <a:cubicBezTo>
                  <a:pt x="7288974" y="4860154"/>
                  <a:pt x="7303063" y="4846067"/>
                  <a:pt x="7303063" y="4846067"/>
                </a:cubicBezTo>
                <a:cubicBezTo>
                  <a:pt x="7317151" y="4831978"/>
                  <a:pt x="7331240" y="4817891"/>
                  <a:pt x="7345327" y="4803804"/>
                </a:cubicBezTo>
                <a:cubicBezTo>
                  <a:pt x="7359416" y="4789716"/>
                  <a:pt x="7373504" y="4789716"/>
                  <a:pt x="7373504" y="4789716"/>
                </a:cubicBezTo>
                <a:cubicBezTo>
                  <a:pt x="7359416" y="4803804"/>
                  <a:pt x="7359416" y="4817891"/>
                  <a:pt x="7345327" y="4831978"/>
                </a:cubicBezTo>
                <a:cubicBezTo>
                  <a:pt x="7331240" y="4846067"/>
                  <a:pt x="7331240" y="4860154"/>
                  <a:pt x="7317151" y="4860154"/>
                </a:cubicBezTo>
                <a:cubicBezTo>
                  <a:pt x="7317151" y="4874241"/>
                  <a:pt x="7303063" y="4888329"/>
                  <a:pt x="7288974" y="4902416"/>
                </a:cubicBezTo>
                <a:cubicBezTo>
                  <a:pt x="7260798" y="4944678"/>
                  <a:pt x="7246710" y="4958765"/>
                  <a:pt x="7246710" y="4972852"/>
                </a:cubicBezTo>
                <a:cubicBezTo>
                  <a:pt x="7232621" y="4986940"/>
                  <a:pt x="7232621" y="5001027"/>
                  <a:pt x="7218534" y="5015114"/>
                </a:cubicBezTo>
                <a:cubicBezTo>
                  <a:pt x="7204445" y="5029203"/>
                  <a:pt x="7204445" y="5043290"/>
                  <a:pt x="7190357" y="5071465"/>
                </a:cubicBezTo>
                <a:cubicBezTo>
                  <a:pt x="7176268" y="5071465"/>
                  <a:pt x="7162181" y="5085552"/>
                  <a:pt x="7162181" y="5099639"/>
                </a:cubicBezTo>
                <a:cubicBezTo>
                  <a:pt x="7162181" y="5099639"/>
                  <a:pt x="7148092" y="5113727"/>
                  <a:pt x="7134004" y="5127814"/>
                </a:cubicBezTo>
                <a:cubicBezTo>
                  <a:pt x="7134004" y="5141901"/>
                  <a:pt x="7105828" y="5170076"/>
                  <a:pt x="7119917" y="5170076"/>
                </a:cubicBezTo>
                <a:cubicBezTo>
                  <a:pt x="7119917" y="5170076"/>
                  <a:pt x="7119917" y="5184163"/>
                  <a:pt x="7105828" y="5184163"/>
                </a:cubicBezTo>
                <a:cubicBezTo>
                  <a:pt x="7091739" y="5212339"/>
                  <a:pt x="7091739" y="5212339"/>
                  <a:pt x="7119917" y="5198252"/>
                </a:cubicBezTo>
                <a:cubicBezTo>
                  <a:pt x="7119917" y="5184163"/>
                  <a:pt x="7119917" y="5184163"/>
                  <a:pt x="7134004" y="5184163"/>
                </a:cubicBezTo>
                <a:cubicBezTo>
                  <a:pt x="7134004" y="5184163"/>
                  <a:pt x="7134004" y="5198252"/>
                  <a:pt x="7162181" y="5170076"/>
                </a:cubicBezTo>
                <a:cubicBezTo>
                  <a:pt x="7162181" y="5184163"/>
                  <a:pt x="7134004" y="5198252"/>
                  <a:pt x="7134004" y="5198252"/>
                </a:cubicBezTo>
                <a:cubicBezTo>
                  <a:pt x="7148092" y="5212339"/>
                  <a:pt x="7148092" y="5212339"/>
                  <a:pt x="7148092" y="5212339"/>
                </a:cubicBezTo>
                <a:cubicBezTo>
                  <a:pt x="7162181" y="5212339"/>
                  <a:pt x="7176268" y="5198252"/>
                  <a:pt x="7190357" y="5184163"/>
                </a:cubicBezTo>
                <a:cubicBezTo>
                  <a:pt x="7232621" y="5155989"/>
                  <a:pt x="7260798" y="5141901"/>
                  <a:pt x="7303063" y="5099639"/>
                </a:cubicBezTo>
                <a:cubicBezTo>
                  <a:pt x="7303063" y="5085552"/>
                  <a:pt x="7317151" y="5085552"/>
                  <a:pt x="7317151" y="5085552"/>
                </a:cubicBezTo>
                <a:cubicBezTo>
                  <a:pt x="7317151" y="5085552"/>
                  <a:pt x="7303063" y="5099639"/>
                  <a:pt x="7303063" y="5113727"/>
                </a:cubicBezTo>
                <a:cubicBezTo>
                  <a:pt x="7274887" y="5141901"/>
                  <a:pt x="7246710" y="5170076"/>
                  <a:pt x="7218534" y="5198252"/>
                </a:cubicBezTo>
                <a:cubicBezTo>
                  <a:pt x="7218534" y="5212339"/>
                  <a:pt x="7218534" y="5212339"/>
                  <a:pt x="7218534" y="5212339"/>
                </a:cubicBezTo>
                <a:cubicBezTo>
                  <a:pt x="7204445" y="5212339"/>
                  <a:pt x="7204445" y="5226426"/>
                  <a:pt x="7204445" y="5226426"/>
                </a:cubicBezTo>
                <a:cubicBezTo>
                  <a:pt x="7190357" y="5240514"/>
                  <a:pt x="7190357" y="5240514"/>
                  <a:pt x="7190357" y="5240514"/>
                </a:cubicBezTo>
                <a:cubicBezTo>
                  <a:pt x="7190357" y="5240514"/>
                  <a:pt x="7190357" y="5240514"/>
                  <a:pt x="7176268" y="5254601"/>
                </a:cubicBezTo>
                <a:cubicBezTo>
                  <a:pt x="7162181" y="5268688"/>
                  <a:pt x="7148092" y="5282776"/>
                  <a:pt x="7134004" y="5296863"/>
                </a:cubicBezTo>
                <a:cubicBezTo>
                  <a:pt x="7119917" y="5325037"/>
                  <a:pt x="7091739" y="5353213"/>
                  <a:pt x="7077651" y="5367301"/>
                </a:cubicBezTo>
                <a:cubicBezTo>
                  <a:pt x="7021298" y="5409563"/>
                  <a:pt x="6979034" y="5451824"/>
                  <a:pt x="6936769" y="5494086"/>
                </a:cubicBezTo>
                <a:cubicBezTo>
                  <a:pt x="6922681" y="5494086"/>
                  <a:pt x="6922681" y="5508174"/>
                  <a:pt x="6908593" y="5508174"/>
                </a:cubicBezTo>
                <a:cubicBezTo>
                  <a:pt x="6880416" y="5536349"/>
                  <a:pt x="6880416" y="5550437"/>
                  <a:pt x="6894505" y="5536349"/>
                </a:cubicBezTo>
                <a:cubicBezTo>
                  <a:pt x="6908593" y="5536349"/>
                  <a:pt x="6922681" y="5522261"/>
                  <a:pt x="6908593" y="5536349"/>
                </a:cubicBezTo>
                <a:cubicBezTo>
                  <a:pt x="6908593" y="5550437"/>
                  <a:pt x="6908593" y="5536349"/>
                  <a:pt x="6922681" y="5536349"/>
                </a:cubicBezTo>
                <a:cubicBezTo>
                  <a:pt x="6922681" y="5536349"/>
                  <a:pt x="6936769" y="5522261"/>
                  <a:pt x="6950858" y="5522261"/>
                </a:cubicBezTo>
                <a:cubicBezTo>
                  <a:pt x="6964945" y="5508174"/>
                  <a:pt x="6979034" y="5508174"/>
                  <a:pt x="6964945" y="5522261"/>
                </a:cubicBezTo>
                <a:cubicBezTo>
                  <a:pt x="6950858" y="5522261"/>
                  <a:pt x="6936769" y="5536349"/>
                  <a:pt x="6936769" y="5550437"/>
                </a:cubicBezTo>
                <a:cubicBezTo>
                  <a:pt x="6908593" y="5564524"/>
                  <a:pt x="6894505" y="5578611"/>
                  <a:pt x="6894505" y="5592699"/>
                </a:cubicBezTo>
                <a:cubicBezTo>
                  <a:pt x="6880416" y="5592699"/>
                  <a:pt x="6866328" y="5606786"/>
                  <a:pt x="6852240" y="5620873"/>
                </a:cubicBezTo>
                <a:cubicBezTo>
                  <a:pt x="6824063" y="5649048"/>
                  <a:pt x="6781799" y="5677223"/>
                  <a:pt x="6753622" y="5691310"/>
                </a:cubicBezTo>
                <a:cubicBezTo>
                  <a:pt x="6753622" y="5705398"/>
                  <a:pt x="6739534" y="5719486"/>
                  <a:pt x="6725446" y="5719486"/>
                </a:cubicBezTo>
                <a:cubicBezTo>
                  <a:pt x="6697269" y="5747660"/>
                  <a:pt x="6669093" y="5761748"/>
                  <a:pt x="6626829" y="5775835"/>
                </a:cubicBezTo>
                <a:cubicBezTo>
                  <a:pt x="6626829" y="5789922"/>
                  <a:pt x="6626829" y="5789922"/>
                  <a:pt x="6626829" y="5789922"/>
                </a:cubicBezTo>
                <a:cubicBezTo>
                  <a:pt x="6612740" y="5789922"/>
                  <a:pt x="6612740" y="5789922"/>
                  <a:pt x="6612740" y="5789922"/>
                </a:cubicBezTo>
                <a:cubicBezTo>
                  <a:pt x="6612740" y="5789922"/>
                  <a:pt x="6612740" y="5804009"/>
                  <a:pt x="6598651" y="5804009"/>
                </a:cubicBezTo>
                <a:cubicBezTo>
                  <a:pt x="6598651" y="5804009"/>
                  <a:pt x="6598651" y="5804009"/>
                  <a:pt x="6584563" y="5818097"/>
                </a:cubicBezTo>
                <a:cubicBezTo>
                  <a:pt x="6584563" y="5818097"/>
                  <a:pt x="6570476" y="5818097"/>
                  <a:pt x="6570476" y="5818097"/>
                </a:cubicBezTo>
                <a:cubicBezTo>
                  <a:pt x="6570476" y="5832184"/>
                  <a:pt x="6570476" y="5832184"/>
                  <a:pt x="6570476" y="5832184"/>
                </a:cubicBezTo>
                <a:cubicBezTo>
                  <a:pt x="6556387" y="5832184"/>
                  <a:pt x="6542298" y="5846271"/>
                  <a:pt x="6528211" y="5846271"/>
                </a:cubicBezTo>
                <a:cubicBezTo>
                  <a:pt x="6528211" y="5860359"/>
                  <a:pt x="6514123" y="5860359"/>
                  <a:pt x="6500034" y="5860359"/>
                </a:cubicBezTo>
                <a:cubicBezTo>
                  <a:pt x="6500034" y="5874446"/>
                  <a:pt x="6485946" y="5874446"/>
                  <a:pt x="6485946" y="5874446"/>
                </a:cubicBezTo>
                <a:cubicBezTo>
                  <a:pt x="6457770" y="5888535"/>
                  <a:pt x="6443681" y="5888535"/>
                  <a:pt x="6429593" y="5902622"/>
                </a:cubicBezTo>
                <a:cubicBezTo>
                  <a:pt x="6429593" y="5902622"/>
                  <a:pt x="6415505" y="5916709"/>
                  <a:pt x="6415505" y="5916709"/>
                </a:cubicBezTo>
                <a:cubicBezTo>
                  <a:pt x="6401417" y="5916709"/>
                  <a:pt x="6401417" y="5916709"/>
                  <a:pt x="6387328" y="5930796"/>
                </a:cubicBezTo>
                <a:cubicBezTo>
                  <a:pt x="6387328" y="5930796"/>
                  <a:pt x="6387328" y="5930796"/>
                  <a:pt x="6373240" y="5930796"/>
                </a:cubicBezTo>
                <a:cubicBezTo>
                  <a:pt x="6373240" y="5930796"/>
                  <a:pt x="6373240" y="5944884"/>
                  <a:pt x="6359152" y="5944884"/>
                </a:cubicBezTo>
                <a:cubicBezTo>
                  <a:pt x="6345064" y="5944884"/>
                  <a:pt x="6345064" y="5944884"/>
                  <a:pt x="6345064" y="5944884"/>
                </a:cubicBezTo>
                <a:cubicBezTo>
                  <a:pt x="6345064" y="5958971"/>
                  <a:pt x="6345064" y="5958971"/>
                  <a:pt x="6330975" y="5958971"/>
                </a:cubicBezTo>
                <a:cubicBezTo>
                  <a:pt x="6330975" y="5958971"/>
                  <a:pt x="6330975" y="5958971"/>
                  <a:pt x="6316888" y="5973058"/>
                </a:cubicBezTo>
                <a:cubicBezTo>
                  <a:pt x="6316888" y="5973058"/>
                  <a:pt x="6302799" y="5973058"/>
                  <a:pt x="6288711" y="5973058"/>
                </a:cubicBezTo>
                <a:cubicBezTo>
                  <a:pt x="6288711" y="5987146"/>
                  <a:pt x="6274622" y="5987146"/>
                  <a:pt x="6260535" y="5987146"/>
                </a:cubicBezTo>
                <a:cubicBezTo>
                  <a:pt x="6260535" y="6001233"/>
                  <a:pt x="6246446" y="6001233"/>
                  <a:pt x="6232358" y="6001233"/>
                </a:cubicBezTo>
                <a:cubicBezTo>
                  <a:pt x="6232358" y="6001233"/>
                  <a:pt x="6232358" y="6001233"/>
                  <a:pt x="6218269" y="6015320"/>
                </a:cubicBezTo>
                <a:cubicBezTo>
                  <a:pt x="6204182" y="6015320"/>
                  <a:pt x="6204182" y="6015320"/>
                  <a:pt x="6204182" y="6015320"/>
                </a:cubicBezTo>
                <a:cubicBezTo>
                  <a:pt x="6190093" y="6015320"/>
                  <a:pt x="6190093" y="6029408"/>
                  <a:pt x="6176005" y="6029408"/>
                </a:cubicBezTo>
                <a:cubicBezTo>
                  <a:pt x="6161916" y="6029408"/>
                  <a:pt x="6161916" y="6029408"/>
                  <a:pt x="6147829" y="6043495"/>
                </a:cubicBezTo>
                <a:cubicBezTo>
                  <a:pt x="6119652" y="6057582"/>
                  <a:pt x="6105565" y="6057582"/>
                  <a:pt x="6105565" y="6071671"/>
                </a:cubicBezTo>
                <a:cubicBezTo>
                  <a:pt x="6105565" y="6071671"/>
                  <a:pt x="6119652" y="6071671"/>
                  <a:pt x="6077388" y="6085758"/>
                </a:cubicBezTo>
                <a:cubicBezTo>
                  <a:pt x="6063299" y="6099845"/>
                  <a:pt x="6063299" y="6099845"/>
                  <a:pt x="6035123" y="6113933"/>
                </a:cubicBezTo>
                <a:cubicBezTo>
                  <a:pt x="6021035" y="6128020"/>
                  <a:pt x="6021035" y="6128020"/>
                  <a:pt x="6006946" y="6128020"/>
                </a:cubicBezTo>
                <a:cubicBezTo>
                  <a:pt x="6006946" y="6128020"/>
                  <a:pt x="6006946" y="6128020"/>
                  <a:pt x="5992859" y="6128020"/>
                </a:cubicBezTo>
                <a:cubicBezTo>
                  <a:pt x="5992859" y="6142107"/>
                  <a:pt x="5978770" y="6142107"/>
                  <a:pt x="5964682" y="6142107"/>
                </a:cubicBezTo>
                <a:cubicBezTo>
                  <a:pt x="5964682" y="6142107"/>
                  <a:pt x="5964682" y="6142107"/>
                  <a:pt x="5950593" y="6156194"/>
                </a:cubicBezTo>
                <a:cubicBezTo>
                  <a:pt x="5950593" y="6156194"/>
                  <a:pt x="5950593" y="6156194"/>
                  <a:pt x="5922417" y="6156194"/>
                </a:cubicBezTo>
                <a:cubicBezTo>
                  <a:pt x="5908329" y="6170282"/>
                  <a:pt x="5894240" y="6170282"/>
                  <a:pt x="5880153" y="6184369"/>
                </a:cubicBezTo>
                <a:cubicBezTo>
                  <a:pt x="5781535" y="6212544"/>
                  <a:pt x="5697005" y="6240720"/>
                  <a:pt x="5612477" y="6254807"/>
                </a:cubicBezTo>
                <a:cubicBezTo>
                  <a:pt x="5570212" y="6268894"/>
                  <a:pt x="5513859" y="6282981"/>
                  <a:pt x="5471594" y="6282981"/>
                </a:cubicBezTo>
                <a:cubicBezTo>
                  <a:pt x="5429329" y="6282981"/>
                  <a:pt x="5372976" y="6297069"/>
                  <a:pt x="5344800" y="6311156"/>
                </a:cubicBezTo>
                <a:cubicBezTo>
                  <a:pt x="5415242" y="6297069"/>
                  <a:pt x="5499771" y="6282981"/>
                  <a:pt x="5556124" y="6297069"/>
                </a:cubicBezTo>
                <a:lnTo>
                  <a:pt x="5564929" y="6297069"/>
                </a:lnTo>
                <a:lnTo>
                  <a:pt x="5570212" y="6297069"/>
                </a:lnTo>
                <a:cubicBezTo>
                  <a:pt x="5570212" y="6297069"/>
                  <a:pt x="5584299" y="6297069"/>
                  <a:pt x="5584299" y="6297069"/>
                </a:cubicBezTo>
                <a:cubicBezTo>
                  <a:pt x="5584299" y="6311156"/>
                  <a:pt x="5584299" y="6311156"/>
                  <a:pt x="5570212" y="6311156"/>
                </a:cubicBezTo>
                <a:cubicBezTo>
                  <a:pt x="5527947" y="6311156"/>
                  <a:pt x="5499771" y="6325243"/>
                  <a:pt x="5485682" y="6325243"/>
                </a:cubicBezTo>
                <a:cubicBezTo>
                  <a:pt x="5443418" y="6339331"/>
                  <a:pt x="5415242" y="6339331"/>
                  <a:pt x="5372976" y="6339331"/>
                </a:cubicBezTo>
                <a:cubicBezTo>
                  <a:pt x="5358889" y="6339331"/>
                  <a:pt x="5344800" y="6339331"/>
                  <a:pt x="5330712" y="6353418"/>
                </a:cubicBezTo>
                <a:cubicBezTo>
                  <a:pt x="5302536" y="6353418"/>
                  <a:pt x="5288447" y="6353418"/>
                  <a:pt x="5260270" y="6353418"/>
                </a:cubicBezTo>
                <a:cubicBezTo>
                  <a:pt x="5246183" y="6367505"/>
                  <a:pt x="5232094" y="6367505"/>
                  <a:pt x="5203919" y="6367505"/>
                </a:cubicBezTo>
                <a:lnTo>
                  <a:pt x="5175742" y="6367505"/>
                </a:lnTo>
                <a:cubicBezTo>
                  <a:pt x="5203919" y="6353418"/>
                  <a:pt x="5203919" y="6353418"/>
                  <a:pt x="5175742" y="6353418"/>
                </a:cubicBezTo>
                <a:cubicBezTo>
                  <a:pt x="5161654" y="6353418"/>
                  <a:pt x="5161654" y="6353418"/>
                  <a:pt x="5161654" y="6353418"/>
                </a:cubicBezTo>
                <a:cubicBezTo>
                  <a:pt x="5147566" y="6353418"/>
                  <a:pt x="5133477" y="6353418"/>
                  <a:pt x="5119389" y="6353418"/>
                </a:cubicBezTo>
                <a:cubicBezTo>
                  <a:pt x="5119389" y="6353418"/>
                  <a:pt x="5105300" y="6353418"/>
                  <a:pt x="5091213" y="6353418"/>
                </a:cubicBezTo>
                <a:cubicBezTo>
                  <a:pt x="5063036" y="6353418"/>
                  <a:pt x="5034860" y="6367505"/>
                  <a:pt x="5020771" y="6367505"/>
                </a:cubicBezTo>
                <a:lnTo>
                  <a:pt x="4992595" y="6367505"/>
                </a:lnTo>
                <a:lnTo>
                  <a:pt x="4964418" y="6367505"/>
                </a:lnTo>
                <a:cubicBezTo>
                  <a:pt x="4946808" y="6367505"/>
                  <a:pt x="4929198" y="6367505"/>
                  <a:pt x="4908065" y="6367505"/>
                </a:cubicBezTo>
                <a:cubicBezTo>
                  <a:pt x="4922154" y="6367505"/>
                  <a:pt x="4908065" y="6353418"/>
                  <a:pt x="4879889" y="6353418"/>
                </a:cubicBezTo>
                <a:cubicBezTo>
                  <a:pt x="4879889" y="6353418"/>
                  <a:pt x="4865801" y="6353418"/>
                  <a:pt x="4851712" y="6353418"/>
                </a:cubicBezTo>
                <a:cubicBezTo>
                  <a:pt x="4823537" y="6353418"/>
                  <a:pt x="4781272" y="6353418"/>
                  <a:pt x="4739006" y="6367505"/>
                </a:cubicBezTo>
                <a:cubicBezTo>
                  <a:pt x="4696742" y="6367505"/>
                  <a:pt x="4654478" y="6367505"/>
                  <a:pt x="4612213" y="6353418"/>
                </a:cubicBezTo>
                <a:cubicBezTo>
                  <a:pt x="4598125" y="6353418"/>
                  <a:pt x="4584036" y="6353418"/>
                  <a:pt x="4569949" y="6353418"/>
                </a:cubicBezTo>
                <a:cubicBezTo>
                  <a:pt x="4555860" y="6353418"/>
                  <a:pt x="4555860" y="6353418"/>
                  <a:pt x="4555860" y="6353418"/>
                </a:cubicBezTo>
                <a:cubicBezTo>
                  <a:pt x="4541772" y="6353418"/>
                  <a:pt x="4527683" y="6353418"/>
                  <a:pt x="4499507" y="6339331"/>
                </a:cubicBezTo>
                <a:cubicBezTo>
                  <a:pt x="4429066" y="6339331"/>
                  <a:pt x="4344537" y="6325243"/>
                  <a:pt x="4274096" y="6311156"/>
                </a:cubicBezTo>
                <a:cubicBezTo>
                  <a:pt x="4260008" y="6311156"/>
                  <a:pt x="4260008" y="6311156"/>
                  <a:pt x="4245920" y="6297069"/>
                </a:cubicBezTo>
                <a:cubicBezTo>
                  <a:pt x="4231831" y="6297069"/>
                  <a:pt x="4203655" y="6297069"/>
                  <a:pt x="4189567" y="6282981"/>
                </a:cubicBezTo>
                <a:cubicBezTo>
                  <a:pt x="4203655" y="6297069"/>
                  <a:pt x="4189567" y="6297069"/>
                  <a:pt x="4189567" y="6297069"/>
                </a:cubicBezTo>
                <a:cubicBezTo>
                  <a:pt x="4175478" y="6282981"/>
                  <a:pt x="4189567" y="6297069"/>
                  <a:pt x="4175478" y="6297069"/>
                </a:cubicBezTo>
                <a:cubicBezTo>
                  <a:pt x="4147302" y="6282981"/>
                  <a:pt x="4119125" y="6282981"/>
                  <a:pt x="4090949" y="6268894"/>
                </a:cubicBezTo>
                <a:cubicBezTo>
                  <a:pt x="4090949" y="6282981"/>
                  <a:pt x="4090949" y="6282981"/>
                  <a:pt x="4034596" y="6268894"/>
                </a:cubicBezTo>
                <a:lnTo>
                  <a:pt x="3997912" y="6253716"/>
                </a:lnTo>
                <a:lnTo>
                  <a:pt x="3993227" y="6254807"/>
                </a:lnTo>
                <a:cubicBezTo>
                  <a:pt x="3950962" y="6268894"/>
                  <a:pt x="3894609" y="6282981"/>
                  <a:pt x="3852344" y="6282981"/>
                </a:cubicBezTo>
                <a:cubicBezTo>
                  <a:pt x="3810079" y="6282981"/>
                  <a:pt x="3753726" y="6297069"/>
                  <a:pt x="3725550" y="6311156"/>
                </a:cubicBezTo>
                <a:cubicBezTo>
                  <a:pt x="3795992" y="6297069"/>
                  <a:pt x="3880521" y="6282981"/>
                  <a:pt x="3936874" y="6297069"/>
                </a:cubicBezTo>
                <a:lnTo>
                  <a:pt x="3945679" y="6297069"/>
                </a:lnTo>
                <a:lnTo>
                  <a:pt x="3950962" y="6297069"/>
                </a:lnTo>
                <a:cubicBezTo>
                  <a:pt x="3950962" y="6297069"/>
                  <a:pt x="3965049" y="6297069"/>
                  <a:pt x="3965049" y="6297069"/>
                </a:cubicBezTo>
                <a:cubicBezTo>
                  <a:pt x="3965049" y="6311156"/>
                  <a:pt x="3965049" y="6311156"/>
                  <a:pt x="3950962" y="6311156"/>
                </a:cubicBezTo>
                <a:cubicBezTo>
                  <a:pt x="3908697" y="6311156"/>
                  <a:pt x="3880521" y="6325243"/>
                  <a:pt x="3866432" y="6325243"/>
                </a:cubicBezTo>
                <a:cubicBezTo>
                  <a:pt x="3824168" y="6339331"/>
                  <a:pt x="3795992" y="6339331"/>
                  <a:pt x="3753726" y="6339331"/>
                </a:cubicBezTo>
                <a:cubicBezTo>
                  <a:pt x="3739639" y="6339331"/>
                  <a:pt x="3725550" y="6339331"/>
                  <a:pt x="3711462" y="6353418"/>
                </a:cubicBezTo>
                <a:cubicBezTo>
                  <a:pt x="3683286" y="6353418"/>
                  <a:pt x="3669198" y="6353418"/>
                  <a:pt x="3641020" y="6353418"/>
                </a:cubicBezTo>
                <a:cubicBezTo>
                  <a:pt x="3626933" y="6367505"/>
                  <a:pt x="3612844" y="6367505"/>
                  <a:pt x="3584669" y="6367505"/>
                </a:cubicBezTo>
                <a:lnTo>
                  <a:pt x="3556492" y="6367505"/>
                </a:lnTo>
                <a:cubicBezTo>
                  <a:pt x="3584669" y="6353418"/>
                  <a:pt x="3584669" y="6353418"/>
                  <a:pt x="3556492" y="6353418"/>
                </a:cubicBezTo>
                <a:cubicBezTo>
                  <a:pt x="3542404" y="6353418"/>
                  <a:pt x="3542404" y="6353418"/>
                  <a:pt x="3542404" y="6353418"/>
                </a:cubicBezTo>
                <a:cubicBezTo>
                  <a:pt x="3528316" y="6353418"/>
                  <a:pt x="3514227" y="6353418"/>
                  <a:pt x="3500139" y="6353418"/>
                </a:cubicBezTo>
                <a:cubicBezTo>
                  <a:pt x="3500139" y="6353418"/>
                  <a:pt x="3486050" y="6353418"/>
                  <a:pt x="3471963" y="6353418"/>
                </a:cubicBezTo>
                <a:cubicBezTo>
                  <a:pt x="3443786" y="6353418"/>
                  <a:pt x="3415610" y="6367505"/>
                  <a:pt x="3401521" y="6367505"/>
                </a:cubicBezTo>
                <a:lnTo>
                  <a:pt x="3373345" y="6367505"/>
                </a:lnTo>
                <a:lnTo>
                  <a:pt x="3345168" y="6367505"/>
                </a:lnTo>
                <a:cubicBezTo>
                  <a:pt x="3327558" y="6367505"/>
                  <a:pt x="3309948" y="6367505"/>
                  <a:pt x="3288816" y="6367505"/>
                </a:cubicBezTo>
                <a:cubicBezTo>
                  <a:pt x="3302904" y="6367505"/>
                  <a:pt x="3288816" y="6353418"/>
                  <a:pt x="3260639" y="6353418"/>
                </a:cubicBezTo>
                <a:cubicBezTo>
                  <a:pt x="3260639" y="6353418"/>
                  <a:pt x="3246551" y="6353418"/>
                  <a:pt x="3232462" y="6353418"/>
                </a:cubicBezTo>
                <a:cubicBezTo>
                  <a:pt x="3204287" y="6353418"/>
                  <a:pt x="3162022" y="6353418"/>
                  <a:pt x="3119756" y="6367505"/>
                </a:cubicBezTo>
                <a:cubicBezTo>
                  <a:pt x="3077492" y="6367505"/>
                  <a:pt x="3035228" y="6367505"/>
                  <a:pt x="2992963" y="6353418"/>
                </a:cubicBezTo>
                <a:cubicBezTo>
                  <a:pt x="2978875" y="6353418"/>
                  <a:pt x="2964786" y="6353418"/>
                  <a:pt x="2950699" y="6353418"/>
                </a:cubicBezTo>
                <a:cubicBezTo>
                  <a:pt x="2936611" y="6353418"/>
                  <a:pt x="2936611" y="6353418"/>
                  <a:pt x="2936611" y="6353418"/>
                </a:cubicBezTo>
                <a:cubicBezTo>
                  <a:pt x="2922522" y="6353418"/>
                  <a:pt x="2908433" y="6353418"/>
                  <a:pt x="2880257" y="6339331"/>
                </a:cubicBezTo>
                <a:cubicBezTo>
                  <a:pt x="2809816" y="6339331"/>
                  <a:pt x="2725287" y="6325243"/>
                  <a:pt x="2654846" y="6311156"/>
                </a:cubicBezTo>
                <a:cubicBezTo>
                  <a:pt x="2640758" y="6311156"/>
                  <a:pt x="2640758" y="6311156"/>
                  <a:pt x="2626670" y="6297069"/>
                </a:cubicBezTo>
                <a:cubicBezTo>
                  <a:pt x="2612581" y="6297069"/>
                  <a:pt x="2584406" y="6297069"/>
                  <a:pt x="2570317" y="6282981"/>
                </a:cubicBezTo>
                <a:cubicBezTo>
                  <a:pt x="2584406" y="6297069"/>
                  <a:pt x="2570317" y="6297069"/>
                  <a:pt x="2570317" y="6297069"/>
                </a:cubicBezTo>
                <a:cubicBezTo>
                  <a:pt x="2556228" y="6282981"/>
                  <a:pt x="2570317" y="6297069"/>
                  <a:pt x="2556228" y="6297069"/>
                </a:cubicBezTo>
                <a:cubicBezTo>
                  <a:pt x="2528052" y="6282981"/>
                  <a:pt x="2499875" y="6282981"/>
                  <a:pt x="2471699" y="6268894"/>
                </a:cubicBezTo>
                <a:cubicBezTo>
                  <a:pt x="2471699" y="6282981"/>
                  <a:pt x="2471699" y="6282981"/>
                  <a:pt x="2415347" y="6268894"/>
                </a:cubicBezTo>
                <a:cubicBezTo>
                  <a:pt x="2387169" y="6254807"/>
                  <a:pt x="2344905" y="6240720"/>
                  <a:pt x="2302641" y="6226631"/>
                </a:cubicBezTo>
                <a:cubicBezTo>
                  <a:pt x="2302641" y="6226631"/>
                  <a:pt x="2288552" y="6226631"/>
                  <a:pt x="2288552" y="6226631"/>
                </a:cubicBezTo>
                <a:cubicBezTo>
                  <a:pt x="2288552" y="6226631"/>
                  <a:pt x="2288552" y="6226631"/>
                  <a:pt x="2260376" y="6212544"/>
                </a:cubicBezTo>
                <a:cubicBezTo>
                  <a:pt x="2260376" y="6226631"/>
                  <a:pt x="2232199" y="6212544"/>
                  <a:pt x="2204023" y="6198456"/>
                </a:cubicBezTo>
                <a:cubicBezTo>
                  <a:pt x="2189935" y="6198456"/>
                  <a:pt x="2175846" y="6198456"/>
                  <a:pt x="2175846" y="6184369"/>
                </a:cubicBezTo>
                <a:cubicBezTo>
                  <a:pt x="2175846" y="6184369"/>
                  <a:pt x="2175846" y="6184369"/>
                  <a:pt x="2161758" y="6184369"/>
                </a:cubicBezTo>
                <a:cubicBezTo>
                  <a:pt x="2119493" y="6170282"/>
                  <a:pt x="2091317" y="6156194"/>
                  <a:pt x="2049053" y="6142107"/>
                </a:cubicBezTo>
                <a:cubicBezTo>
                  <a:pt x="2049053" y="6142107"/>
                  <a:pt x="2034965" y="6142107"/>
                  <a:pt x="2034965" y="6142107"/>
                </a:cubicBezTo>
                <a:cubicBezTo>
                  <a:pt x="2020876" y="6142107"/>
                  <a:pt x="1978611" y="6113933"/>
                  <a:pt x="1950434" y="6099845"/>
                </a:cubicBezTo>
                <a:cubicBezTo>
                  <a:pt x="1922259" y="6085758"/>
                  <a:pt x="1894083" y="6085758"/>
                  <a:pt x="1865906" y="6057582"/>
                </a:cubicBezTo>
                <a:cubicBezTo>
                  <a:pt x="1851817" y="6057582"/>
                  <a:pt x="1851817" y="6057582"/>
                  <a:pt x="1851817" y="6057582"/>
                </a:cubicBezTo>
                <a:cubicBezTo>
                  <a:pt x="1823641" y="6057582"/>
                  <a:pt x="1795464" y="6029408"/>
                  <a:pt x="1753200" y="6015320"/>
                </a:cubicBezTo>
                <a:cubicBezTo>
                  <a:pt x="1753200" y="6015320"/>
                  <a:pt x="1739111" y="6001233"/>
                  <a:pt x="1725024" y="6001233"/>
                </a:cubicBezTo>
                <a:cubicBezTo>
                  <a:pt x="1668671" y="5973058"/>
                  <a:pt x="1612318" y="5944884"/>
                  <a:pt x="1555965" y="5902622"/>
                </a:cubicBezTo>
                <a:cubicBezTo>
                  <a:pt x="1527788" y="5888535"/>
                  <a:pt x="1513700" y="5888535"/>
                  <a:pt x="1485523" y="5874446"/>
                </a:cubicBezTo>
                <a:cubicBezTo>
                  <a:pt x="1471435" y="5860359"/>
                  <a:pt x="1443259" y="5846271"/>
                  <a:pt x="1429170" y="5832184"/>
                </a:cubicBezTo>
                <a:cubicBezTo>
                  <a:pt x="1400995" y="5804009"/>
                  <a:pt x="1386906" y="5789922"/>
                  <a:pt x="1358729" y="5775835"/>
                </a:cubicBezTo>
                <a:cubicBezTo>
                  <a:pt x="1358729" y="5775835"/>
                  <a:pt x="1344642" y="5761748"/>
                  <a:pt x="1330553" y="5761748"/>
                </a:cubicBezTo>
                <a:cubicBezTo>
                  <a:pt x="1260112" y="5705398"/>
                  <a:pt x="1203759" y="5663135"/>
                  <a:pt x="1147407" y="5606786"/>
                </a:cubicBezTo>
                <a:cubicBezTo>
                  <a:pt x="1133318" y="5592699"/>
                  <a:pt x="1119230" y="5578611"/>
                  <a:pt x="1119230" y="5578611"/>
                </a:cubicBezTo>
                <a:cubicBezTo>
                  <a:pt x="1119230" y="5578611"/>
                  <a:pt x="1119230" y="5578611"/>
                  <a:pt x="1119230" y="5564524"/>
                </a:cubicBezTo>
                <a:cubicBezTo>
                  <a:pt x="1119230" y="5564524"/>
                  <a:pt x="1105141" y="5564524"/>
                  <a:pt x="1105141" y="5564524"/>
                </a:cubicBezTo>
                <a:cubicBezTo>
                  <a:pt x="1105141" y="5564524"/>
                  <a:pt x="1091053" y="5550437"/>
                  <a:pt x="1076965" y="5536349"/>
                </a:cubicBezTo>
                <a:cubicBezTo>
                  <a:pt x="1062877" y="5522261"/>
                  <a:pt x="1048788" y="5508174"/>
                  <a:pt x="1034701" y="5494086"/>
                </a:cubicBezTo>
                <a:cubicBezTo>
                  <a:pt x="1020613" y="5479999"/>
                  <a:pt x="992437" y="5451824"/>
                  <a:pt x="978348" y="5437737"/>
                </a:cubicBezTo>
                <a:cubicBezTo>
                  <a:pt x="964260" y="5423650"/>
                  <a:pt x="950171" y="5409563"/>
                  <a:pt x="936082" y="5395475"/>
                </a:cubicBezTo>
                <a:cubicBezTo>
                  <a:pt x="921995" y="5367301"/>
                  <a:pt x="893818" y="5339125"/>
                  <a:pt x="865642" y="5310950"/>
                </a:cubicBezTo>
                <a:cubicBezTo>
                  <a:pt x="837465" y="5268688"/>
                  <a:pt x="809289" y="5226426"/>
                  <a:pt x="781112" y="5198252"/>
                </a:cubicBezTo>
                <a:cubicBezTo>
                  <a:pt x="767025" y="5198252"/>
                  <a:pt x="767025" y="5184163"/>
                  <a:pt x="767025" y="5184163"/>
                </a:cubicBezTo>
                <a:cubicBezTo>
                  <a:pt x="724760" y="5141901"/>
                  <a:pt x="696583" y="5099639"/>
                  <a:pt x="654319" y="5057378"/>
                </a:cubicBezTo>
                <a:cubicBezTo>
                  <a:pt x="654319" y="5057378"/>
                  <a:pt x="654319" y="5057378"/>
                  <a:pt x="640230" y="5029203"/>
                </a:cubicBezTo>
                <a:cubicBezTo>
                  <a:pt x="626142" y="5015114"/>
                  <a:pt x="597966" y="4986940"/>
                  <a:pt x="583877" y="4958765"/>
                </a:cubicBezTo>
                <a:cubicBezTo>
                  <a:pt x="583877" y="4958765"/>
                  <a:pt x="569789" y="4944678"/>
                  <a:pt x="569789" y="4930591"/>
                </a:cubicBezTo>
                <a:cubicBezTo>
                  <a:pt x="569789" y="4930591"/>
                  <a:pt x="555702" y="4916503"/>
                  <a:pt x="555702" y="4902416"/>
                </a:cubicBezTo>
                <a:cubicBezTo>
                  <a:pt x="541613" y="4902416"/>
                  <a:pt x="527524" y="4874241"/>
                  <a:pt x="485260" y="4817891"/>
                </a:cubicBezTo>
                <a:cubicBezTo>
                  <a:pt x="485260" y="4817891"/>
                  <a:pt x="485260" y="4803804"/>
                  <a:pt x="485260" y="4803804"/>
                </a:cubicBezTo>
                <a:cubicBezTo>
                  <a:pt x="471171" y="4803804"/>
                  <a:pt x="471171" y="4803804"/>
                  <a:pt x="457083" y="4761542"/>
                </a:cubicBezTo>
                <a:cubicBezTo>
                  <a:pt x="442996" y="4733367"/>
                  <a:pt x="428907" y="4705192"/>
                  <a:pt x="414819" y="4705192"/>
                </a:cubicBezTo>
                <a:cubicBezTo>
                  <a:pt x="400731" y="4677018"/>
                  <a:pt x="414819" y="4677018"/>
                  <a:pt x="400731" y="4662929"/>
                </a:cubicBezTo>
                <a:cubicBezTo>
                  <a:pt x="400731" y="4648842"/>
                  <a:pt x="400731" y="4662929"/>
                  <a:pt x="386643" y="4662929"/>
                </a:cubicBezTo>
                <a:cubicBezTo>
                  <a:pt x="386643" y="4648842"/>
                  <a:pt x="386643" y="4634755"/>
                  <a:pt x="386643" y="4634755"/>
                </a:cubicBezTo>
                <a:cubicBezTo>
                  <a:pt x="372554" y="4606580"/>
                  <a:pt x="358466" y="4592493"/>
                  <a:pt x="344378" y="4564318"/>
                </a:cubicBezTo>
                <a:cubicBezTo>
                  <a:pt x="330290" y="4536144"/>
                  <a:pt x="330290" y="4507969"/>
                  <a:pt x="316201" y="4493882"/>
                </a:cubicBezTo>
                <a:cubicBezTo>
                  <a:pt x="316201" y="4493882"/>
                  <a:pt x="316201" y="4493882"/>
                  <a:pt x="302113" y="4493882"/>
                </a:cubicBezTo>
                <a:cubicBezTo>
                  <a:pt x="302113" y="4479793"/>
                  <a:pt x="302113" y="4465706"/>
                  <a:pt x="302113" y="4465706"/>
                </a:cubicBezTo>
                <a:cubicBezTo>
                  <a:pt x="302113" y="4451619"/>
                  <a:pt x="302113" y="4437531"/>
                  <a:pt x="288025" y="4423444"/>
                </a:cubicBezTo>
                <a:cubicBezTo>
                  <a:pt x="302113" y="4451619"/>
                  <a:pt x="316201" y="4465706"/>
                  <a:pt x="330290" y="4493882"/>
                </a:cubicBezTo>
                <a:cubicBezTo>
                  <a:pt x="330290" y="4493882"/>
                  <a:pt x="330290" y="4507969"/>
                  <a:pt x="330290" y="4507969"/>
                </a:cubicBezTo>
                <a:cubicBezTo>
                  <a:pt x="330290" y="4507969"/>
                  <a:pt x="344378" y="4536144"/>
                  <a:pt x="344378" y="4536144"/>
                </a:cubicBezTo>
                <a:cubicBezTo>
                  <a:pt x="358466" y="4550231"/>
                  <a:pt x="358466" y="4564318"/>
                  <a:pt x="372554" y="4578406"/>
                </a:cubicBezTo>
                <a:cubicBezTo>
                  <a:pt x="372554" y="4578406"/>
                  <a:pt x="372554" y="4592493"/>
                  <a:pt x="372554" y="4592493"/>
                </a:cubicBezTo>
                <a:cubicBezTo>
                  <a:pt x="386643" y="4592493"/>
                  <a:pt x="386643" y="4592493"/>
                  <a:pt x="372554" y="4564318"/>
                </a:cubicBezTo>
                <a:cubicBezTo>
                  <a:pt x="372554" y="4564318"/>
                  <a:pt x="372554" y="4564318"/>
                  <a:pt x="366611" y="4546489"/>
                </a:cubicBezTo>
                <a:lnTo>
                  <a:pt x="363538" y="4537272"/>
                </a:lnTo>
                <a:lnTo>
                  <a:pt x="372554" y="4550231"/>
                </a:lnTo>
                <a:cubicBezTo>
                  <a:pt x="400731" y="4578406"/>
                  <a:pt x="400731" y="4606580"/>
                  <a:pt x="414819" y="4634755"/>
                </a:cubicBezTo>
                <a:cubicBezTo>
                  <a:pt x="414819" y="4634755"/>
                  <a:pt x="414819" y="4606580"/>
                  <a:pt x="428907" y="4648842"/>
                </a:cubicBezTo>
                <a:cubicBezTo>
                  <a:pt x="428907" y="4677018"/>
                  <a:pt x="442996" y="4691105"/>
                  <a:pt x="457083" y="4705192"/>
                </a:cubicBezTo>
                <a:cubicBezTo>
                  <a:pt x="457083" y="4705192"/>
                  <a:pt x="457083" y="4719280"/>
                  <a:pt x="457083" y="4719280"/>
                </a:cubicBezTo>
                <a:cubicBezTo>
                  <a:pt x="464128" y="4719280"/>
                  <a:pt x="464128" y="4715758"/>
                  <a:pt x="464128" y="4712236"/>
                </a:cubicBezTo>
                <a:lnTo>
                  <a:pt x="467330" y="4709034"/>
                </a:lnTo>
                <a:lnTo>
                  <a:pt x="471171" y="4719280"/>
                </a:lnTo>
                <a:cubicBezTo>
                  <a:pt x="471171" y="4719280"/>
                  <a:pt x="471171" y="4705192"/>
                  <a:pt x="471171" y="4705192"/>
                </a:cubicBezTo>
                <a:lnTo>
                  <a:pt x="467330" y="4709034"/>
                </a:lnTo>
                <a:lnTo>
                  <a:pt x="450039" y="4662931"/>
                </a:lnTo>
                <a:cubicBezTo>
                  <a:pt x="442996" y="4645320"/>
                  <a:pt x="435951" y="4627711"/>
                  <a:pt x="428907" y="4606580"/>
                </a:cubicBezTo>
                <a:cubicBezTo>
                  <a:pt x="414819" y="4606580"/>
                  <a:pt x="414819" y="4592493"/>
                  <a:pt x="414819" y="4578406"/>
                </a:cubicBezTo>
                <a:cubicBezTo>
                  <a:pt x="400731" y="4578406"/>
                  <a:pt x="386643" y="4536144"/>
                  <a:pt x="386643" y="4522056"/>
                </a:cubicBezTo>
                <a:cubicBezTo>
                  <a:pt x="372554" y="4507969"/>
                  <a:pt x="358466" y="4493882"/>
                  <a:pt x="358466" y="4479793"/>
                </a:cubicBezTo>
                <a:cubicBezTo>
                  <a:pt x="344378" y="4465706"/>
                  <a:pt x="344378" y="4451619"/>
                  <a:pt x="344378" y="4451619"/>
                </a:cubicBezTo>
                <a:cubicBezTo>
                  <a:pt x="330290" y="4437531"/>
                  <a:pt x="316201" y="4409357"/>
                  <a:pt x="316201" y="4381182"/>
                </a:cubicBezTo>
                <a:cubicBezTo>
                  <a:pt x="302113" y="4367095"/>
                  <a:pt x="302113" y="4338920"/>
                  <a:pt x="288025" y="4338920"/>
                </a:cubicBezTo>
                <a:cubicBezTo>
                  <a:pt x="288025" y="4338920"/>
                  <a:pt x="288025" y="4324833"/>
                  <a:pt x="288025" y="4310744"/>
                </a:cubicBezTo>
                <a:cubicBezTo>
                  <a:pt x="288025" y="4310744"/>
                  <a:pt x="273937" y="4310744"/>
                  <a:pt x="273937" y="4296657"/>
                </a:cubicBezTo>
                <a:cubicBezTo>
                  <a:pt x="273937" y="4268482"/>
                  <a:pt x="259848" y="4268482"/>
                  <a:pt x="259848" y="4254395"/>
                </a:cubicBezTo>
                <a:cubicBezTo>
                  <a:pt x="259848" y="4254395"/>
                  <a:pt x="273937" y="4296657"/>
                  <a:pt x="273937" y="4310744"/>
                </a:cubicBezTo>
                <a:cubicBezTo>
                  <a:pt x="273937" y="4296657"/>
                  <a:pt x="259848" y="4282570"/>
                  <a:pt x="259848" y="4268482"/>
                </a:cubicBezTo>
                <a:cubicBezTo>
                  <a:pt x="259848" y="4268482"/>
                  <a:pt x="259848" y="4254395"/>
                  <a:pt x="245761" y="4254395"/>
                </a:cubicBezTo>
                <a:cubicBezTo>
                  <a:pt x="245761" y="4254395"/>
                  <a:pt x="245761" y="4254395"/>
                  <a:pt x="245761" y="4240308"/>
                </a:cubicBezTo>
                <a:cubicBezTo>
                  <a:pt x="231672" y="4268482"/>
                  <a:pt x="231672" y="4254395"/>
                  <a:pt x="217584" y="4198046"/>
                </a:cubicBezTo>
                <a:cubicBezTo>
                  <a:pt x="203495" y="4198046"/>
                  <a:pt x="203495" y="4183958"/>
                  <a:pt x="203495" y="4169871"/>
                </a:cubicBezTo>
                <a:cubicBezTo>
                  <a:pt x="203495" y="4155784"/>
                  <a:pt x="189407" y="4155784"/>
                  <a:pt x="189407" y="4141697"/>
                </a:cubicBezTo>
                <a:lnTo>
                  <a:pt x="189407" y="4155784"/>
                </a:lnTo>
                <a:cubicBezTo>
                  <a:pt x="189407" y="4162828"/>
                  <a:pt x="189407" y="4169871"/>
                  <a:pt x="189407" y="4175153"/>
                </a:cubicBezTo>
                <a:lnTo>
                  <a:pt x="189407" y="4178235"/>
                </a:lnTo>
                <a:cubicBezTo>
                  <a:pt x="189407" y="4177796"/>
                  <a:pt x="189407" y="4178676"/>
                  <a:pt x="189407" y="4180437"/>
                </a:cubicBezTo>
                <a:lnTo>
                  <a:pt x="189407" y="4183958"/>
                </a:lnTo>
                <a:lnTo>
                  <a:pt x="189407" y="4198046"/>
                </a:lnTo>
                <a:cubicBezTo>
                  <a:pt x="189407" y="4198046"/>
                  <a:pt x="189407" y="4212133"/>
                  <a:pt x="189407" y="4212133"/>
                </a:cubicBezTo>
                <a:cubicBezTo>
                  <a:pt x="203495" y="4240308"/>
                  <a:pt x="217584" y="4254395"/>
                  <a:pt x="231672" y="4296657"/>
                </a:cubicBezTo>
                <a:cubicBezTo>
                  <a:pt x="217584" y="4296657"/>
                  <a:pt x="217584" y="4268482"/>
                  <a:pt x="217584" y="4268482"/>
                </a:cubicBezTo>
                <a:cubicBezTo>
                  <a:pt x="217584" y="4282570"/>
                  <a:pt x="217584" y="4296657"/>
                  <a:pt x="217584" y="4310744"/>
                </a:cubicBezTo>
                <a:cubicBezTo>
                  <a:pt x="217584" y="4310744"/>
                  <a:pt x="217584" y="4318669"/>
                  <a:pt x="217584" y="4316687"/>
                </a:cubicBezTo>
                <a:lnTo>
                  <a:pt x="217584" y="4324833"/>
                </a:lnTo>
                <a:cubicBezTo>
                  <a:pt x="217584" y="4328355"/>
                  <a:pt x="217584" y="4331877"/>
                  <a:pt x="217584" y="4338920"/>
                </a:cubicBezTo>
                <a:cubicBezTo>
                  <a:pt x="231672" y="4381182"/>
                  <a:pt x="217584" y="4381182"/>
                  <a:pt x="203495" y="4338920"/>
                </a:cubicBezTo>
                <a:cubicBezTo>
                  <a:pt x="189407" y="4324833"/>
                  <a:pt x="189407" y="4338920"/>
                  <a:pt x="189407" y="4324833"/>
                </a:cubicBezTo>
                <a:cubicBezTo>
                  <a:pt x="175319" y="4296657"/>
                  <a:pt x="175319" y="4282570"/>
                  <a:pt x="175319" y="4254395"/>
                </a:cubicBezTo>
                <a:cubicBezTo>
                  <a:pt x="161231" y="4226221"/>
                  <a:pt x="147142" y="4198046"/>
                  <a:pt x="147142" y="4169871"/>
                </a:cubicBezTo>
                <a:cubicBezTo>
                  <a:pt x="147142" y="4169871"/>
                  <a:pt x="147142" y="4155784"/>
                  <a:pt x="147142" y="4155784"/>
                </a:cubicBezTo>
                <a:cubicBezTo>
                  <a:pt x="147142" y="4155784"/>
                  <a:pt x="147142" y="4155784"/>
                  <a:pt x="133055" y="4113521"/>
                </a:cubicBezTo>
                <a:cubicBezTo>
                  <a:pt x="133055" y="4099433"/>
                  <a:pt x="118967" y="4113521"/>
                  <a:pt x="133055" y="4141697"/>
                </a:cubicBezTo>
                <a:cubicBezTo>
                  <a:pt x="133055" y="4141697"/>
                  <a:pt x="133055" y="4155784"/>
                  <a:pt x="133055" y="4155784"/>
                </a:cubicBezTo>
                <a:cubicBezTo>
                  <a:pt x="133055" y="4169871"/>
                  <a:pt x="133055" y="4169871"/>
                  <a:pt x="133055" y="4183958"/>
                </a:cubicBezTo>
                <a:cubicBezTo>
                  <a:pt x="118967" y="4141697"/>
                  <a:pt x="104878" y="4113521"/>
                  <a:pt x="104878" y="4071259"/>
                </a:cubicBezTo>
                <a:cubicBezTo>
                  <a:pt x="104878" y="4071259"/>
                  <a:pt x="104878" y="4057172"/>
                  <a:pt x="90789" y="4057172"/>
                </a:cubicBezTo>
                <a:cubicBezTo>
                  <a:pt x="90789" y="4028997"/>
                  <a:pt x="90789" y="4014910"/>
                  <a:pt x="76702" y="3986735"/>
                </a:cubicBezTo>
                <a:cubicBezTo>
                  <a:pt x="62614" y="3944472"/>
                  <a:pt x="48525" y="3888123"/>
                  <a:pt x="48525" y="3859948"/>
                </a:cubicBezTo>
                <a:cubicBezTo>
                  <a:pt x="62614" y="3859948"/>
                  <a:pt x="62614" y="3859948"/>
                  <a:pt x="62614" y="3859948"/>
                </a:cubicBezTo>
                <a:cubicBezTo>
                  <a:pt x="62614" y="3859948"/>
                  <a:pt x="62614" y="3859948"/>
                  <a:pt x="62614" y="3845861"/>
                </a:cubicBezTo>
                <a:cubicBezTo>
                  <a:pt x="62614" y="3831773"/>
                  <a:pt x="62614" y="3817686"/>
                  <a:pt x="62614" y="3789512"/>
                </a:cubicBezTo>
                <a:lnTo>
                  <a:pt x="62614" y="3784228"/>
                </a:lnTo>
                <a:cubicBezTo>
                  <a:pt x="62614" y="3783347"/>
                  <a:pt x="62614" y="3782908"/>
                  <a:pt x="62614" y="3783567"/>
                </a:cubicBezTo>
                <a:lnTo>
                  <a:pt x="62614" y="3759575"/>
                </a:lnTo>
                <a:cubicBezTo>
                  <a:pt x="62614" y="3747248"/>
                  <a:pt x="62614" y="3733161"/>
                  <a:pt x="62614" y="3719074"/>
                </a:cubicBezTo>
                <a:cubicBezTo>
                  <a:pt x="62614" y="3704987"/>
                  <a:pt x="76702" y="3704987"/>
                  <a:pt x="62614" y="3676812"/>
                </a:cubicBezTo>
                <a:cubicBezTo>
                  <a:pt x="62614" y="3676812"/>
                  <a:pt x="62614" y="3662725"/>
                  <a:pt x="62614" y="3648637"/>
                </a:cubicBezTo>
                <a:cubicBezTo>
                  <a:pt x="62614" y="3648637"/>
                  <a:pt x="76702" y="3690899"/>
                  <a:pt x="76702" y="3690899"/>
                </a:cubicBezTo>
                <a:cubicBezTo>
                  <a:pt x="76702" y="3676812"/>
                  <a:pt x="76702" y="3676812"/>
                  <a:pt x="76702" y="3676812"/>
                </a:cubicBezTo>
                <a:cubicBezTo>
                  <a:pt x="76702" y="3634550"/>
                  <a:pt x="62614" y="3592287"/>
                  <a:pt x="62614" y="3564112"/>
                </a:cubicBezTo>
                <a:cubicBezTo>
                  <a:pt x="62614" y="3592287"/>
                  <a:pt x="62614" y="3620463"/>
                  <a:pt x="62614" y="3634550"/>
                </a:cubicBezTo>
                <a:cubicBezTo>
                  <a:pt x="62614" y="3634550"/>
                  <a:pt x="62614" y="3634550"/>
                  <a:pt x="48525" y="3620463"/>
                </a:cubicBezTo>
                <a:cubicBezTo>
                  <a:pt x="48525" y="3592287"/>
                  <a:pt x="48525" y="3592287"/>
                  <a:pt x="48525" y="3578200"/>
                </a:cubicBezTo>
                <a:cubicBezTo>
                  <a:pt x="48525" y="3564112"/>
                  <a:pt x="34436" y="3564112"/>
                  <a:pt x="34436" y="3550025"/>
                </a:cubicBezTo>
                <a:cubicBezTo>
                  <a:pt x="34436" y="3535938"/>
                  <a:pt x="34436" y="3535938"/>
                  <a:pt x="34436" y="3521850"/>
                </a:cubicBezTo>
                <a:cubicBezTo>
                  <a:pt x="34436" y="3451414"/>
                  <a:pt x="20349" y="3409151"/>
                  <a:pt x="20349" y="3366889"/>
                </a:cubicBezTo>
                <a:cubicBezTo>
                  <a:pt x="20349" y="3352801"/>
                  <a:pt x="6261" y="3338714"/>
                  <a:pt x="6261" y="3324627"/>
                </a:cubicBezTo>
                <a:cubicBezTo>
                  <a:pt x="6261" y="3282365"/>
                  <a:pt x="6261" y="3254190"/>
                  <a:pt x="6261" y="3226015"/>
                </a:cubicBezTo>
                <a:cubicBezTo>
                  <a:pt x="6261" y="3211927"/>
                  <a:pt x="6261" y="3197840"/>
                  <a:pt x="6261" y="3183753"/>
                </a:cubicBezTo>
                <a:cubicBezTo>
                  <a:pt x="6261" y="3169665"/>
                  <a:pt x="6261" y="3169665"/>
                  <a:pt x="6261" y="3155578"/>
                </a:cubicBezTo>
                <a:cubicBezTo>
                  <a:pt x="6261" y="3155578"/>
                  <a:pt x="6261" y="3155578"/>
                  <a:pt x="6261" y="3141491"/>
                </a:cubicBezTo>
                <a:cubicBezTo>
                  <a:pt x="-7828" y="3127404"/>
                  <a:pt x="6261" y="3085142"/>
                  <a:pt x="6261" y="3056966"/>
                </a:cubicBezTo>
                <a:cubicBezTo>
                  <a:pt x="6261" y="3028791"/>
                  <a:pt x="6261" y="3000616"/>
                  <a:pt x="6261" y="2958355"/>
                </a:cubicBezTo>
                <a:cubicBezTo>
                  <a:pt x="20349" y="2887917"/>
                  <a:pt x="20349" y="2887917"/>
                  <a:pt x="6261" y="2873830"/>
                </a:cubicBezTo>
                <a:cubicBezTo>
                  <a:pt x="6261" y="2873830"/>
                  <a:pt x="6261" y="2859742"/>
                  <a:pt x="6261" y="2859742"/>
                </a:cubicBezTo>
                <a:cubicBezTo>
                  <a:pt x="6261" y="2845655"/>
                  <a:pt x="6261" y="2845655"/>
                  <a:pt x="20349" y="2845655"/>
                </a:cubicBezTo>
                <a:cubicBezTo>
                  <a:pt x="20349" y="2845655"/>
                  <a:pt x="20349" y="2831568"/>
                  <a:pt x="20349" y="2831568"/>
                </a:cubicBezTo>
                <a:cubicBezTo>
                  <a:pt x="20349" y="2803393"/>
                  <a:pt x="20349" y="2789306"/>
                  <a:pt x="20349" y="2761131"/>
                </a:cubicBezTo>
                <a:cubicBezTo>
                  <a:pt x="20349" y="2747044"/>
                  <a:pt x="34436" y="2718869"/>
                  <a:pt x="34436" y="2704782"/>
                </a:cubicBezTo>
                <a:cubicBezTo>
                  <a:pt x="34436" y="2704782"/>
                  <a:pt x="34436" y="2704782"/>
                  <a:pt x="34436" y="2676606"/>
                </a:cubicBezTo>
                <a:cubicBezTo>
                  <a:pt x="34436" y="2634344"/>
                  <a:pt x="48525" y="2577995"/>
                  <a:pt x="62614" y="2521646"/>
                </a:cubicBezTo>
                <a:cubicBezTo>
                  <a:pt x="76702" y="2493470"/>
                  <a:pt x="90789" y="2451208"/>
                  <a:pt x="104878" y="2437121"/>
                </a:cubicBezTo>
                <a:cubicBezTo>
                  <a:pt x="104878" y="2437121"/>
                  <a:pt x="104878" y="2408946"/>
                  <a:pt x="118967" y="2394859"/>
                </a:cubicBezTo>
                <a:cubicBezTo>
                  <a:pt x="118967" y="2366684"/>
                  <a:pt x="118967" y="2338508"/>
                  <a:pt x="133055" y="2310334"/>
                </a:cubicBezTo>
                <a:cubicBezTo>
                  <a:pt x="147142" y="2296246"/>
                  <a:pt x="147142" y="2268072"/>
                  <a:pt x="161231" y="2253985"/>
                </a:cubicBezTo>
                <a:cubicBezTo>
                  <a:pt x="161231" y="2253985"/>
                  <a:pt x="161231" y="2253985"/>
                  <a:pt x="161231" y="2239897"/>
                </a:cubicBezTo>
                <a:cubicBezTo>
                  <a:pt x="161231" y="2225810"/>
                  <a:pt x="161231" y="2225810"/>
                  <a:pt x="161231" y="2211723"/>
                </a:cubicBezTo>
                <a:cubicBezTo>
                  <a:pt x="175319" y="2211723"/>
                  <a:pt x="175319" y="2211723"/>
                  <a:pt x="175319" y="2197635"/>
                </a:cubicBezTo>
                <a:cubicBezTo>
                  <a:pt x="175319" y="2197635"/>
                  <a:pt x="175319" y="2183548"/>
                  <a:pt x="175319" y="2155372"/>
                </a:cubicBezTo>
                <a:cubicBezTo>
                  <a:pt x="175319" y="2155372"/>
                  <a:pt x="175319" y="2155372"/>
                  <a:pt x="189407" y="2141285"/>
                </a:cubicBezTo>
                <a:cubicBezTo>
                  <a:pt x="189407" y="2141285"/>
                  <a:pt x="189407" y="2127198"/>
                  <a:pt x="189407" y="2113110"/>
                </a:cubicBezTo>
                <a:cubicBezTo>
                  <a:pt x="189407" y="2113110"/>
                  <a:pt x="189407" y="2113110"/>
                  <a:pt x="203495" y="2099023"/>
                </a:cubicBezTo>
                <a:cubicBezTo>
                  <a:pt x="203495" y="2084936"/>
                  <a:pt x="203495" y="2070849"/>
                  <a:pt x="217584" y="2056761"/>
                </a:cubicBezTo>
                <a:cubicBezTo>
                  <a:pt x="217584" y="2042674"/>
                  <a:pt x="217584" y="2042674"/>
                  <a:pt x="217584" y="2028587"/>
                </a:cubicBezTo>
                <a:cubicBezTo>
                  <a:pt x="217584" y="2014499"/>
                  <a:pt x="231672" y="2000412"/>
                  <a:pt x="231672" y="2000412"/>
                </a:cubicBezTo>
                <a:cubicBezTo>
                  <a:pt x="231672" y="2014499"/>
                  <a:pt x="245761" y="1986323"/>
                  <a:pt x="231672" y="2000412"/>
                </a:cubicBezTo>
                <a:cubicBezTo>
                  <a:pt x="259848" y="1958149"/>
                  <a:pt x="259848" y="1958149"/>
                  <a:pt x="245761" y="1958149"/>
                </a:cubicBezTo>
                <a:cubicBezTo>
                  <a:pt x="231672" y="1944061"/>
                  <a:pt x="245761" y="1929974"/>
                  <a:pt x="245761" y="1901800"/>
                </a:cubicBezTo>
                <a:cubicBezTo>
                  <a:pt x="273937" y="1873625"/>
                  <a:pt x="273937" y="1859538"/>
                  <a:pt x="259848" y="1873625"/>
                </a:cubicBezTo>
                <a:cubicBezTo>
                  <a:pt x="245761" y="1887712"/>
                  <a:pt x="245761" y="1887712"/>
                  <a:pt x="245761" y="1887712"/>
                </a:cubicBezTo>
                <a:cubicBezTo>
                  <a:pt x="231672" y="1915887"/>
                  <a:pt x="245761" y="1915887"/>
                  <a:pt x="217584" y="1972236"/>
                </a:cubicBezTo>
                <a:cubicBezTo>
                  <a:pt x="203495" y="1986323"/>
                  <a:pt x="203495" y="1986323"/>
                  <a:pt x="203495" y="1986323"/>
                </a:cubicBezTo>
                <a:cubicBezTo>
                  <a:pt x="203495" y="1986323"/>
                  <a:pt x="203495" y="2000412"/>
                  <a:pt x="203495" y="2000412"/>
                </a:cubicBezTo>
                <a:cubicBezTo>
                  <a:pt x="175319" y="2042674"/>
                  <a:pt x="189407" y="2014499"/>
                  <a:pt x="189407" y="2000412"/>
                </a:cubicBezTo>
                <a:cubicBezTo>
                  <a:pt x="189407" y="1972236"/>
                  <a:pt x="203495" y="1944061"/>
                  <a:pt x="203495" y="1915887"/>
                </a:cubicBezTo>
                <a:cubicBezTo>
                  <a:pt x="189407" y="1944061"/>
                  <a:pt x="189407" y="1958149"/>
                  <a:pt x="175319" y="1972236"/>
                </a:cubicBezTo>
                <a:lnTo>
                  <a:pt x="181786" y="1954455"/>
                </a:lnTo>
                <a:lnTo>
                  <a:pt x="189407" y="1944061"/>
                </a:lnTo>
                <a:cubicBezTo>
                  <a:pt x="189407" y="1944061"/>
                  <a:pt x="185885" y="1947583"/>
                  <a:pt x="182363" y="1952867"/>
                </a:cubicBezTo>
                <a:lnTo>
                  <a:pt x="181786" y="1954455"/>
                </a:lnTo>
                <a:lnTo>
                  <a:pt x="170036" y="1970476"/>
                </a:lnTo>
                <a:cubicBezTo>
                  <a:pt x="164753" y="1979280"/>
                  <a:pt x="161231" y="1986323"/>
                  <a:pt x="161231" y="1986323"/>
                </a:cubicBezTo>
                <a:cubicBezTo>
                  <a:pt x="161231" y="1972236"/>
                  <a:pt x="147142" y="2000412"/>
                  <a:pt x="147142" y="2000412"/>
                </a:cubicBezTo>
                <a:cubicBezTo>
                  <a:pt x="133055" y="2028587"/>
                  <a:pt x="133055" y="2028587"/>
                  <a:pt x="133055" y="2014499"/>
                </a:cubicBezTo>
                <a:cubicBezTo>
                  <a:pt x="118967" y="2042674"/>
                  <a:pt x="104878" y="2070849"/>
                  <a:pt x="76702" y="2099023"/>
                </a:cubicBezTo>
                <a:cubicBezTo>
                  <a:pt x="90789" y="2056761"/>
                  <a:pt x="104878" y="2042674"/>
                  <a:pt x="118967" y="2028587"/>
                </a:cubicBezTo>
                <a:cubicBezTo>
                  <a:pt x="118967" y="2018021"/>
                  <a:pt x="126891" y="2015379"/>
                  <a:pt x="130854" y="2002833"/>
                </a:cubicBezTo>
                <a:lnTo>
                  <a:pt x="131021" y="2001574"/>
                </a:lnTo>
                <a:lnTo>
                  <a:pt x="133055" y="2000412"/>
                </a:lnTo>
                <a:cubicBezTo>
                  <a:pt x="133055" y="1986323"/>
                  <a:pt x="133055" y="1986323"/>
                  <a:pt x="133055" y="1986323"/>
                </a:cubicBezTo>
                <a:lnTo>
                  <a:pt x="131021" y="2001574"/>
                </a:lnTo>
                <a:lnTo>
                  <a:pt x="120727" y="2007456"/>
                </a:lnTo>
                <a:cubicBezTo>
                  <a:pt x="118967" y="2010977"/>
                  <a:pt x="118967" y="2014499"/>
                  <a:pt x="118967" y="2014499"/>
                </a:cubicBezTo>
                <a:cubicBezTo>
                  <a:pt x="118967" y="2014499"/>
                  <a:pt x="118967" y="2014499"/>
                  <a:pt x="118967" y="2000412"/>
                </a:cubicBezTo>
                <a:cubicBezTo>
                  <a:pt x="118967" y="2000412"/>
                  <a:pt x="118967" y="2000412"/>
                  <a:pt x="118967" y="1986323"/>
                </a:cubicBezTo>
                <a:cubicBezTo>
                  <a:pt x="133055" y="1958149"/>
                  <a:pt x="133055" y="1958149"/>
                  <a:pt x="133055" y="1972236"/>
                </a:cubicBezTo>
                <a:cubicBezTo>
                  <a:pt x="133055" y="1972236"/>
                  <a:pt x="133055" y="1972236"/>
                  <a:pt x="147142" y="1972236"/>
                </a:cubicBezTo>
                <a:cubicBezTo>
                  <a:pt x="147142" y="1944061"/>
                  <a:pt x="161231" y="1944061"/>
                  <a:pt x="161231" y="1944061"/>
                </a:cubicBezTo>
                <a:cubicBezTo>
                  <a:pt x="161231" y="1944061"/>
                  <a:pt x="175319" y="1929974"/>
                  <a:pt x="175319" y="1929974"/>
                </a:cubicBezTo>
                <a:cubicBezTo>
                  <a:pt x="189407" y="1901800"/>
                  <a:pt x="217584" y="1859538"/>
                  <a:pt x="231672" y="1845450"/>
                </a:cubicBezTo>
                <a:cubicBezTo>
                  <a:pt x="231672" y="1845450"/>
                  <a:pt x="259848" y="1803188"/>
                  <a:pt x="259848" y="1803188"/>
                </a:cubicBezTo>
                <a:cubicBezTo>
                  <a:pt x="273937" y="1803188"/>
                  <a:pt x="288025" y="1775013"/>
                  <a:pt x="302113" y="1775013"/>
                </a:cubicBezTo>
                <a:cubicBezTo>
                  <a:pt x="316201" y="1746838"/>
                  <a:pt x="330290" y="1704576"/>
                  <a:pt x="358466" y="1676401"/>
                </a:cubicBezTo>
                <a:cubicBezTo>
                  <a:pt x="358466" y="1662314"/>
                  <a:pt x="358466" y="1648227"/>
                  <a:pt x="372554" y="1648227"/>
                </a:cubicBezTo>
                <a:cubicBezTo>
                  <a:pt x="372554" y="1648227"/>
                  <a:pt x="372554" y="1662314"/>
                  <a:pt x="372554" y="1662314"/>
                </a:cubicBezTo>
                <a:cubicBezTo>
                  <a:pt x="344378" y="1718663"/>
                  <a:pt x="344378" y="1746838"/>
                  <a:pt x="358466" y="1746838"/>
                </a:cubicBezTo>
                <a:cubicBezTo>
                  <a:pt x="358466" y="1746838"/>
                  <a:pt x="358466" y="1760925"/>
                  <a:pt x="330290" y="1803188"/>
                </a:cubicBezTo>
                <a:cubicBezTo>
                  <a:pt x="330290" y="1817276"/>
                  <a:pt x="316201" y="1831363"/>
                  <a:pt x="316201" y="1845450"/>
                </a:cubicBezTo>
                <a:cubicBezTo>
                  <a:pt x="288025" y="1887712"/>
                  <a:pt x="259848" y="1929974"/>
                  <a:pt x="259848" y="1972236"/>
                </a:cubicBezTo>
                <a:cubicBezTo>
                  <a:pt x="245761" y="1986323"/>
                  <a:pt x="245761" y="1986323"/>
                  <a:pt x="245761" y="2000412"/>
                </a:cubicBezTo>
                <a:cubicBezTo>
                  <a:pt x="245761" y="2028587"/>
                  <a:pt x="231672" y="2042674"/>
                  <a:pt x="217584" y="2070849"/>
                </a:cubicBezTo>
                <a:cubicBezTo>
                  <a:pt x="217584" y="2099023"/>
                  <a:pt x="217584" y="2127198"/>
                  <a:pt x="203495" y="2169459"/>
                </a:cubicBezTo>
                <a:cubicBezTo>
                  <a:pt x="203495" y="2169459"/>
                  <a:pt x="203495" y="2169459"/>
                  <a:pt x="189407" y="2169459"/>
                </a:cubicBezTo>
                <a:cubicBezTo>
                  <a:pt x="189407" y="2183548"/>
                  <a:pt x="189407" y="2197635"/>
                  <a:pt x="189407" y="2225810"/>
                </a:cubicBezTo>
                <a:cubicBezTo>
                  <a:pt x="175319" y="2225810"/>
                  <a:pt x="175319" y="2253985"/>
                  <a:pt x="175319" y="2268072"/>
                </a:cubicBezTo>
                <a:cubicBezTo>
                  <a:pt x="175319" y="2282159"/>
                  <a:pt x="175319" y="2282159"/>
                  <a:pt x="175319" y="2282159"/>
                </a:cubicBezTo>
                <a:cubicBezTo>
                  <a:pt x="161231" y="2296246"/>
                  <a:pt x="161231" y="2310334"/>
                  <a:pt x="161231" y="2324421"/>
                </a:cubicBezTo>
                <a:cubicBezTo>
                  <a:pt x="161231" y="2338508"/>
                  <a:pt x="161231" y="2352596"/>
                  <a:pt x="175319" y="2338508"/>
                </a:cubicBezTo>
                <a:cubicBezTo>
                  <a:pt x="175319" y="2324421"/>
                  <a:pt x="175319" y="2296246"/>
                  <a:pt x="189407" y="2253985"/>
                </a:cubicBezTo>
                <a:cubicBezTo>
                  <a:pt x="189407" y="2253985"/>
                  <a:pt x="189407" y="2225810"/>
                  <a:pt x="203495" y="2211723"/>
                </a:cubicBezTo>
                <a:cubicBezTo>
                  <a:pt x="203495" y="2211723"/>
                  <a:pt x="203495" y="2211723"/>
                  <a:pt x="203495" y="2197635"/>
                </a:cubicBezTo>
                <a:cubicBezTo>
                  <a:pt x="203495" y="2183548"/>
                  <a:pt x="203495" y="2183548"/>
                  <a:pt x="203495" y="2183548"/>
                </a:cubicBezTo>
                <a:cubicBezTo>
                  <a:pt x="217584" y="2169459"/>
                  <a:pt x="217584" y="2169459"/>
                  <a:pt x="217584" y="2155372"/>
                </a:cubicBezTo>
                <a:cubicBezTo>
                  <a:pt x="217584" y="2155372"/>
                  <a:pt x="217584" y="2141285"/>
                  <a:pt x="231672" y="2127198"/>
                </a:cubicBezTo>
                <a:cubicBezTo>
                  <a:pt x="231672" y="2127198"/>
                  <a:pt x="231672" y="2130719"/>
                  <a:pt x="231672" y="2136003"/>
                </a:cubicBezTo>
                <a:lnTo>
                  <a:pt x="231672" y="2149429"/>
                </a:lnTo>
                <a:cubicBezTo>
                  <a:pt x="231672" y="2148770"/>
                  <a:pt x="231672" y="2149210"/>
                  <a:pt x="231672" y="2150090"/>
                </a:cubicBezTo>
                <a:lnTo>
                  <a:pt x="231672" y="2155372"/>
                </a:lnTo>
                <a:cubicBezTo>
                  <a:pt x="245761" y="2141285"/>
                  <a:pt x="245761" y="2127198"/>
                  <a:pt x="259848" y="2113110"/>
                </a:cubicBezTo>
                <a:cubicBezTo>
                  <a:pt x="245761" y="2113110"/>
                  <a:pt x="245761" y="2127198"/>
                  <a:pt x="245761" y="2113110"/>
                </a:cubicBezTo>
                <a:cubicBezTo>
                  <a:pt x="245761" y="2113110"/>
                  <a:pt x="245761" y="2113110"/>
                  <a:pt x="245761" y="2099023"/>
                </a:cubicBezTo>
                <a:cubicBezTo>
                  <a:pt x="245761" y="2099023"/>
                  <a:pt x="259848" y="2084936"/>
                  <a:pt x="259848" y="2084936"/>
                </a:cubicBezTo>
                <a:cubicBezTo>
                  <a:pt x="259848" y="2084936"/>
                  <a:pt x="259848" y="2084936"/>
                  <a:pt x="273937" y="2056761"/>
                </a:cubicBezTo>
                <a:cubicBezTo>
                  <a:pt x="273937" y="2042674"/>
                  <a:pt x="288025" y="2028587"/>
                  <a:pt x="288025" y="2028587"/>
                </a:cubicBezTo>
                <a:cubicBezTo>
                  <a:pt x="288025" y="2028587"/>
                  <a:pt x="288025" y="2042674"/>
                  <a:pt x="288025" y="2056761"/>
                </a:cubicBezTo>
                <a:cubicBezTo>
                  <a:pt x="273937" y="2056761"/>
                  <a:pt x="273937" y="2070849"/>
                  <a:pt x="273937" y="2084936"/>
                </a:cubicBezTo>
                <a:cubicBezTo>
                  <a:pt x="273937" y="2099023"/>
                  <a:pt x="273937" y="2084936"/>
                  <a:pt x="288025" y="2070849"/>
                </a:cubicBezTo>
                <a:cubicBezTo>
                  <a:pt x="288025" y="2056761"/>
                  <a:pt x="302113" y="2042674"/>
                  <a:pt x="302113" y="2028587"/>
                </a:cubicBezTo>
                <a:cubicBezTo>
                  <a:pt x="302113" y="2014499"/>
                  <a:pt x="302113" y="2014499"/>
                  <a:pt x="302113" y="2014499"/>
                </a:cubicBezTo>
                <a:cubicBezTo>
                  <a:pt x="316201" y="2000412"/>
                  <a:pt x="316201" y="1986323"/>
                  <a:pt x="330290" y="1972236"/>
                </a:cubicBezTo>
                <a:cubicBezTo>
                  <a:pt x="344378" y="1958149"/>
                  <a:pt x="344378" y="1929974"/>
                  <a:pt x="344378" y="1958149"/>
                </a:cubicBezTo>
                <a:cubicBezTo>
                  <a:pt x="344378" y="1958149"/>
                  <a:pt x="344378" y="1958149"/>
                  <a:pt x="358466" y="1944061"/>
                </a:cubicBezTo>
                <a:cubicBezTo>
                  <a:pt x="344378" y="1944061"/>
                  <a:pt x="358466" y="1915887"/>
                  <a:pt x="372554" y="1887712"/>
                </a:cubicBezTo>
                <a:cubicBezTo>
                  <a:pt x="386643" y="1873625"/>
                  <a:pt x="386643" y="1859538"/>
                  <a:pt x="400731" y="1845450"/>
                </a:cubicBezTo>
                <a:cubicBezTo>
                  <a:pt x="386643" y="1845450"/>
                  <a:pt x="386643" y="1845450"/>
                  <a:pt x="386643" y="1859538"/>
                </a:cubicBezTo>
                <a:cubicBezTo>
                  <a:pt x="386643" y="1859538"/>
                  <a:pt x="386643" y="1859538"/>
                  <a:pt x="372554" y="1859538"/>
                </a:cubicBezTo>
                <a:cubicBezTo>
                  <a:pt x="372554" y="1873625"/>
                  <a:pt x="372554" y="1873625"/>
                  <a:pt x="372554" y="1873625"/>
                </a:cubicBezTo>
                <a:cubicBezTo>
                  <a:pt x="358466" y="1887712"/>
                  <a:pt x="344378" y="1887712"/>
                  <a:pt x="358466" y="1845450"/>
                </a:cubicBezTo>
                <a:cubicBezTo>
                  <a:pt x="400731" y="1789100"/>
                  <a:pt x="400731" y="1760925"/>
                  <a:pt x="428907" y="1718663"/>
                </a:cubicBezTo>
                <a:cubicBezTo>
                  <a:pt x="442996" y="1704576"/>
                  <a:pt x="442996" y="1690489"/>
                  <a:pt x="442996" y="1676401"/>
                </a:cubicBezTo>
                <a:cubicBezTo>
                  <a:pt x="457083" y="1648227"/>
                  <a:pt x="471171" y="1634138"/>
                  <a:pt x="471171" y="1634138"/>
                </a:cubicBezTo>
                <a:cubicBezTo>
                  <a:pt x="457083" y="1620051"/>
                  <a:pt x="471171" y="1605964"/>
                  <a:pt x="485260" y="1591876"/>
                </a:cubicBezTo>
                <a:cubicBezTo>
                  <a:pt x="485260" y="1577789"/>
                  <a:pt x="499349" y="1577789"/>
                  <a:pt x="499349" y="1577789"/>
                </a:cubicBezTo>
                <a:cubicBezTo>
                  <a:pt x="499349" y="1577789"/>
                  <a:pt x="513436" y="1549614"/>
                  <a:pt x="527524" y="1521440"/>
                </a:cubicBezTo>
                <a:cubicBezTo>
                  <a:pt x="541613" y="1507353"/>
                  <a:pt x="555702" y="1493265"/>
                  <a:pt x="555702" y="1479178"/>
                </a:cubicBezTo>
                <a:cubicBezTo>
                  <a:pt x="569789" y="1479178"/>
                  <a:pt x="597966" y="1436915"/>
                  <a:pt x="597966" y="1451002"/>
                </a:cubicBezTo>
                <a:cubicBezTo>
                  <a:pt x="569789" y="1479178"/>
                  <a:pt x="569789" y="1521440"/>
                  <a:pt x="527524" y="1563702"/>
                </a:cubicBezTo>
                <a:cubicBezTo>
                  <a:pt x="513436" y="1591876"/>
                  <a:pt x="499349" y="1605964"/>
                  <a:pt x="499349" y="1620051"/>
                </a:cubicBezTo>
                <a:cubicBezTo>
                  <a:pt x="499349" y="1634138"/>
                  <a:pt x="513436" y="1605964"/>
                  <a:pt x="527524" y="1591876"/>
                </a:cubicBezTo>
                <a:cubicBezTo>
                  <a:pt x="527524" y="1591876"/>
                  <a:pt x="527524" y="1577789"/>
                  <a:pt x="527524" y="1577789"/>
                </a:cubicBezTo>
                <a:cubicBezTo>
                  <a:pt x="555702" y="1535527"/>
                  <a:pt x="583877" y="1479178"/>
                  <a:pt x="612055" y="1436915"/>
                </a:cubicBezTo>
                <a:cubicBezTo>
                  <a:pt x="626142" y="1422828"/>
                  <a:pt x="626142" y="1408740"/>
                  <a:pt x="640230" y="1394653"/>
                </a:cubicBezTo>
                <a:cubicBezTo>
                  <a:pt x="654319" y="1366478"/>
                  <a:pt x="668406" y="1352391"/>
                  <a:pt x="668406" y="1338304"/>
                </a:cubicBezTo>
                <a:cubicBezTo>
                  <a:pt x="682495" y="1338304"/>
                  <a:pt x="696583" y="1324216"/>
                  <a:pt x="696583" y="1310129"/>
                </a:cubicBezTo>
                <a:cubicBezTo>
                  <a:pt x="724760" y="1281953"/>
                  <a:pt x="724760" y="1281953"/>
                  <a:pt x="738848" y="1253779"/>
                </a:cubicBezTo>
                <a:cubicBezTo>
                  <a:pt x="752936" y="1253779"/>
                  <a:pt x="752936" y="1239691"/>
                  <a:pt x="752936" y="1239691"/>
                </a:cubicBezTo>
                <a:cubicBezTo>
                  <a:pt x="795201" y="1197430"/>
                  <a:pt x="823378" y="1155168"/>
                  <a:pt x="865642" y="1112904"/>
                </a:cubicBezTo>
                <a:cubicBezTo>
                  <a:pt x="865642" y="1098817"/>
                  <a:pt x="879731" y="1084730"/>
                  <a:pt x="893818" y="1070642"/>
                </a:cubicBezTo>
                <a:cubicBezTo>
                  <a:pt x="907907" y="1056555"/>
                  <a:pt x="921995" y="1042468"/>
                  <a:pt x="921995" y="1042468"/>
                </a:cubicBezTo>
                <a:cubicBezTo>
                  <a:pt x="921995" y="1042468"/>
                  <a:pt x="936082" y="1028381"/>
                  <a:pt x="936082" y="1028381"/>
                </a:cubicBezTo>
                <a:cubicBezTo>
                  <a:pt x="907907" y="1042468"/>
                  <a:pt x="936082" y="1014293"/>
                  <a:pt x="950171" y="1000206"/>
                </a:cubicBezTo>
                <a:cubicBezTo>
                  <a:pt x="950171" y="1000206"/>
                  <a:pt x="964260" y="986119"/>
                  <a:pt x="964260" y="986119"/>
                </a:cubicBezTo>
                <a:cubicBezTo>
                  <a:pt x="978348" y="957944"/>
                  <a:pt x="1020613" y="915681"/>
                  <a:pt x="1048788" y="887506"/>
                </a:cubicBezTo>
                <a:cubicBezTo>
                  <a:pt x="1048788" y="887506"/>
                  <a:pt x="1062877" y="887506"/>
                  <a:pt x="1062877" y="873419"/>
                </a:cubicBezTo>
                <a:cubicBezTo>
                  <a:pt x="1062877" y="873419"/>
                  <a:pt x="1062877" y="873419"/>
                  <a:pt x="1076965" y="873419"/>
                </a:cubicBezTo>
                <a:cubicBezTo>
                  <a:pt x="1076965" y="859332"/>
                  <a:pt x="1091053" y="859332"/>
                  <a:pt x="1091053" y="845244"/>
                </a:cubicBezTo>
                <a:cubicBezTo>
                  <a:pt x="1091053" y="845244"/>
                  <a:pt x="1105141" y="845244"/>
                  <a:pt x="1105141" y="831157"/>
                </a:cubicBezTo>
                <a:cubicBezTo>
                  <a:pt x="1119230" y="817070"/>
                  <a:pt x="1119230" y="817070"/>
                  <a:pt x="1119230" y="817070"/>
                </a:cubicBezTo>
                <a:cubicBezTo>
                  <a:pt x="1133318" y="802983"/>
                  <a:pt x="1147407" y="788895"/>
                  <a:pt x="1161494" y="774808"/>
                </a:cubicBezTo>
                <a:cubicBezTo>
                  <a:pt x="1175583" y="774808"/>
                  <a:pt x="1189671" y="760719"/>
                  <a:pt x="1189671" y="760719"/>
                </a:cubicBezTo>
                <a:cubicBezTo>
                  <a:pt x="1189671" y="774808"/>
                  <a:pt x="1189671" y="760719"/>
                  <a:pt x="1203759" y="746632"/>
                </a:cubicBezTo>
                <a:cubicBezTo>
                  <a:pt x="1231936" y="732545"/>
                  <a:pt x="1231936" y="732545"/>
                  <a:pt x="1231936" y="732545"/>
                </a:cubicBezTo>
                <a:cubicBezTo>
                  <a:pt x="1246024" y="732545"/>
                  <a:pt x="1260112" y="718457"/>
                  <a:pt x="1288289" y="704370"/>
                </a:cubicBezTo>
                <a:cubicBezTo>
                  <a:pt x="1302377" y="690283"/>
                  <a:pt x="1330553" y="676196"/>
                  <a:pt x="1358729" y="662108"/>
                </a:cubicBezTo>
                <a:cubicBezTo>
                  <a:pt x="1386906" y="633934"/>
                  <a:pt x="1415083" y="605759"/>
                  <a:pt x="1429170" y="591672"/>
                </a:cubicBezTo>
                <a:cubicBezTo>
                  <a:pt x="1443259" y="577583"/>
                  <a:pt x="1457348" y="577583"/>
                  <a:pt x="1471435" y="563496"/>
                </a:cubicBezTo>
                <a:cubicBezTo>
                  <a:pt x="1485523" y="549409"/>
                  <a:pt x="1513700" y="535321"/>
                  <a:pt x="1527788" y="521234"/>
                </a:cubicBezTo>
                <a:cubicBezTo>
                  <a:pt x="1541876" y="521234"/>
                  <a:pt x="1541876" y="521234"/>
                  <a:pt x="1541876" y="507147"/>
                </a:cubicBezTo>
                <a:cubicBezTo>
                  <a:pt x="1555965" y="507147"/>
                  <a:pt x="1570053" y="493059"/>
                  <a:pt x="1584141" y="493059"/>
                </a:cubicBezTo>
                <a:cubicBezTo>
                  <a:pt x="1598229" y="478972"/>
                  <a:pt x="1598229" y="478972"/>
                  <a:pt x="1598229" y="464885"/>
                </a:cubicBezTo>
                <a:cubicBezTo>
                  <a:pt x="1612318" y="464885"/>
                  <a:pt x="1612318" y="464885"/>
                  <a:pt x="1626406" y="464885"/>
                </a:cubicBezTo>
                <a:cubicBezTo>
                  <a:pt x="1668671" y="436710"/>
                  <a:pt x="1739111" y="380360"/>
                  <a:pt x="1753200" y="366272"/>
                </a:cubicBezTo>
                <a:cubicBezTo>
                  <a:pt x="1767288" y="352185"/>
                  <a:pt x="1781377" y="352185"/>
                  <a:pt x="1795464" y="338098"/>
                </a:cubicBezTo>
                <a:cubicBezTo>
                  <a:pt x="1809553" y="338098"/>
                  <a:pt x="1823641" y="324010"/>
                  <a:pt x="1823641" y="338098"/>
                </a:cubicBezTo>
                <a:cubicBezTo>
                  <a:pt x="1837730" y="338098"/>
                  <a:pt x="1851817" y="324010"/>
                  <a:pt x="1865906" y="324010"/>
                </a:cubicBezTo>
                <a:cubicBezTo>
                  <a:pt x="1894083" y="295836"/>
                  <a:pt x="1936347" y="281749"/>
                  <a:pt x="1964523" y="267661"/>
                </a:cubicBezTo>
                <a:cubicBezTo>
                  <a:pt x="1978611" y="253574"/>
                  <a:pt x="1978611" y="253574"/>
                  <a:pt x="1992700" y="253574"/>
                </a:cubicBezTo>
                <a:cubicBezTo>
                  <a:pt x="1992700" y="239487"/>
                  <a:pt x="2020876" y="239487"/>
                  <a:pt x="2034965" y="225398"/>
                </a:cubicBezTo>
                <a:cubicBezTo>
                  <a:pt x="2063140" y="225398"/>
                  <a:pt x="2077229" y="211311"/>
                  <a:pt x="2091317" y="197224"/>
                </a:cubicBezTo>
                <a:cubicBezTo>
                  <a:pt x="2133582" y="183136"/>
                  <a:pt x="2189935" y="169049"/>
                  <a:pt x="2232199" y="140874"/>
                </a:cubicBezTo>
                <a:cubicBezTo>
                  <a:pt x="2260376" y="126787"/>
                  <a:pt x="2288552" y="126787"/>
                  <a:pt x="2316729" y="112700"/>
                </a:cubicBezTo>
                <a:cubicBezTo>
                  <a:pt x="2344905" y="98612"/>
                  <a:pt x="2373081" y="84525"/>
                  <a:pt x="2415347" y="84525"/>
                </a:cubicBezTo>
                <a:cubicBezTo>
                  <a:pt x="2429434" y="84525"/>
                  <a:pt x="2429434" y="70438"/>
                  <a:pt x="2429434" y="70438"/>
                </a:cubicBezTo>
                <a:cubicBezTo>
                  <a:pt x="2443523" y="70438"/>
                  <a:pt x="2443523" y="70438"/>
                  <a:pt x="2457611" y="70438"/>
                </a:cubicBezTo>
                <a:cubicBezTo>
                  <a:pt x="2528052" y="56349"/>
                  <a:pt x="2598493" y="28175"/>
                  <a:pt x="2668934" y="14087"/>
                </a:cubicBezTo>
                <a:cubicBezTo>
                  <a:pt x="2683023" y="14087"/>
                  <a:pt x="2697110" y="14087"/>
                  <a:pt x="2711199" y="14087"/>
                </a:cubicBezTo>
                <a:cubicBezTo>
                  <a:pt x="2753463" y="0"/>
                  <a:pt x="2781640" y="0"/>
                  <a:pt x="27816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32604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9" hasCustomPrompt="1"/>
          </p:nvPr>
        </p:nvSpPr>
        <p:spPr>
          <a:xfrm>
            <a:off x="4267201" y="0"/>
            <a:ext cx="7945999" cy="7437990"/>
          </a:xfrm>
          <a:custGeom>
            <a:avLst/>
            <a:gdLst>
              <a:gd name="connsiteX0" fmla="*/ 5904801 w 7945998"/>
              <a:gd name="connsiteY0" fmla="*/ 5437624 h 7437990"/>
              <a:gd name="connsiteX1" fmla="*/ 6117198 w 7945998"/>
              <a:gd name="connsiteY1" fmla="*/ 5634404 h 7437990"/>
              <a:gd name="connsiteX2" fmla="*/ 6117198 w 7945998"/>
              <a:gd name="connsiteY2" fmla="*/ 7150621 h 7437990"/>
              <a:gd name="connsiteX3" fmla="*/ 5904801 w 7945998"/>
              <a:gd name="connsiteY3" fmla="*/ 7347401 h 7437990"/>
              <a:gd name="connsiteX4" fmla="*/ 5695127 w 7945998"/>
              <a:gd name="connsiteY4" fmla="*/ 7150621 h 7437990"/>
              <a:gd name="connsiteX5" fmla="*/ 5695127 w 7945998"/>
              <a:gd name="connsiteY5" fmla="*/ 5634404 h 7437990"/>
              <a:gd name="connsiteX6" fmla="*/ 5904801 w 7945998"/>
              <a:gd name="connsiteY6" fmla="*/ 5437624 h 7437990"/>
              <a:gd name="connsiteX7" fmla="*/ 3069455 w 7945998"/>
              <a:gd name="connsiteY7" fmla="*/ 4014908 h 7437990"/>
              <a:gd name="connsiteX8" fmla="*/ 3100046 w 7945998"/>
              <a:gd name="connsiteY8" fmla="*/ 4057591 h 7437990"/>
              <a:gd name="connsiteX9" fmla="*/ 3201784 w 7945998"/>
              <a:gd name="connsiteY9" fmla="*/ 4108647 h 7437990"/>
              <a:gd name="connsiteX10" fmla="*/ 3204775 w 7945998"/>
              <a:gd name="connsiteY10" fmla="*/ 4108926 h 7437990"/>
              <a:gd name="connsiteX11" fmla="*/ 3173529 w 7945998"/>
              <a:gd name="connsiteY11" fmla="*/ 4065871 h 7437990"/>
              <a:gd name="connsiteX12" fmla="*/ 3071791 w 7945998"/>
              <a:gd name="connsiteY12" fmla="*/ 4015125 h 7437990"/>
              <a:gd name="connsiteX13" fmla="*/ 7733601 w 7945998"/>
              <a:gd name="connsiteY13" fmla="*/ 3579214 h 7437990"/>
              <a:gd name="connsiteX14" fmla="*/ 7945998 w 7945998"/>
              <a:gd name="connsiteY14" fmla="*/ 3775994 h 7437990"/>
              <a:gd name="connsiteX15" fmla="*/ 7945998 w 7945998"/>
              <a:gd name="connsiteY15" fmla="*/ 5292211 h 7437990"/>
              <a:gd name="connsiteX16" fmla="*/ 7733601 w 7945998"/>
              <a:gd name="connsiteY16" fmla="*/ 5488991 h 7437990"/>
              <a:gd name="connsiteX17" fmla="*/ 7523927 w 7945998"/>
              <a:gd name="connsiteY17" fmla="*/ 5292211 h 7437990"/>
              <a:gd name="connsiteX18" fmla="*/ 7523927 w 7945998"/>
              <a:gd name="connsiteY18" fmla="*/ 3775994 h 7437990"/>
              <a:gd name="connsiteX19" fmla="*/ 7733601 w 7945998"/>
              <a:gd name="connsiteY19" fmla="*/ 3579214 h 7437990"/>
              <a:gd name="connsiteX20" fmla="*/ 7733601 w 7945998"/>
              <a:gd name="connsiteY20" fmla="*/ 1519687 h 7437990"/>
              <a:gd name="connsiteX21" fmla="*/ 7945998 w 7945998"/>
              <a:gd name="connsiteY21" fmla="*/ 1716497 h 7437990"/>
              <a:gd name="connsiteX22" fmla="*/ 7945998 w 7945998"/>
              <a:gd name="connsiteY22" fmla="*/ 2498692 h 7437990"/>
              <a:gd name="connsiteX23" fmla="*/ 7733601 w 7945998"/>
              <a:gd name="connsiteY23" fmla="*/ 2695503 h 7437990"/>
              <a:gd name="connsiteX24" fmla="*/ 7523927 w 7945998"/>
              <a:gd name="connsiteY24" fmla="*/ 2498692 h 7437990"/>
              <a:gd name="connsiteX25" fmla="*/ 7523927 w 7945998"/>
              <a:gd name="connsiteY25" fmla="*/ 1716497 h 7437990"/>
              <a:gd name="connsiteX26" fmla="*/ 7733601 w 7945998"/>
              <a:gd name="connsiteY26" fmla="*/ 1519687 h 7437990"/>
              <a:gd name="connsiteX27" fmla="*/ 2626087 w 7945998"/>
              <a:gd name="connsiteY27" fmla="*/ 0 h 7437990"/>
              <a:gd name="connsiteX28" fmla="*/ 2829976 w 7945998"/>
              <a:gd name="connsiteY28" fmla="*/ 186574 h 7437990"/>
              <a:gd name="connsiteX29" fmla="*/ 2829976 w 7945998"/>
              <a:gd name="connsiteY29" fmla="*/ 801765 h 7437990"/>
              <a:gd name="connsiteX30" fmla="*/ 3031146 w 7945998"/>
              <a:gd name="connsiteY30" fmla="*/ 988339 h 7437990"/>
              <a:gd name="connsiteX31" fmla="*/ 3232316 w 7945998"/>
              <a:gd name="connsiteY31" fmla="*/ 801765 h 7437990"/>
              <a:gd name="connsiteX32" fmla="*/ 3232316 w 7945998"/>
              <a:gd name="connsiteY32" fmla="*/ 708478 h 7437990"/>
              <a:gd name="connsiteX33" fmla="*/ 3436204 w 7945998"/>
              <a:gd name="connsiteY33" fmla="*/ 519383 h 7437990"/>
              <a:gd name="connsiteX34" fmla="*/ 3637375 w 7945998"/>
              <a:gd name="connsiteY34" fmla="*/ 708478 h 7437990"/>
              <a:gd name="connsiteX35" fmla="*/ 3637375 w 7945998"/>
              <a:gd name="connsiteY35" fmla="*/ 3288758 h 7437990"/>
              <a:gd name="connsiteX36" fmla="*/ 3637375 w 7945998"/>
              <a:gd name="connsiteY36" fmla="*/ 3409933 h 7437990"/>
              <a:gd name="connsiteX37" fmla="*/ 3647487 w 7945998"/>
              <a:gd name="connsiteY37" fmla="*/ 3408993 h 7437990"/>
              <a:gd name="connsiteX38" fmla="*/ 3650206 w 7945998"/>
              <a:gd name="connsiteY38" fmla="*/ 3408993 h 7437990"/>
              <a:gd name="connsiteX39" fmla="*/ 3657600 w 7945998"/>
              <a:gd name="connsiteY39" fmla="*/ 3408928 h 7437990"/>
              <a:gd name="connsiteX40" fmla="*/ 3657600 w 7945998"/>
              <a:gd name="connsiteY40" fmla="*/ 3334116 h 7437990"/>
              <a:gd name="connsiteX41" fmla="*/ 3657600 w 7945998"/>
              <a:gd name="connsiteY41" fmla="*/ 847148 h 7437990"/>
              <a:gd name="connsiteX42" fmla="*/ 3858770 w 7945998"/>
              <a:gd name="connsiteY42" fmla="*/ 660574 h 7437990"/>
              <a:gd name="connsiteX43" fmla="*/ 3875081 w 7945998"/>
              <a:gd name="connsiteY43" fmla="*/ 660574 h 7437990"/>
              <a:gd name="connsiteX44" fmla="*/ 3964793 w 7945998"/>
              <a:gd name="connsiteY44" fmla="*/ 645446 h 7437990"/>
              <a:gd name="connsiteX45" fmla="*/ 4062659 w 7945998"/>
              <a:gd name="connsiteY45" fmla="*/ 496691 h 7437990"/>
              <a:gd name="connsiteX46" fmla="*/ 4062659 w 7945998"/>
              <a:gd name="connsiteY46" fmla="*/ 239521 h 7437990"/>
              <a:gd name="connsiteX47" fmla="*/ 4263829 w 7945998"/>
              <a:gd name="connsiteY47" fmla="*/ 50426 h 7437990"/>
              <a:gd name="connsiteX48" fmla="*/ 4464999 w 7945998"/>
              <a:gd name="connsiteY48" fmla="*/ 239521 h 7437990"/>
              <a:gd name="connsiteX49" fmla="*/ 4464999 w 7945998"/>
              <a:gd name="connsiteY49" fmla="*/ 635361 h 7437990"/>
              <a:gd name="connsiteX50" fmla="*/ 4562866 w 7945998"/>
              <a:gd name="connsiteY50" fmla="*/ 784116 h 7437990"/>
              <a:gd name="connsiteX51" fmla="*/ 4682480 w 7945998"/>
              <a:gd name="connsiteY51" fmla="*/ 801765 h 7437990"/>
              <a:gd name="connsiteX52" fmla="*/ 4870058 w 7945998"/>
              <a:gd name="connsiteY52" fmla="*/ 988339 h 7437990"/>
              <a:gd name="connsiteX53" fmla="*/ 4870058 w 7945998"/>
              <a:gd name="connsiteY53" fmla="*/ 2064923 h 7437990"/>
              <a:gd name="connsiteX54" fmla="*/ 5071229 w 7945998"/>
              <a:gd name="connsiteY54" fmla="*/ 2254019 h 7437990"/>
              <a:gd name="connsiteX55" fmla="*/ 5275117 w 7945998"/>
              <a:gd name="connsiteY55" fmla="*/ 2064923 h 7437990"/>
              <a:gd name="connsiteX56" fmla="*/ 5275117 w 7945998"/>
              <a:gd name="connsiteY56" fmla="*/ 1737158 h 7437990"/>
              <a:gd name="connsiteX57" fmla="*/ 5476287 w 7945998"/>
              <a:gd name="connsiteY57" fmla="*/ 1550583 h 7437990"/>
              <a:gd name="connsiteX58" fmla="*/ 5479006 w 7945998"/>
              <a:gd name="connsiteY58" fmla="*/ 1550583 h 7437990"/>
              <a:gd name="connsiteX59" fmla="*/ 5579591 w 7945998"/>
              <a:gd name="connsiteY59" fmla="*/ 1535456 h 7437990"/>
              <a:gd name="connsiteX60" fmla="*/ 5677458 w 7945998"/>
              <a:gd name="connsiteY60" fmla="*/ 1386701 h 7437990"/>
              <a:gd name="connsiteX61" fmla="*/ 5677458 w 7945998"/>
              <a:gd name="connsiteY61" fmla="*/ 544595 h 7437990"/>
              <a:gd name="connsiteX62" fmla="*/ 5881347 w 7945998"/>
              <a:gd name="connsiteY62" fmla="*/ 355500 h 7437990"/>
              <a:gd name="connsiteX63" fmla="*/ 5889502 w 7945998"/>
              <a:gd name="connsiteY63" fmla="*/ 355500 h 7437990"/>
              <a:gd name="connsiteX64" fmla="*/ 5987369 w 7945998"/>
              <a:gd name="connsiteY64" fmla="*/ 340372 h 7437990"/>
              <a:gd name="connsiteX65" fmla="*/ 6082516 w 7945998"/>
              <a:gd name="connsiteY65" fmla="*/ 216830 h 7437990"/>
              <a:gd name="connsiteX66" fmla="*/ 6082516 w 7945998"/>
              <a:gd name="connsiteY66" fmla="*/ 186574 h 7437990"/>
              <a:gd name="connsiteX67" fmla="*/ 6283687 w 7945998"/>
              <a:gd name="connsiteY67" fmla="*/ 0 h 7437990"/>
              <a:gd name="connsiteX68" fmla="*/ 6487576 w 7945998"/>
              <a:gd name="connsiteY68" fmla="*/ 186574 h 7437990"/>
              <a:gd name="connsiteX69" fmla="*/ 6487576 w 7945998"/>
              <a:gd name="connsiteY69" fmla="*/ 801765 h 7437990"/>
              <a:gd name="connsiteX70" fmla="*/ 6688746 w 7945998"/>
              <a:gd name="connsiteY70" fmla="*/ 988339 h 7437990"/>
              <a:gd name="connsiteX71" fmla="*/ 6889916 w 7945998"/>
              <a:gd name="connsiteY71" fmla="*/ 801765 h 7437990"/>
              <a:gd name="connsiteX72" fmla="*/ 6889916 w 7945998"/>
              <a:gd name="connsiteY72" fmla="*/ 708478 h 7437990"/>
              <a:gd name="connsiteX73" fmla="*/ 7093804 w 7945998"/>
              <a:gd name="connsiteY73" fmla="*/ 519383 h 7437990"/>
              <a:gd name="connsiteX74" fmla="*/ 7294975 w 7945998"/>
              <a:gd name="connsiteY74" fmla="*/ 708478 h 7437990"/>
              <a:gd name="connsiteX75" fmla="*/ 7294975 w 7945998"/>
              <a:gd name="connsiteY75" fmla="*/ 4175230 h 7437990"/>
              <a:gd name="connsiteX76" fmla="*/ 7093804 w 7945998"/>
              <a:gd name="connsiteY76" fmla="*/ 4361805 h 7437990"/>
              <a:gd name="connsiteX77" fmla="*/ 6889916 w 7945998"/>
              <a:gd name="connsiteY77" fmla="*/ 4175230 h 7437990"/>
              <a:gd name="connsiteX78" fmla="*/ 6889916 w 7945998"/>
              <a:gd name="connsiteY78" fmla="*/ 4197922 h 7437990"/>
              <a:gd name="connsiteX79" fmla="*/ 6688746 w 7945998"/>
              <a:gd name="connsiteY79" fmla="*/ 4011348 h 7437990"/>
              <a:gd name="connsiteX80" fmla="*/ 6487576 w 7945998"/>
              <a:gd name="connsiteY80" fmla="*/ 4197922 h 7437990"/>
              <a:gd name="connsiteX81" fmla="*/ 6487576 w 7945998"/>
              <a:gd name="connsiteY81" fmla="*/ 4273560 h 7437990"/>
              <a:gd name="connsiteX82" fmla="*/ 6283687 w 7945998"/>
              <a:gd name="connsiteY82" fmla="*/ 4460134 h 7437990"/>
              <a:gd name="connsiteX83" fmla="*/ 6141304 w 7945998"/>
              <a:gd name="connsiteY83" fmla="*/ 4405612 h 7437990"/>
              <a:gd name="connsiteX84" fmla="*/ 6115747 w 7945998"/>
              <a:gd name="connsiteY84" fmla="*/ 4370396 h 7437990"/>
              <a:gd name="connsiteX85" fmla="*/ 6112874 w 7945998"/>
              <a:gd name="connsiteY85" fmla="*/ 4396710 h 7437990"/>
              <a:gd name="connsiteX86" fmla="*/ 5904801 w 7945998"/>
              <a:gd name="connsiteY86" fmla="*/ 4553913 h 7437990"/>
              <a:gd name="connsiteX87" fmla="*/ 5695127 w 7945998"/>
              <a:gd name="connsiteY87" fmla="*/ 4357102 h 7437990"/>
              <a:gd name="connsiteX88" fmla="*/ 5695127 w 7945998"/>
              <a:gd name="connsiteY88" fmla="*/ 4239135 h 7437990"/>
              <a:gd name="connsiteX89" fmla="*/ 5693642 w 7945998"/>
              <a:gd name="connsiteY89" fmla="*/ 4241138 h 7437990"/>
              <a:gd name="connsiteX90" fmla="*/ 5677458 w 7945998"/>
              <a:gd name="connsiteY90" fmla="*/ 4313901 h 7437990"/>
              <a:gd name="connsiteX91" fmla="*/ 5677458 w 7945998"/>
              <a:gd name="connsiteY91" fmla="*/ 5393006 h 7437990"/>
              <a:gd name="connsiteX92" fmla="*/ 5476287 w 7945998"/>
              <a:gd name="connsiteY92" fmla="*/ 5579580 h 7437990"/>
              <a:gd name="connsiteX93" fmla="*/ 5466175 w 7945998"/>
              <a:gd name="connsiteY93" fmla="*/ 5578641 h 7437990"/>
              <a:gd name="connsiteX94" fmla="*/ 5466175 w 7945998"/>
              <a:gd name="connsiteY94" fmla="*/ 5718683 h 7437990"/>
              <a:gd name="connsiteX95" fmla="*/ 5466175 w 7945998"/>
              <a:gd name="connsiteY95" fmla="*/ 6033640 h 7437990"/>
              <a:gd name="connsiteX96" fmla="*/ 5265004 w 7945998"/>
              <a:gd name="connsiteY96" fmla="*/ 6220215 h 7437990"/>
              <a:gd name="connsiteX97" fmla="*/ 5061116 w 7945998"/>
              <a:gd name="connsiteY97" fmla="*/ 6033640 h 7437990"/>
              <a:gd name="connsiteX98" fmla="*/ 5061116 w 7945998"/>
              <a:gd name="connsiteY98" fmla="*/ 6056332 h 7437990"/>
              <a:gd name="connsiteX99" fmla="*/ 4859946 w 7945998"/>
              <a:gd name="connsiteY99" fmla="*/ 5869758 h 7437990"/>
              <a:gd name="connsiteX100" fmla="*/ 4658776 w 7945998"/>
              <a:gd name="connsiteY100" fmla="*/ 6056332 h 7437990"/>
              <a:gd name="connsiteX101" fmla="*/ 4658776 w 7945998"/>
              <a:gd name="connsiteY101" fmla="*/ 6131970 h 7437990"/>
              <a:gd name="connsiteX102" fmla="*/ 4454887 w 7945998"/>
              <a:gd name="connsiteY102" fmla="*/ 6318544 h 7437990"/>
              <a:gd name="connsiteX103" fmla="*/ 4253716 w 7945998"/>
              <a:gd name="connsiteY103" fmla="*/ 6131970 h 7437990"/>
              <a:gd name="connsiteX104" fmla="*/ 4253716 w 7945998"/>
              <a:gd name="connsiteY104" fmla="*/ 6172311 h 7437990"/>
              <a:gd name="connsiteX105" fmla="*/ 4052547 w 7945998"/>
              <a:gd name="connsiteY105" fmla="*/ 5985736 h 7437990"/>
              <a:gd name="connsiteX106" fmla="*/ 3848658 w 7945998"/>
              <a:gd name="connsiteY106" fmla="*/ 6172311 h 7437990"/>
              <a:gd name="connsiteX107" fmla="*/ 3848658 w 7945998"/>
              <a:gd name="connsiteY107" fmla="*/ 7251416 h 7437990"/>
              <a:gd name="connsiteX108" fmla="*/ 3647487 w 7945998"/>
              <a:gd name="connsiteY108" fmla="*/ 7437990 h 7437990"/>
              <a:gd name="connsiteX109" fmla="*/ 3446317 w 7945998"/>
              <a:gd name="connsiteY109" fmla="*/ 7251416 h 7437990"/>
              <a:gd name="connsiteX110" fmla="*/ 3446317 w 7945998"/>
              <a:gd name="connsiteY110" fmla="*/ 5940353 h 7437990"/>
              <a:gd name="connsiteX111" fmla="*/ 3242429 w 7945998"/>
              <a:gd name="connsiteY111" fmla="*/ 5751258 h 7437990"/>
              <a:gd name="connsiteX112" fmla="*/ 3041258 w 7945998"/>
              <a:gd name="connsiteY112" fmla="*/ 5940353 h 7437990"/>
              <a:gd name="connsiteX113" fmla="*/ 3041258 w 7945998"/>
              <a:gd name="connsiteY113" fmla="*/ 6502597 h 7437990"/>
              <a:gd name="connsiteX114" fmla="*/ 2840088 w 7945998"/>
              <a:gd name="connsiteY114" fmla="*/ 6689172 h 7437990"/>
              <a:gd name="connsiteX115" fmla="*/ 2636199 w 7945998"/>
              <a:gd name="connsiteY115" fmla="*/ 6502597 h 7437990"/>
              <a:gd name="connsiteX116" fmla="*/ 2636199 w 7945998"/>
              <a:gd name="connsiteY116" fmla="*/ 5869758 h 7437990"/>
              <a:gd name="connsiteX117" fmla="*/ 2435029 w 7945998"/>
              <a:gd name="connsiteY117" fmla="*/ 5680662 h 7437990"/>
              <a:gd name="connsiteX118" fmla="*/ 2233859 w 7945998"/>
              <a:gd name="connsiteY118" fmla="*/ 5869758 h 7437990"/>
              <a:gd name="connsiteX119" fmla="*/ 2233859 w 7945998"/>
              <a:gd name="connsiteY119" fmla="*/ 6172311 h 7437990"/>
              <a:gd name="connsiteX120" fmla="*/ 2029970 w 7945998"/>
              <a:gd name="connsiteY120" fmla="*/ 6361406 h 7437990"/>
              <a:gd name="connsiteX121" fmla="*/ 1828800 w 7945998"/>
              <a:gd name="connsiteY121" fmla="*/ 6172311 h 7437990"/>
              <a:gd name="connsiteX122" fmla="*/ 1828800 w 7945998"/>
              <a:gd name="connsiteY122" fmla="*/ 5652531 h 7437990"/>
              <a:gd name="connsiteX123" fmla="*/ 1828800 w 7945998"/>
              <a:gd name="connsiteY123" fmla="*/ 5578640 h 7437990"/>
              <a:gd name="connsiteX124" fmla="*/ 1818687 w 7945998"/>
              <a:gd name="connsiteY124" fmla="*/ 5579580 h 7437990"/>
              <a:gd name="connsiteX125" fmla="*/ 1617517 w 7945998"/>
              <a:gd name="connsiteY125" fmla="*/ 5393006 h 7437990"/>
              <a:gd name="connsiteX126" fmla="*/ 1617517 w 7945998"/>
              <a:gd name="connsiteY126" fmla="*/ 4081943 h 7437990"/>
              <a:gd name="connsiteX127" fmla="*/ 1413629 w 7945998"/>
              <a:gd name="connsiteY127" fmla="*/ 3892848 h 7437990"/>
              <a:gd name="connsiteX128" fmla="*/ 1212458 w 7945998"/>
              <a:gd name="connsiteY128" fmla="*/ 4081943 h 7437990"/>
              <a:gd name="connsiteX129" fmla="*/ 1212458 w 7945998"/>
              <a:gd name="connsiteY129" fmla="*/ 4644187 h 7437990"/>
              <a:gd name="connsiteX130" fmla="*/ 1011288 w 7945998"/>
              <a:gd name="connsiteY130" fmla="*/ 4830762 h 7437990"/>
              <a:gd name="connsiteX131" fmla="*/ 807399 w 7945998"/>
              <a:gd name="connsiteY131" fmla="*/ 4644187 h 7437990"/>
              <a:gd name="connsiteX132" fmla="*/ 807399 w 7945998"/>
              <a:gd name="connsiteY132" fmla="*/ 4011348 h 7437990"/>
              <a:gd name="connsiteX133" fmla="*/ 606229 w 7945998"/>
              <a:gd name="connsiteY133" fmla="*/ 3822252 h 7437990"/>
              <a:gd name="connsiteX134" fmla="*/ 405059 w 7945998"/>
              <a:gd name="connsiteY134" fmla="*/ 4011348 h 7437990"/>
              <a:gd name="connsiteX135" fmla="*/ 405059 w 7945998"/>
              <a:gd name="connsiteY135" fmla="*/ 4313901 h 7437990"/>
              <a:gd name="connsiteX136" fmla="*/ 201170 w 7945998"/>
              <a:gd name="connsiteY136" fmla="*/ 4502996 h 7437990"/>
              <a:gd name="connsiteX137" fmla="*/ 0 w 7945998"/>
              <a:gd name="connsiteY137" fmla="*/ 4313901 h 7437990"/>
              <a:gd name="connsiteX138" fmla="*/ 0 w 7945998"/>
              <a:gd name="connsiteY138" fmla="*/ 847148 h 7437990"/>
              <a:gd name="connsiteX139" fmla="*/ 201170 w 7945998"/>
              <a:gd name="connsiteY139" fmla="*/ 660574 h 7437990"/>
              <a:gd name="connsiteX140" fmla="*/ 217481 w 7945998"/>
              <a:gd name="connsiteY140" fmla="*/ 660574 h 7437990"/>
              <a:gd name="connsiteX141" fmla="*/ 307193 w 7945998"/>
              <a:gd name="connsiteY141" fmla="*/ 645446 h 7437990"/>
              <a:gd name="connsiteX142" fmla="*/ 405059 w 7945998"/>
              <a:gd name="connsiteY142" fmla="*/ 496691 h 7437990"/>
              <a:gd name="connsiteX143" fmla="*/ 405059 w 7945998"/>
              <a:gd name="connsiteY143" fmla="*/ 239521 h 7437990"/>
              <a:gd name="connsiteX144" fmla="*/ 606229 w 7945998"/>
              <a:gd name="connsiteY144" fmla="*/ 50426 h 7437990"/>
              <a:gd name="connsiteX145" fmla="*/ 807399 w 7945998"/>
              <a:gd name="connsiteY145" fmla="*/ 239521 h 7437990"/>
              <a:gd name="connsiteX146" fmla="*/ 807399 w 7945998"/>
              <a:gd name="connsiteY146" fmla="*/ 635361 h 7437990"/>
              <a:gd name="connsiteX147" fmla="*/ 905266 w 7945998"/>
              <a:gd name="connsiteY147" fmla="*/ 784116 h 7437990"/>
              <a:gd name="connsiteX148" fmla="*/ 1024880 w 7945998"/>
              <a:gd name="connsiteY148" fmla="*/ 801765 h 7437990"/>
              <a:gd name="connsiteX149" fmla="*/ 1212458 w 7945998"/>
              <a:gd name="connsiteY149" fmla="*/ 988339 h 7437990"/>
              <a:gd name="connsiteX150" fmla="*/ 1212458 w 7945998"/>
              <a:gd name="connsiteY150" fmla="*/ 2064923 h 7437990"/>
              <a:gd name="connsiteX151" fmla="*/ 1413629 w 7945998"/>
              <a:gd name="connsiteY151" fmla="*/ 2254019 h 7437990"/>
              <a:gd name="connsiteX152" fmla="*/ 1617517 w 7945998"/>
              <a:gd name="connsiteY152" fmla="*/ 2064923 h 7437990"/>
              <a:gd name="connsiteX153" fmla="*/ 1617517 w 7945998"/>
              <a:gd name="connsiteY153" fmla="*/ 1737158 h 7437990"/>
              <a:gd name="connsiteX154" fmla="*/ 1818687 w 7945998"/>
              <a:gd name="connsiteY154" fmla="*/ 1550583 h 7437990"/>
              <a:gd name="connsiteX155" fmla="*/ 1821406 w 7945998"/>
              <a:gd name="connsiteY155" fmla="*/ 1550583 h 7437990"/>
              <a:gd name="connsiteX156" fmla="*/ 1921991 w 7945998"/>
              <a:gd name="connsiteY156" fmla="*/ 1535456 h 7437990"/>
              <a:gd name="connsiteX157" fmla="*/ 2019858 w 7945998"/>
              <a:gd name="connsiteY157" fmla="*/ 1386701 h 7437990"/>
              <a:gd name="connsiteX158" fmla="*/ 2019858 w 7945998"/>
              <a:gd name="connsiteY158" fmla="*/ 544595 h 7437990"/>
              <a:gd name="connsiteX159" fmla="*/ 2223747 w 7945998"/>
              <a:gd name="connsiteY159" fmla="*/ 355500 h 7437990"/>
              <a:gd name="connsiteX160" fmla="*/ 2231902 w 7945998"/>
              <a:gd name="connsiteY160" fmla="*/ 355500 h 7437990"/>
              <a:gd name="connsiteX161" fmla="*/ 2329769 w 7945998"/>
              <a:gd name="connsiteY161" fmla="*/ 340372 h 7437990"/>
              <a:gd name="connsiteX162" fmla="*/ 2424916 w 7945998"/>
              <a:gd name="connsiteY162" fmla="*/ 216830 h 7437990"/>
              <a:gd name="connsiteX163" fmla="*/ 2424916 w 7945998"/>
              <a:gd name="connsiteY163" fmla="*/ 186574 h 7437990"/>
              <a:gd name="connsiteX164" fmla="*/ 2626087 w 7945998"/>
              <a:gd name="connsiteY164" fmla="*/ 0 h 743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7945998" h="7437990">
                <a:moveTo>
                  <a:pt x="5904801" y="5437624"/>
                </a:moveTo>
                <a:cubicBezTo>
                  <a:pt x="6021892" y="5437624"/>
                  <a:pt x="6117198" y="5525923"/>
                  <a:pt x="6117198" y="5634404"/>
                </a:cubicBezTo>
                <a:cubicBezTo>
                  <a:pt x="6117198" y="7150621"/>
                  <a:pt x="6117198" y="7150621"/>
                  <a:pt x="6117198" y="7150621"/>
                </a:cubicBezTo>
                <a:cubicBezTo>
                  <a:pt x="6117198" y="7259102"/>
                  <a:pt x="6021892" y="7347401"/>
                  <a:pt x="5904801" y="7347401"/>
                </a:cubicBezTo>
                <a:cubicBezTo>
                  <a:pt x="5787711" y="7347401"/>
                  <a:pt x="5695127" y="7259102"/>
                  <a:pt x="5695127" y="7150621"/>
                </a:cubicBezTo>
                <a:cubicBezTo>
                  <a:pt x="5695127" y="5634404"/>
                  <a:pt x="5695127" y="5634404"/>
                  <a:pt x="5695127" y="5634404"/>
                </a:cubicBezTo>
                <a:cubicBezTo>
                  <a:pt x="5695127" y="5525923"/>
                  <a:pt x="5787711" y="5437624"/>
                  <a:pt x="5904801" y="5437624"/>
                </a:cubicBezTo>
                <a:close/>
                <a:moveTo>
                  <a:pt x="3069455" y="4014908"/>
                </a:moveTo>
                <a:lnTo>
                  <a:pt x="3100046" y="4057591"/>
                </a:lnTo>
                <a:cubicBezTo>
                  <a:pt x="3127317" y="4083119"/>
                  <a:pt x="3162424" y="4101202"/>
                  <a:pt x="3201784" y="4108647"/>
                </a:cubicBezTo>
                <a:lnTo>
                  <a:pt x="3204775" y="4108926"/>
                </a:lnTo>
                <a:lnTo>
                  <a:pt x="3173529" y="4065871"/>
                </a:lnTo>
                <a:cubicBezTo>
                  <a:pt x="3146258" y="4040579"/>
                  <a:pt x="3111151" y="4022556"/>
                  <a:pt x="3071791" y="4015125"/>
                </a:cubicBezTo>
                <a:close/>
                <a:moveTo>
                  <a:pt x="7733601" y="3579214"/>
                </a:moveTo>
                <a:cubicBezTo>
                  <a:pt x="7850692" y="3579214"/>
                  <a:pt x="7945998" y="3667513"/>
                  <a:pt x="7945998" y="3775994"/>
                </a:cubicBezTo>
                <a:cubicBezTo>
                  <a:pt x="7945998" y="5292211"/>
                  <a:pt x="7945998" y="5292211"/>
                  <a:pt x="7945998" y="5292211"/>
                </a:cubicBezTo>
                <a:cubicBezTo>
                  <a:pt x="7945998" y="5400692"/>
                  <a:pt x="7850692" y="5488991"/>
                  <a:pt x="7733601" y="5488991"/>
                </a:cubicBezTo>
                <a:cubicBezTo>
                  <a:pt x="7616511" y="5488991"/>
                  <a:pt x="7523927" y="5400692"/>
                  <a:pt x="7523927" y="5292211"/>
                </a:cubicBezTo>
                <a:cubicBezTo>
                  <a:pt x="7523927" y="3775994"/>
                  <a:pt x="7523927" y="3775994"/>
                  <a:pt x="7523927" y="3775994"/>
                </a:cubicBezTo>
                <a:cubicBezTo>
                  <a:pt x="7523927" y="3667513"/>
                  <a:pt x="7616511" y="3579214"/>
                  <a:pt x="7733601" y="3579214"/>
                </a:cubicBezTo>
                <a:close/>
                <a:moveTo>
                  <a:pt x="7733601" y="1519687"/>
                </a:moveTo>
                <a:cubicBezTo>
                  <a:pt x="7850692" y="1519687"/>
                  <a:pt x="7945998" y="1607999"/>
                  <a:pt x="7945998" y="1716497"/>
                </a:cubicBezTo>
                <a:cubicBezTo>
                  <a:pt x="7945998" y="2498692"/>
                  <a:pt x="7945998" y="2498692"/>
                  <a:pt x="7945998" y="2498692"/>
                </a:cubicBezTo>
                <a:cubicBezTo>
                  <a:pt x="7945998" y="2607190"/>
                  <a:pt x="7850692" y="2695503"/>
                  <a:pt x="7733601" y="2695503"/>
                </a:cubicBezTo>
                <a:cubicBezTo>
                  <a:pt x="7616511" y="2695503"/>
                  <a:pt x="7523927" y="2607190"/>
                  <a:pt x="7523927" y="2498692"/>
                </a:cubicBezTo>
                <a:cubicBezTo>
                  <a:pt x="7523927" y="1716497"/>
                  <a:pt x="7523927" y="1716497"/>
                  <a:pt x="7523927" y="1716497"/>
                </a:cubicBezTo>
                <a:cubicBezTo>
                  <a:pt x="7523927" y="1607999"/>
                  <a:pt x="7616511" y="1519687"/>
                  <a:pt x="7733601" y="1519687"/>
                </a:cubicBezTo>
                <a:close/>
                <a:moveTo>
                  <a:pt x="2626087" y="0"/>
                </a:moveTo>
                <a:cubicBezTo>
                  <a:pt x="2737546" y="0"/>
                  <a:pt x="2829976" y="83202"/>
                  <a:pt x="2829976" y="186574"/>
                </a:cubicBezTo>
                <a:cubicBezTo>
                  <a:pt x="2829976" y="186574"/>
                  <a:pt x="2829976" y="186574"/>
                  <a:pt x="2829976" y="801765"/>
                </a:cubicBezTo>
                <a:cubicBezTo>
                  <a:pt x="2829976" y="905137"/>
                  <a:pt x="2919686" y="988339"/>
                  <a:pt x="3031146" y="988339"/>
                </a:cubicBezTo>
                <a:cubicBezTo>
                  <a:pt x="3142605" y="988339"/>
                  <a:pt x="3232316" y="905137"/>
                  <a:pt x="3232316" y="801765"/>
                </a:cubicBezTo>
                <a:cubicBezTo>
                  <a:pt x="3232316" y="801765"/>
                  <a:pt x="3232316" y="801765"/>
                  <a:pt x="3232316" y="708478"/>
                </a:cubicBezTo>
                <a:cubicBezTo>
                  <a:pt x="3232316" y="602585"/>
                  <a:pt x="3324745" y="519383"/>
                  <a:pt x="3436204" y="519383"/>
                </a:cubicBezTo>
                <a:cubicBezTo>
                  <a:pt x="3547663" y="519383"/>
                  <a:pt x="3637375" y="602585"/>
                  <a:pt x="3637375" y="708478"/>
                </a:cubicBezTo>
                <a:cubicBezTo>
                  <a:pt x="3637375" y="708478"/>
                  <a:pt x="3637375" y="708478"/>
                  <a:pt x="3637375" y="3288758"/>
                </a:cubicBezTo>
                <a:lnTo>
                  <a:pt x="3637375" y="3409933"/>
                </a:lnTo>
                <a:lnTo>
                  <a:pt x="3647487" y="3408993"/>
                </a:lnTo>
                <a:cubicBezTo>
                  <a:pt x="3647487" y="3408993"/>
                  <a:pt x="3650206" y="3408993"/>
                  <a:pt x="3650206" y="3408993"/>
                </a:cubicBezTo>
                <a:lnTo>
                  <a:pt x="3657600" y="3408928"/>
                </a:lnTo>
                <a:lnTo>
                  <a:pt x="3657600" y="3334116"/>
                </a:lnTo>
                <a:cubicBezTo>
                  <a:pt x="3657600" y="2820895"/>
                  <a:pt x="3657600" y="2038845"/>
                  <a:pt x="3657600" y="847148"/>
                </a:cubicBezTo>
                <a:cubicBezTo>
                  <a:pt x="3657600" y="743776"/>
                  <a:pt x="3747312" y="660574"/>
                  <a:pt x="3858770" y="660574"/>
                </a:cubicBezTo>
                <a:cubicBezTo>
                  <a:pt x="3864207" y="660574"/>
                  <a:pt x="3869644" y="660574"/>
                  <a:pt x="3875081" y="660574"/>
                </a:cubicBezTo>
                <a:cubicBezTo>
                  <a:pt x="3907703" y="660574"/>
                  <a:pt x="3924015" y="658053"/>
                  <a:pt x="3964793" y="645446"/>
                </a:cubicBezTo>
                <a:cubicBezTo>
                  <a:pt x="3997415" y="632840"/>
                  <a:pt x="4057222" y="597542"/>
                  <a:pt x="4062659" y="496691"/>
                </a:cubicBezTo>
                <a:cubicBezTo>
                  <a:pt x="4062659" y="496691"/>
                  <a:pt x="4062659" y="496691"/>
                  <a:pt x="4062659" y="239521"/>
                </a:cubicBezTo>
                <a:cubicBezTo>
                  <a:pt x="4062659" y="136149"/>
                  <a:pt x="4152370" y="50426"/>
                  <a:pt x="4263829" y="50426"/>
                </a:cubicBezTo>
                <a:cubicBezTo>
                  <a:pt x="4375289" y="50426"/>
                  <a:pt x="4464999" y="136149"/>
                  <a:pt x="4464999" y="239521"/>
                </a:cubicBezTo>
                <a:cubicBezTo>
                  <a:pt x="4464999" y="239521"/>
                  <a:pt x="4464999" y="239521"/>
                  <a:pt x="4464999" y="635361"/>
                </a:cubicBezTo>
                <a:cubicBezTo>
                  <a:pt x="4470436" y="736212"/>
                  <a:pt x="4530244" y="771510"/>
                  <a:pt x="4562866" y="784116"/>
                </a:cubicBezTo>
                <a:cubicBezTo>
                  <a:pt x="4614517" y="801765"/>
                  <a:pt x="4628110" y="799244"/>
                  <a:pt x="4682480" y="801765"/>
                </a:cubicBezTo>
                <a:cubicBezTo>
                  <a:pt x="4785784" y="809329"/>
                  <a:pt x="4870058" y="890010"/>
                  <a:pt x="4870058" y="988339"/>
                </a:cubicBezTo>
                <a:cubicBezTo>
                  <a:pt x="4870058" y="988339"/>
                  <a:pt x="4870058" y="988339"/>
                  <a:pt x="4870058" y="2064923"/>
                </a:cubicBezTo>
                <a:cubicBezTo>
                  <a:pt x="4870058" y="2170817"/>
                  <a:pt x="4959769" y="2254019"/>
                  <a:pt x="5071229" y="2254019"/>
                </a:cubicBezTo>
                <a:cubicBezTo>
                  <a:pt x="5182688" y="2254019"/>
                  <a:pt x="5275117" y="2170817"/>
                  <a:pt x="5275117" y="2064923"/>
                </a:cubicBezTo>
                <a:cubicBezTo>
                  <a:pt x="5275117" y="2064923"/>
                  <a:pt x="5275117" y="2064923"/>
                  <a:pt x="5275117" y="1737158"/>
                </a:cubicBezTo>
                <a:cubicBezTo>
                  <a:pt x="5275117" y="1633786"/>
                  <a:pt x="5364828" y="1550583"/>
                  <a:pt x="5476287" y="1550583"/>
                </a:cubicBezTo>
                <a:cubicBezTo>
                  <a:pt x="5476287" y="1550583"/>
                  <a:pt x="5479006" y="1550583"/>
                  <a:pt x="5479006" y="1550583"/>
                </a:cubicBezTo>
                <a:cubicBezTo>
                  <a:pt x="5519783" y="1550583"/>
                  <a:pt x="5536095" y="1550583"/>
                  <a:pt x="5579591" y="1535456"/>
                </a:cubicBezTo>
                <a:cubicBezTo>
                  <a:pt x="5614932" y="1522849"/>
                  <a:pt x="5674739" y="1487552"/>
                  <a:pt x="5677458" y="1386701"/>
                </a:cubicBezTo>
                <a:lnTo>
                  <a:pt x="5677458" y="544595"/>
                </a:lnTo>
                <a:cubicBezTo>
                  <a:pt x="5677458" y="438702"/>
                  <a:pt x="5769887" y="355500"/>
                  <a:pt x="5881347" y="355500"/>
                </a:cubicBezTo>
                <a:cubicBezTo>
                  <a:pt x="5884065" y="355500"/>
                  <a:pt x="5886784" y="355500"/>
                  <a:pt x="5889502" y="355500"/>
                </a:cubicBezTo>
                <a:cubicBezTo>
                  <a:pt x="5927561" y="355500"/>
                  <a:pt x="5943872" y="355500"/>
                  <a:pt x="5987369" y="340372"/>
                </a:cubicBezTo>
                <a:cubicBezTo>
                  <a:pt x="6017272" y="330287"/>
                  <a:pt x="6071642" y="297510"/>
                  <a:pt x="6082516" y="216830"/>
                </a:cubicBezTo>
                <a:cubicBezTo>
                  <a:pt x="6082516" y="216830"/>
                  <a:pt x="6082516" y="216830"/>
                  <a:pt x="6082516" y="186574"/>
                </a:cubicBezTo>
                <a:cubicBezTo>
                  <a:pt x="6082516" y="83202"/>
                  <a:pt x="6172228" y="0"/>
                  <a:pt x="6283687" y="0"/>
                </a:cubicBezTo>
                <a:cubicBezTo>
                  <a:pt x="6395146" y="0"/>
                  <a:pt x="6487576" y="83202"/>
                  <a:pt x="6487576" y="186574"/>
                </a:cubicBezTo>
                <a:cubicBezTo>
                  <a:pt x="6487576" y="186574"/>
                  <a:pt x="6487576" y="186574"/>
                  <a:pt x="6487576" y="801765"/>
                </a:cubicBezTo>
                <a:cubicBezTo>
                  <a:pt x="6487576" y="905137"/>
                  <a:pt x="6577286" y="988339"/>
                  <a:pt x="6688746" y="988339"/>
                </a:cubicBezTo>
                <a:cubicBezTo>
                  <a:pt x="6800205" y="988339"/>
                  <a:pt x="6889916" y="905137"/>
                  <a:pt x="6889916" y="801765"/>
                </a:cubicBezTo>
                <a:cubicBezTo>
                  <a:pt x="6889916" y="801765"/>
                  <a:pt x="6889916" y="801765"/>
                  <a:pt x="6889916" y="708478"/>
                </a:cubicBezTo>
                <a:cubicBezTo>
                  <a:pt x="6889916" y="602585"/>
                  <a:pt x="6982345" y="519383"/>
                  <a:pt x="7093804" y="519383"/>
                </a:cubicBezTo>
                <a:cubicBezTo>
                  <a:pt x="7205263" y="519383"/>
                  <a:pt x="7294975" y="602585"/>
                  <a:pt x="7294975" y="708478"/>
                </a:cubicBezTo>
                <a:cubicBezTo>
                  <a:pt x="7294975" y="708478"/>
                  <a:pt x="7294975" y="708478"/>
                  <a:pt x="7294975" y="4175230"/>
                </a:cubicBezTo>
                <a:cubicBezTo>
                  <a:pt x="7294975" y="4278603"/>
                  <a:pt x="7205263" y="4361805"/>
                  <a:pt x="7093804" y="4361805"/>
                </a:cubicBezTo>
                <a:cubicBezTo>
                  <a:pt x="6982345" y="4361805"/>
                  <a:pt x="6889916" y="4278603"/>
                  <a:pt x="6889916" y="4175230"/>
                </a:cubicBezTo>
                <a:cubicBezTo>
                  <a:pt x="6889916" y="4175230"/>
                  <a:pt x="6889916" y="4175230"/>
                  <a:pt x="6889916" y="4197922"/>
                </a:cubicBezTo>
                <a:cubicBezTo>
                  <a:pt x="6889916" y="4094550"/>
                  <a:pt x="6800205" y="4011348"/>
                  <a:pt x="6688746" y="4011348"/>
                </a:cubicBezTo>
                <a:cubicBezTo>
                  <a:pt x="6577286" y="4011348"/>
                  <a:pt x="6487576" y="4094550"/>
                  <a:pt x="6487576" y="4197922"/>
                </a:cubicBezTo>
                <a:cubicBezTo>
                  <a:pt x="6487576" y="4197922"/>
                  <a:pt x="6487576" y="4197922"/>
                  <a:pt x="6487576" y="4273560"/>
                </a:cubicBezTo>
                <a:cubicBezTo>
                  <a:pt x="6487576" y="4376932"/>
                  <a:pt x="6395146" y="4460134"/>
                  <a:pt x="6283687" y="4460134"/>
                </a:cubicBezTo>
                <a:cubicBezTo>
                  <a:pt x="6227958" y="4460134"/>
                  <a:pt x="6177665" y="4439334"/>
                  <a:pt x="6141304" y="4405612"/>
                </a:cubicBezTo>
                <a:lnTo>
                  <a:pt x="6115747" y="4370396"/>
                </a:lnTo>
                <a:lnTo>
                  <a:pt x="6112874" y="4396710"/>
                </a:lnTo>
                <a:cubicBezTo>
                  <a:pt x="6093031" y="4486299"/>
                  <a:pt x="6007256" y="4553913"/>
                  <a:pt x="5904801" y="4553913"/>
                </a:cubicBezTo>
                <a:cubicBezTo>
                  <a:pt x="5787711" y="4553913"/>
                  <a:pt x="5695127" y="4465600"/>
                  <a:pt x="5695127" y="4357102"/>
                </a:cubicBezTo>
                <a:lnTo>
                  <a:pt x="5695127" y="4239135"/>
                </a:lnTo>
                <a:lnTo>
                  <a:pt x="5693642" y="4241138"/>
                </a:lnTo>
                <a:cubicBezTo>
                  <a:pt x="5683235" y="4263475"/>
                  <a:pt x="5677458" y="4288058"/>
                  <a:pt x="5677458" y="4313901"/>
                </a:cubicBezTo>
                <a:cubicBezTo>
                  <a:pt x="5677458" y="4313901"/>
                  <a:pt x="5677458" y="4313901"/>
                  <a:pt x="5677458" y="5393006"/>
                </a:cubicBezTo>
                <a:cubicBezTo>
                  <a:pt x="5677458" y="5496378"/>
                  <a:pt x="5587746" y="5579580"/>
                  <a:pt x="5476287" y="5579580"/>
                </a:cubicBezTo>
                <a:lnTo>
                  <a:pt x="5466175" y="5578641"/>
                </a:lnTo>
                <a:lnTo>
                  <a:pt x="5466175" y="5718683"/>
                </a:lnTo>
                <a:cubicBezTo>
                  <a:pt x="5466175" y="5820354"/>
                  <a:pt x="5466175" y="5925304"/>
                  <a:pt x="5466175" y="6033640"/>
                </a:cubicBezTo>
                <a:cubicBezTo>
                  <a:pt x="5466175" y="6137013"/>
                  <a:pt x="5376463" y="6220215"/>
                  <a:pt x="5265004" y="6220215"/>
                </a:cubicBezTo>
                <a:cubicBezTo>
                  <a:pt x="5153545" y="6220215"/>
                  <a:pt x="5061116" y="6137013"/>
                  <a:pt x="5061116" y="6033640"/>
                </a:cubicBezTo>
                <a:cubicBezTo>
                  <a:pt x="5061116" y="6033640"/>
                  <a:pt x="5061116" y="6033640"/>
                  <a:pt x="5061116" y="6056332"/>
                </a:cubicBezTo>
                <a:cubicBezTo>
                  <a:pt x="5061116" y="5952960"/>
                  <a:pt x="4971405" y="5869758"/>
                  <a:pt x="4859946" y="5869758"/>
                </a:cubicBezTo>
                <a:cubicBezTo>
                  <a:pt x="4748486" y="5869758"/>
                  <a:pt x="4658776" y="5952960"/>
                  <a:pt x="4658776" y="6056332"/>
                </a:cubicBezTo>
                <a:cubicBezTo>
                  <a:pt x="4658776" y="6056332"/>
                  <a:pt x="4658776" y="6056332"/>
                  <a:pt x="4658776" y="6131970"/>
                </a:cubicBezTo>
                <a:cubicBezTo>
                  <a:pt x="4658776" y="6235342"/>
                  <a:pt x="4566346" y="6318544"/>
                  <a:pt x="4454887" y="6318544"/>
                </a:cubicBezTo>
                <a:cubicBezTo>
                  <a:pt x="4343428" y="6318544"/>
                  <a:pt x="4253716" y="6235342"/>
                  <a:pt x="4253716" y="6131970"/>
                </a:cubicBezTo>
                <a:cubicBezTo>
                  <a:pt x="4253716" y="6131970"/>
                  <a:pt x="4253716" y="6131970"/>
                  <a:pt x="4253716" y="6172311"/>
                </a:cubicBezTo>
                <a:cubicBezTo>
                  <a:pt x="4253716" y="6068938"/>
                  <a:pt x="4164006" y="5985736"/>
                  <a:pt x="4052547" y="5985736"/>
                </a:cubicBezTo>
                <a:cubicBezTo>
                  <a:pt x="3941087" y="5985736"/>
                  <a:pt x="3848658" y="6068938"/>
                  <a:pt x="3848658" y="6172311"/>
                </a:cubicBezTo>
                <a:cubicBezTo>
                  <a:pt x="3848658" y="6172311"/>
                  <a:pt x="3848658" y="6172311"/>
                  <a:pt x="3848658" y="7251416"/>
                </a:cubicBezTo>
                <a:cubicBezTo>
                  <a:pt x="3848658" y="7354788"/>
                  <a:pt x="3758946" y="7437990"/>
                  <a:pt x="3647487" y="7437990"/>
                </a:cubicBezTo>
                <a:cubicBezTo>
                  <a:pt x="3536028" y="7437990"/>
                  <a:pt x="3446317" y="7354788"/>
                  <a:pt x="3446317" y="7251416"/>
                </a:cubicBezTo>
                <a:cubicBezTo>
                  <a:pt x="3446317" y="7251416"/>
                  <a:pt x="3446317" y="7251416"/>
                  <a:pt x="3446317" y="5940353"/>
                </a:cubicBezTo>
                <a:cubicBezTo>
                  <a:pt x="3446317" y="5836981"/>
                  <a:pt x="3353888" y="5751258"/>
                  <a:pt x="3242429" y="5751258"/>
                </a:cubicBezTo>
                <a:cubicBezTo>
                  <a:pt x="3130969" y="5751258"/>
                  <a:pt x="3041258" y="5836981"/>
                  <a:pt x="3041258" y="5940353"/>
                </a:cubicBezTo>
                <a:cubicBezTo>
                  <a:pt x="3041258" y="5940353"/>
                  <a:pt x="3041258" y="5940353"/>
                  <a:pt x="3041258" y="6502597"/>
                </a:cubicBezTo>
                <a:cubicBezTo>
                  <a:pt x="3041258" y="6605970"/>
                  <a:pt x="2951547" y="6689172"/>
                  <a:pt x="2840088" y="6689172"/>
                </a:cubicBezTo>
                <a:cubicBezTo>
                  <a:pt x="2728629" y="6689172"/>
                  <a:pt x="2636199" y="6605970"/>
                  <a:pt x="2636199" y="6502597"/>
                </a:cubicBezTo>
                <a:cubicBezTo>
                  <a:pt x="2636199" y="6502597"/>
                  <a:pt x="2636199" y="6502597"/>
                  <a:pt x="2636199" y="5869758"/>
                </a:cubicBezTo>
                <a:cubicBezTo>
                  <a:pt x="2636199" y="5766385"/>
                  <a:pt x="2546489" y="5680662"/>
                  <a:pt x="2435029" y="5680662"/>
                </a:cubicBezTo>
                <a:cubicBezTo>
                  <a:pt x="2323570" y="5680662"/>
                  <a:pt x="2233859" y="5766385"/>
                  <a:pt x="2233859" y="5869758"/>
                </a:cubicBezTo>
                <a:cubicBezTo>
                  <a:pt x="2233859" y="5869758"/>
                  <a:pt x="2233859" y="5869758"/>
                  <a:pt x="2233859" y="6172311"/>
                </a:cubicBezTo>
                <a:cubicBezTo>
                  <a:pt x="2233859" y="6278204"/>
                  <a:pt x="2141430" y="6361406"/>
                  <a:pt x="2029970" y="6361406"/>
                </a:cubicBezTo>
                <a:cubicBezTo>
                  <a:pt x="1918512" y="6361406"/>
                  <a:pt x="1828800" y="6278204"/>
                  <a:pt x="1828800" y="6172311"/>
                </a:cubicBezTo>
                <a:cubicBezTo>
                  <a:pt x="1828800" y="6172311"/>
                  <a:pt x="1828800" y="6172311"/>
                  <a:pt x="1828800" y="5652531"/>
                </a:cubicBezTo>
                <a:lnTo>
                  <a:pt x="1828800" y="5578640"/>
                </a:lnTo>
                <a:lnTo>
                  <a:pt x="1818687" y="5579580"/>
                </a:lnTo>
                <a:cubicBezTo>
                  <a:pt x="1707228" y="5579580"/>
                  <a:pt x="1617517" y="5496378"/>
                  <a:pt x="1617517" y="5393006"/>
                </a:cubicBezTo>
                <a:cubicBezTo>
                  <a:pt x="1617517" y="5393006"/>
                  <a:pt x="1617517" y="5393006"/>
                  <a:pt x="1617517" y="4081943"/>
                </a:cubicBezTo>
                <a:cubicBezTo>
                  <a:pt x="1617517" y="3978571"/>
                  <a:pt x="1525088" y="3892848"/>
                  <a:pt x="1413629" y="3892848"/>
                </a:cubicBezTo>
                <a:cubicBezTo>
                  <a:pt x="1302169" y="3892848"/>
                  <a:pt x="1212458" y="3978571"/>
                  <a:pt x="1212458" y="4081943"/>
                </a:cubicBezTo>
                <a:cubicBezTo>
                  <a:pt x="1212458" y="4081943"/>
                  <a:pt x="1212458" y="4081943"/>
                  <a:pt x="1212458" y="4644187"/>
                </a:cubicBezTo>
                <a:cubicBezTo>
                  <a:pt x="1212458" y="4747560"/>
                  <a:pt x="1122747" y="4830762"/>
                  <a:pt x="1011288" y="4830762"/>
                </a:cubicBezTo>
                <a:cubicBezTo>
                  <a:pt x="899829" y="4830762"/>
                  <a:pt x="807399" y="4747560"/>
                  <a:pt x="807399" y="4644187"/>
                </a:cubicBezTo>
                <a:cubicBezTo>
                  <a:pt x="807399" y="4644187"/>
                  <a:pt x="807399" y="4644187"/>
                  <a:pt x="807399" y="4011348"/>
                </a:cubicBezTo>
                <a:cubicBezTo>
                  <a:pt x="807399" y="3907975"/>
                  <a:pt x="717689" y="3822252"/>
                  <a:pt x="606229" y="3822252"/>
                </a:cubicBezTo>
                <a:cubicBezTo>
                  <a:pt x="494770" y="3822252"/>
                  <a:pt x="405059" y="3907975"/>
                  <a:pt x="405059" y="4011348"/>
                </a:cubicBezTo>
                <a:cubicBezTo>
                  <a:pt x="405059" y="4011348"/>
                  <a:pt x="405059" y="4011348"/>
                  <a:pt x="405059" y="4313901"/>
                </a:cubicBezTo>
                <a:cubicBezTo>
                  <a:pt x="405059" y="4419794"/>
                  <a:pt x="312630" y="4502996"/>
                  <a:pt x="201170" y="4502996"/>
                </a:cubicBezTo>
                <a:cubicBezTo>
                  <a:pt x="89712" y="4502996"/>
                  <a:pt x="0" y="4419794"/>
                  <a:pt x="0" y="4313901"/>
                </a:cubicBezTo>
                <a:cubicBezTo>
                  <a:pt x="0" y="4313901"/>
                  <a:pt x="0" y="4313901"/>
                  <a:pt x="0" y="847148"/>
                </a:cubicBezTo>
                <a:cubicBezTo>
                  <a:pt x="0" y="743776"/>
                  <a:pt x="89712" y="660574"/>
                  <a:pt x="201170" y="660574"/>
                </a:cubicBezTo>
                <a:cubicBezTo>
                  <a:pt x="206607" y="660574"/>
                  <a:pt x="212044" y="660574"/>
                  <a:pt x="217481" y="660574"/>
                </a:cubicBezTo>
                <a:cubicBezTo>
                  <a:pt x="250103" y="660574"/>
                  <a:pt x="266415" y="658053"/>
                  <a:pt x="307193" y="645446"/>
                </a:cubicBezTo>
                <a:cubicBezTo>
                  <a:pt x="339815" y="632840"/>
                  <a:pt x="399622" y="597542"/>
                  <a:pt x="405059" y="496691"/>
                </a:cubicBezTo>
                <a:cubicBezTo>
                  <a:pt x="405059" y="496691"/>
                  <a:pt x="405059" y="496691"/>
                  <a:pt x="405059" y="239521"/>
                </a:cubicBezTo>
                <a:cubicBezTo>
                  <a:pt x="405059" y="136149"/>
                  <a:pt x="494770" y="50426"/>
                  <a:pt x="606229" y="50426"/>
                </a:cubicBezTo>
                <a:cubicBezTo>
                  <a:pt x="717689" y="50426"/>
                  <a:pt x="807399" y="136149"/>
                  <a:pt x="807399" y="239521"/>
                </a:cubicBezTo>
                <a:cubicBezTo>
                  <a:pt x="807399" y="239521"/>
                  <a:pt x="807399" y="239521"/>
                  <a:pt x="807399" y="635361"/>
                </a:cubicBezTo>
                <a:cubicBezTo>
                  <a:pt x="812836" y="736212"/>
                  <a:pt x="872644" y="771510"/>
                  <a:pt x="905266" y="784116"/>
                </a:cubicBezTo>
                <a:cubicBezTo>
                  <a:pt x="956917" y="801765"/>
                  <a:pt x="970510" y="799244"/>
                  <a:pt x="1024880" y="801765"/>
                </a:cubicBezTo>
                <a:cubicBezTo>
                  <a:pt x="1128184" y="809329"/>
                  <a:pt x="1212458" y="890010"/>
                  <a:pt x="1212458" y="988339"/>
                </a:cubicBezTo>
                <a:cubicBezTo>
                  <a:pt x="1212458" y="988339"/>
                  <a:pt x="1212458" y="988339"/>
                  <a:pt x="1212458" y="2064923"/>
                </a:cubicBezTo>
                <a:cubicBezTo>
                  <a:pt x="1212458" y="2170817"/>
                  <a:pt x="1302169" y="2254019"/>
                  <a:pt x="1413629" y="2254019"/>
                </a:cubicBezTo>
                <a:cubicBezTo>
                  <a:pt x="1525088" y="2254019"/>
                  <a:pt x="1617517" y="2170817"/>
                  <a:pt x="1617517" y="2064923"/>
                </a:cubicBezTo>
                <a:cubicBezTo>
                  <a:pt x="1617517" y="2064923"/>
                  <a:pt x="1617517" y="2064923"/>
                  <a:pt x="1617517" y="1737158"/>
                </a:cubicBezTo>
                <a:cubicBezTo>
                  <a:pt x="1617517" y="1633786"/>
                  <a:pt x="1707228" y="1550583"/>
                  <a:pt x="1818687" y="1550583"/>
                </a:cubicBezTo>
                <a:cubicBezTo>
                  <a:pt x="1818687" y="1550583"/>
                  <a:pt x="1821406" y="1550583"/>
                  <a:pt x="1821406" y="1550583"/>
                </a:cubicBezTo>
                <a:cubicBezTo>
                  <a:pt x="1862183" y="1550583"/>
                  <a:pt x="1878495" y="1550583"/>
                  <a:pt x="1921991" y="1535456"/>
                </a:cubicBezTo>
                <a:cubicBezTo>
                  <a:pt x="1957332" y="1522849"/>
                  <a:pt x="2017139" y="1487552"/>
                  <a:pt x="2019858" y="1386701"/>
                </a:cubicBezTo>
                <a:lnTo>
                  <a:pt x="2019858" y="544595"/>
                </a:lnTo>
                <a:cubicBezTo>
                  <a:pt x="2019858" y="438702"/>
                  <a:pt x="2112287" y="355500"/>
                  <a:pt x="2223747" y="355500"/>
                </a:cubicBezTo>
                <a:cubicBezTo>
                  <a:pt x="2226465" y="355500"/>
                  <a:pt x="2229184" y="355500"/>
                  <a:pt x="2231902" y="355500"/>
                </a:cubicBezTo>
                <a:cubicBezTo>
                  <a:pt x="2269961" y="355500"/>
                  <a:pt x="2286272" y="355500"/>
                  <a:pt x="2329769" y="340372"/>
                </a:cubicBezTo>
                <a:cubicBezTo>
                  <a:pt x="2359672" y="330287"/>
                  <a:pt x="2414042" y="297510"/>
                  <a:pt x="2424916" y="216830"/>
                </a:cubicBezTo>
                <a:cubicBezTo>
                  <a:pt x="2424916" y="216830"/>
                  <a:pt x="2424916" y="216830"/>
                  <a:pt x="2424916" y="186574"/>
                </a:cubicBezTo>
                <a:cubicBezTo>
                  <a:pt x="2424916" y="83202"/>
                  <a:pt x="2514628" y="0"/>
                  <a:pt x="262608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49171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>
            <a:spLocks noGrp="1"/>
          </p:cNvSpPr>
          <p:nvPr>
            <p:ph type="pic" sz="quarter" idx="22" hasCustomPrompt="1"/>
          </p:nvPr>
        </p:nvSpPr>
        <p:spPr>
          <a:xfrm>
            <a:off x="120440" y="50377"/>
            <a:ext cx="11951120" cy="6757249"/>
          </a:xfrm>
          <a:custGeom>
            <a:avLst/>
            <a:gdLst>
              <a:gd name="connsiteX0" fmla="*/ 6672558 w 11951120"/>
              <a:gd name="connsiteY0" fmla="*/ 6700656 h 6757249"/>
              <a:gd name="connsiteX1" fmla="*/ 6676915 w 11951120"/>
              <a:gd name="connsiteY1" fmla="*/ 6726397 h 6757249"/>
              <a:gd name="connsiteX2" fmla="*/ 6650771 w 11951120"/>
              <a:gd name="connsiteY2" fmla="*/ 6756428 h 6757249"/>
              <a:gd name="connsiteX3" fmla="*/ 6642057 w 11951120"/>
              <a:gd name="connsiteY3" fmla="*/ 6726397 h 6757249"/>
              <a:gd name="connsiteX4" fmla="*/ 6672558 w 11951120"/>
              <a:gd name="connsiteY4" fmla="*/ 6700656 h 6757249"/>
              <a:gd name="connsiteX5" fmla="*/ 4374279 w 11951120"/>
              <a:gd name="connsiteY5" fmla="*/ 6700656 h 6757249"/>
              <a:gd name="connsiteX6" fmla="*/ 4378636 w 11951120"/>
              <a:gd name="connsiteY6" fmla="*/ 6726397 h 6757249"/>
              <a:gd name="connsiteX7" fmla="*/ 4352492 w 11951120"/>
              <a:gd name="connsiteY7" fmla="*/ 6756428 h 6757249"/>
              <a:gd name="connsiteX8" fmla="*/ 4343778 w 11951120"/>
              <a:gd name="connsiteY8" fmla="*/ 6726397 h 6757249"/>
              <a:gd name="connsiteX9" fmla="*/ 4374279 w 11951120"/>
              <a:gd name="connsiteY9" fmla="*/ 6700656 h 6757249"/>
              <a:gd name="connsiteX10" fmla="*/ 6822326 w 11951120"/>
              <a:gd name="connsiteY10" fmla="*/ 6699048 h 6757249"/>
              <a:gd name="connsiteX11" fmla="*/ 6869972 w 11951120"/>
              <a:gd name="connsiteY11" fmla="*/ 6720835 h 6757249"/>
              <a:gd name="connsiteX12" fmla="*/ 6822326 w 11951120"/>
              <a:gd name="connsiteY12" fmla="*/ 6751334 h 6757249"/>
              <a:gd name="connsiteX13" fmla="*/ 6822326 w 11951120"/>
              <a:gd name="connsiteY13" fmla="*/ 6699048 h 6757249"/>
              <a:gd name="connsiteX14" fmla="*/ 4524047 w 11951120"/>
              <a:gd name="connsiteY14" fmla="*/ 6699048 h 6757249"/>
              <a:gd name="connsiteX15" fmla="*/ 4571693 w 11951120"/>
              <a:gd name="connsiteY15" fmla="*/ 6720835 h 6757249"/>
              <a:gd name="connsiteX16" fmla="*/ 4524047 w 11951120"/>
              <a:gd name="connsiteY16" fmla="*/ 6751334 h 6757249"/>
              <a:gd name="connsiteX17" fmla="*/ 4524047 w 11951120"/>
              <a:gd name="connsiteY17" fmla="*/ 6699048 h 6757249"/>
              <a:gd name="connsiteX18" fmla="*/ 6580387 w 11951120"/>
              <a:gd name="connsiteY18" fmla="*/ 6620395 h 6757249"/>
              <a:gd name="connsiteX19" fmla="*/ 6601838 w 11951120"/>
              <a:gd name="connsiteY19" fmla="*/ 6651678 h 6757249"/>
              <a:gd name="connsiteX20" fmla="*/ 6584677 w 11951120"/>
              <a:gd name="connsiteY20" fmla="*/ 6678491 h 6757249"/>
              <a:gd name="connsiteX21" fmla="*/ 6563226 w 11951120"/>
              <a:gd name="connsiteY21" fmla="*/ 6642739 h 6757249"/>
              <a:gd name="connsiteX22" fmla="*/ 6580387 w 11951120"/>
              <a:gd name="connsiteY22" fmla="*/ 6620395 h 6757249"/>
              <a:gd name="connsiteX23" fmla="*/ 4282108 w 11951120"/>
              <a:gd name="connsiteY23" fmla="*/ 6620395 h 6757249"/>
              <a:gd name="connsiteX24" fmla="*/ 4303559 w 11951120"/>
              <a:gd name="connsiteY24" fmla="*/ 6651678 h 6757249"/>
              <a:gd name="connsiteX25" fmla="*/ 4286398 w 11951120"/>
              <a:gd name="connsiteY25" fmla="*/ 6678491 h 6757249"/>
              <a:gd name="connsiteX26" fmla="*/ 4264947 w 11951120"/>
              <a:gd name="connsiteY26" fmla="*/ 6642739 h 6757249"/>
              <a:gd name="connsiteX27" fmla="*/ 4282108 w 11951120"/>
              <a:gd name="connsiteY27" fmla="*/ 6620395 h 6757249"/>
              <a:gd name="connsiteX28" fmla="*/ 6958054 w 11951120"/>
              <a:gd name="connsiteY28" fmla="*/ 6576537 h 6757249"/>
              <a:gd name="connsiteX29" fmla="*/ 6984600 w 11951120"/>
              <a:gd name="connsiteY29" fmla="*/ 6674176 h 6757249"/>
              <a:gd name="connsiteX30" fmla="*/ 6944781 w 11951120"/>
              <a:gd name="connsiteY30" fmla="*/ 6651985 h 6757249"/>
              <a:gd name="connsiteX31" fmla="*/ 6918236 w 11951120"/>
              <a:gd name="connsiteY31" fmla="*/ 6625357 h 6757249"/>
              <a:gd name="connsiteX32" fmla="*/ 6958054 w 11951120"/>
              <a:gd name="connsiteY32" fmla="*/ 6576537 h 6757249"/>
              <a:gd name="connsiteX33" fmla="*/ 4659775 w 11951120"/>
              <a:gd name="connsiteY33" fmla="*/ 6576537 h 6757249"/>
              <a:gd name="connsiteX34" fmla="*/ 4686322 w 11951120"/>
              <a:gd name="connsiteY34" fmla="*/ 6674176 h 6757249"/>
              <a:gd name="connsiteX35" fmla="*/ 4646502 w 11951120"/>
              <a:gd name="connsiteY35" fmla="*/ 6651985 h 6757249"/>
              <a:gd name="connsiteX36" fmla="*/ 4619957 w 11951120"/>
              <a:gd name="connsiteY36" fmla="*/ 6625357 h 6757249"/>
              <a:gd name="connsiteX37" fmla="*/ 4659775 w 11951120"/>
              <a:gd name="connsiteY37" fmla="*/ 6576537 h 6757249"/>
              <a:gd name="connsiteX38" fmla="*/ 6440634 w 11951120"/>
              <a:gd name="connsiteY38" fmla="*/ 6475805 h 6757249"/>
              <a:gd name="connsiteX39" fmla="*/ 6438763 w 11951120"/>
              <a:gd name="connsiteY39" fmla="*/ 6479561 h 6757249"/>
              <a:gd name="connsiteX40" fmla="*/ 6438520 w 11951120"/>
              <a:gd name="connsiteY40" fmla="*/ 6480050 h 6757249"/>
              <a:gd name="connsiteX41" fmla="*/ 6441327 w 11951120"/>
              <a:gd name="connsiteY41" fmla="*/ 6475866 h 6757249"/>
              <a:gd name="connsiteX42" fmla="*/ 4142355 w 11951120"/>
              <a:gd name="connsiteY42" fmla="*/ 6475805 h 6757249"/>
              <a:gd name="connsiteX43" fmla="*/ 4140484 w 11951120"/>
              <a:gd name="connsiteY43" fmla="*/ 6479561 h 6757249"/>
              <a:gd name="connsiteX44" fmla="*/ 4140241 w 11951120"/>
              <a:gd name="connsiteY44" fmla="*/ 6480050 h 6757249"/>
              <a:gd name="connsiteX45" fmla="*/ 4143048 w 11951120"/>
              <a:gd name="connsiteY45" fmla="*/ 6475866 h 6757249"/>
              <a:gd name="connsiteX46" fmla="*/ 8984947 w 11951120"/>
              <a:gd name="connsiteY46" fmla="*/ 6474303 h 6757249"/>
              <a:gd name="connsiteX47" fmla="*/ 8983611 w 11951120"/>
              <a:gd name="connsiteY47" fmla="*/ 6475611 h 6757249"/>
              <a:gd name="connsiteX48" fmla="*/ 8993595 w 11951120"/>
              <a:gd name="connsiteY48" fmla="*/ 6485873 h 6757249"/>
              <a:gd name="connsiteX49" fmla="*/ 1687820 w 11951120"/>
              <a:gd name="connsiteY49" fmla="*/ 6430862 h 6757249"/>
              <a:gd name="connsiteX50" fmla="*/ 1681765 w 11951120"/>
              <a:gd name="connsiteY50" fmla="*/ 6432596 h 6757249"/>
              <a:gd name="connsiteX51" fmla="*/ 1683885 w 11951120"/>
              <a:gd name="connsiteY51" fmla="*/ 6435790 h 6757249"/>
              <a:gd name="connsiteX52" fmla="*/ 1683760 w 11951120"/>
              <a:gd name="connsiteY52" fmla="*/ 6436191 h 6757249"/>
              <a:gd name="connsiteX53" fmla="*/ 1688068 w 11951120"/>
              <a:gd name="connsiteY53" fmla="*/ 6431904 h 6757249"/>
              <a:gd name="connsiteX54" fmla="*/ 9351677 w 11951120"/>
              <a:gd name="connsiteY54" fmla="*/ 6409705 h 6757249"/>
              <a:gd name="connsiteX55" fmla="*/ 9347938 w 11951120"/>
              <a:gd name="connsiteY55" fmla="*/ 6412093 h 6757249"/>
              <a:gd name="connsiteX56" fmla="*/ 9355569 w 11951120"/>
              <a:gd name="connsiteY56" fmla="*/ 6425641 h 6757249"/>
              <a:gd name="connsiteX57" fmla="*/ 9356793 w 11951120"/>
              <a:gd name="connsiteY57" fmla="*/ 6425909 h 6757249"/>
              <a:gd name="connsiteX58" fmla="*/ 9351677 w 11951120"/>
              <a:gd name="connsiteY58" fmla="*/ 6410321 h 6757249"/>
              <a:gd name="connsiteX59" fmla="*/ 7053398 w 11951120"/>
              <a:gd name="connsiteY59" fmla="*/ 6409705 h 6757249"/>
              <a:gd name="connsiteX60" fmla="*/ 7049659 w 11951120"/>
              <a:gd name="connsiteY60" fmla="*/ 6412093 h 6757249"/>
              <a:gd name="connsiteX61" fmla="*/ 7057290 w 11951120"/>
              <a:gd name="connsiteY61" fmla="*/ 6425641 h 6757249"/>
              <a:gd name="connsiteX62" fmla="*/ 7058514 w 11951120"/>
              <a:gd name="connsiteY62" fmla="*/ 6425909 h 6757249"/>
              <a:gd name="connsiteX63" fmla="*/ 7053398 w 11951120"/>
              <a:gd name="connsiteY63" fmla="*/ 6410321 h 6757249"/>
              <a:gd name="connsiteX64" fmla="*/ 9906863 w 11951120"/>
              <a:gd name="connsiteY64" fmla="*/ 6387501 h 6757249"/>
              <a:gd name="connsiteX65" fmla="*/ 9907446 w 11951120"/>
              <a:gd name="connsiteY65" fmla="*/ 6391605 h 6757249"/>
              <a:gd name="connsiteX66" fmla="*/ 9907285 w 11951120"/>
              <a:gd name="connsiteY66" fmla="*/ 6392252 h 6757249"/>
              <a:gd name="connsiteX67" fmla="*/ 9907868 w 11951120"/>
              <a:gd name="connsiteY67" fmla="*/ 6391788 h 6757249"/>
              <a:gd name="connsiteX68" fmla="*/ 9918884 w 11951120"/>
              <a:gd name="connsiteY68" fmla="*/ 6388940 h 6757249"/>
              <a:gd name="connsiteX69" fmla="*/ 7608584 w 11951120"/>
              <a:gd name="connsiteY69" fmla="*/ 6387501 h 6757249"/>
              <a:gd name="connsiteX70" fmla="*/ 7609167 w 11951120"/>
              <a:gd name="connsiteY70" fmla="*/ 6391605 h 6757249"/>
              <a:gd name="connsiteX71" fmla="*/ 7609006 w 11951120"/>
              <a:gd name="connsiteY71" fmla="*/ 6392252 h 6757249"/>
              <a:gd name="connsiteX72" fmla="*/ 7609589 w 11951120"/>
              <a:gd name="connsiteY72" fmla="*/ 6391788 h 6757249"/>
              <a:gd name="connsiteX73" fmla="*/ 7620605 w 11951120"/>
              <a:gd name="connsiteY73" fmla="*/ 6388940 h 6757249"/>
              <a:gd name="connsiteX74" fmla="*/ 1614698 w 11951120"/>
              <a:gd name="connsiteY74" fmla="*/ 6360904 h 6757249"/>
              <a:gd name="connsiteX75" fmla="*/ 1614509 w 11951120"/>
              <a:gd name="connsiteY75" fmla="*/ 6360959 h 6757249"/>
              <a:gd name="connsiteX76" fmla="*/ 1614786 w 11951120"/>
              <a:gd name="connsiteY76" fmla="*/ 6361532 h 6757249"/>
              <a:gd name="connsiteX77" fmla="*/ 3911963 w 11951120"/>
              <a:gd name="connsiteY77" fmla="*/ 6358888 h 6757249"/>
              <a:gd name="connsiteX78" fmla="*/ 3911925 w 11951120"/>
              <a:gd name="connsiteY78" fmla="*/ 6359186 h 6757249"/>
              <a:gd name="connsiteX79" fmla="*/ 3911963 w 11951120"/>
              <a:gd name="connsiteY79" fmla="*/ 6359262 h 6757249"/>
              <a:gd name="connsiteX80" fmla="*/ 1613683 w 11951120"/>
              <a:gd name="connsiteY80" fmla="*/ 6358888 h 6757249"/>
              <a:gd name="connsiteX81" fmla="*/ 1613646 w 11951120"/>
              <a:gd name="connsiteY81" fmla="*/ 6359186 h 6757249"/>
              <a:gd name="connsiteX82" fmla="*/ 1613683 w 11951120"/>
              <a:gd name="connsiteY82" fmla="*/ 6359262 h 6757249"/>
              <a:gd name="connsiteX83" fmla="*/ 3911759 w 11951120"/>
              <a:gd name="connsiteY83" fmla="*/ 6356107 h 6757249"/>
              <a:gd name="connsiteX84" fmla="*/ 3910492 w 11951120"/>
              <a:gd name="connsiteY84" fmla="*/ 6356235 h 6757249"/>
              <a:gd name="connsiteX85" fmla="*/ 3911759 w 11951120"/>
              <a:gd name="connsiteY85" fmla="*/ 6358844 h 6757249"/>
              <a:gd name="connsiteX86" fmla="*/ 1613480 w 11951120"/>
              <a:gd name="connsiteY86" fmla="*/ 6356107 h 6757249"/>
              <a:gd name="connsiteX87" fmla="*/ 1612212 w 11951120"/>
              <a:gd name="connsiteY87" fmla="*/ 6356235 h 6757249"/>
              <a:gd name="connsiteX88" fmla="*/ 1613480 w 11951120"/>
              <a:gd name="connsiteY88" fmla="*/ 6358844 h 6757249"/>
              <a:gd name="connsiteX89" fmla="*/ 8512985 w 11951120"/>
              <a:gd name="connsiteY89" fmla="*/ 6350823 h 6757249"/>
              <a:gd name="connsiteX90" fmla="*/ 8510918 w 11951120"/>
              <a:gd name="connsiteY90" fmla="*/ 6356059 h 6757249"/>
              <a:gd name="connsiteX91" fmla="*/ 8513520 w 11951120"/>
              <a:gd name="connsiteY91" fmla="*/ 6355836 h 6757249"/>
              <a:gd name="connsiteX92" fmla="*/ 8514740 w 11951120"/>
              <a:gd name="connsiteY92" fmla="*/ 6356086 h 6757249"/>
              <a:gd name="connsiteX93" fmla="*/ 6214706 w 11951120"/>
              <a:gd name="connsiteY93" fmla="*/ 6350823 h 6757249"/>
              <a:gd name="connsiteX94" fmla="*/ 6212639 w 11951120"/>
              <a:gd name="connsiteY94" fmla="*/ 6356059 h 6757249"/>
              <a:gd name="connsiteX95" fmla="*/ 6215241 w 11951120"/>
              <a:gd name="connsiteY95" fmla="*/ 6355836 h 6757249"/>
              <a:gd name="connsiteX96" fmla="*/ 6216461 w 11951120"/>
              <a:gd name="connsiteY96" fmla="*/ 6356086 h 6757249"/>
              <a:gd name="connsiteX97" fmla="*/ 4165949 w 11951120"/>
              <a:gd name="connsiteY97" fmla="*/ 6338737 h 6757249"/>
              <a:gd name="connsiteX98" fmla="*/ 4164402 w 11951120"/>
              <a:gd name="connsiteY98" fmla="*/ 6342229 h 6757249"/>
              <a:gd name="connsiteX99" fmla="*/ 4168103 w 11951120"/>
              <a:gd name="connsiteY99" fmla="*/ 6339061 h 6757249"/>
              <a:gd name="connsiteX100" fmla="*/ 4167969 w 11951120"/>
              <a:gd name="connsiteY100" fmla="*/ 6338983 h 6757249"/>
              <a:gd name="connsiteX101" fmla="*/ 4475834 w 11951120"/>
              <a:gd name="connsiteY101" fmla="*/ 6334735 h 6757249"/>
              <a:gd name="connsiteX102" fmla="*/ 4475165 w 11951120"/>
              <a:gd name="connsiteY102" fmla="*/ 6335186 h 6757249"/>
              <a:gd name="connsiteX103" fmla="*/ 4475165 w 11951120"/>
              <a:gd name="connsiteY103" fmla="*/ 6355073 h 6757249"/>
              <a:gd name="connsiteX104" fmla="*/ 4475834 w 11951120"/>
              <a:gd name="connsiteY104" fmla="*/ 6355309 h 6757249"/>
              <a:gd name="connsiteX105" fmla="*/ 4185829 w 11951120"/>
              <a:gd name="connsiteY105" fmla="*/ 6334387 h 6757249"/>
              <a:gd name="connsiteX106" fmla="*/ 4185579 w 11951120"/>
              <a:gd name="connsiteY106" fmla="*/ 6334536 h 6757249"/>
              <a:gd name="connsiteX107" fmla="*/ 4185579 w 11951120"/>
              <a:gd name="connsiteY107" fmla="*/ 6337416 h 6757249"/>
              <a:gd name="connsiteX108" fmla="*/ 4190712 w 11951120"/>
              <a:gd name="connsiteY108" fmla="*/ 6334387 h 6757249"/>
              <a:gd name="connsiteX109" fmla="*/ 8012014 w 11951120"/>
              <a:gd name="connsiteY109" fmla="*/ 6323449 h 6757249"/>
              <a:gd name="connsiteX110" fmla="*/ 8001499 w 11951120"/>
              <a:gd name="connsiteY110" fmla="*/ 6324648 h 6757249"/>
              <a:gd name="connsiteX111" fmla="*/ 8001499 w 11951120"/>
              <a:gd name="connsiteY111" fmla="*/ 6325447 h 6757249"/>
              <a:gd name="connsiteX112" fmla="*/ 8001499 w 11951120"/>
              <a:gd name="connsiteY112" fmla="*/ 6329916 h 6757249"/>
              <a:gd name="connsiteX113" fmla="*/ 8001499 w 11951120"/>
              <a:gd name="connsiteY113" fmla="*/ 6332558 h 6757249"/>
              <a:gd name="connsiteX114" fmla="*/ 8002508 w 11951120"/>
              <a:gd name="connsiteY114" fmla="*/ 6333058 h 6757249"/>
              <a:gd name="connsiteX115" fmla="*/ 5713735 w 11951120"/>
              <a:gd name="connsiteY115" fmla="*/ 6323449 h 6757249"/>
              <a:gd name="connsiteX116" fmla="*/ 5703220 w 11951120"/>
              <a:gd name="connsiteY116" fmla="*/ 6324648 h 6757249"/>
              <a:gd name="connsiteX117" fmla="*/ 5703220 w 11951120"/>
              <a:gd name="connsiteY117" fmla="*/ 6325447 h 6757249"/>
              <a:gd name="connsiteX118" fmla="*/ 5703220 w 11951120"/>
              <a:gd name="connsiteY118" fmla="*/ 6329916 h 6757249"/>
              <a:gd name="connsiteX119" fmla="*/ 5703220 w 11951120"/>
              <a:gd name="connsiteY119" fmla="*/ 6332558 h 6757249"/>
              <a:gd name="connsiteX120" fmla="*/ 5704229 w 11951120"/>
              <a:gd name="connsiteY120" fmla="*/ 6333058 h 6757249"/>
              <a:gd name="connsiteX121" fmla="*/ 8848990 w 11951120"/>
              <a:gd name="connsiteY121" fmla="*/ 6285385 h 6757249"/>
              <a:gd name="connsiteX122" fmla="*/ 8848836 w 11951120"/>
              <a:gd name="connsiteY122" fmla="*/ 6285496 h 6757249"/>
              <a:gd name="connsiteX123" fmla="*/ 8848912 w 11951120"/>
              <a:gd name="connsiteY123" fmla="*/ 6285611 h 6757249"/>
              <a:gd name="connsiteX124" fmla="*/ 8654996 w 11951120"/>
              <a:gd name="connsiteY124" fmla="*/ 6260990 h 6757249"/>
              <a:gd name="connsiteX125" fmla="*/ 8654959 w 11951120"/>
              <a:gd name="connsiteY125" fmla="*/ 6261058 h 6757249"/>
              <a:gd name="connsiteX126" fmla="*/ 8654977 w 11951120"/>
              <a:gd name="connsiteY126" fmla="*/ 6261071 h 6757249"/>
              <a:gd name="connsiteX127" fmla="*/ 8821991 w 11951120"/>
              <a:gd name="connsiteY127" fmla="*/ 6188321 h 6757249"/>
              <a:gd name="connsiteX128" fmla="*/ 8820940 w 11951120"/>
              <a:gd name="connsiteY128" fmla="*/ 6190426 h 6757249"/>
              <a:gd name="connsiteX129" fmla="*/ 8819851 w 11951120"/>
              <a:gd name="connsiteY129" fmla="*/ 6191211 h 6757249"/>
              <a:gd name="connsiteX130" fmla="*/ 8822595 w 11951120"/>
              <a:gd name="connsiteY130" fmla="*/ 6193226 h 6757249"/>
              <a:gd name="connsiteX131" fmla="*/ 8821991 w 11951120"/>
              <a:gd name="connsiteY131" fmla="*/ 6189642 h 6757249"/>
              <a:gd name="connsiteX132" fmla="*/ 8269634 w 11951120"/>
              <a:gd name="connsiteY132" fmla="*/ 6184028 h 6757249"/>
              <a:gd name="connsiteX133" fmla="*/ 8269252 w 11951120"/>
              <a:gd name="connsiteY133" fmla="*/ 6186711 h 6757249"/>
              <a:gd name="connsiteX134" fmla="*/ 8269634 w 11951120"/>
              <a:gd name="connsiteY134" fmla="*/ 6186902 h 6757249"/>
              <a:gd name="connsiteX135" fmla="*/ 7315172 w 11951120"/>
              <a:gd name="connsiteY135" fmla="*/ 6121061 h 6757249"/>
              <a:gd name="connsiteX136" fmla="*/ 7312057 w 11951120"/>
              <a:gd name="connsiteY136" fmla="*/ 6124029 h 6757249"/>
              <a:gd name="connsiteX137" fmla="*/ 7316916 w 11951120"/>
              <a:gd name="connsiteY137" fmla="*/ 6130475 h 6757249"/>
              <a:gd name="connsiteX138" fmla="*/ 7317518 w 11951120"/>
              <a:gd name="connsiteY138" fmla="*/ 6129187 h 6757249"/>
              <a:gd name="connsiteX139" fmla="*/ 9624517 w 11951120"/>
              <a:gd name="connsiteY139" fmla="*/ 6110516 h 6757249"/>
              <a:gd name="connsiteX140" fmla="*/ 9610336 w 11951120"/>
              <a:gd name="connsiteY140" fmla="*/ 6124029 h 6757249"/>
              <a:gd name="connsiteX141" fmla="*/ 9615195 w 11951120"/>
              <a:gd name="connsiteY141" fmla="*/ 6130475 h 6757249"/>
              <a:gd name="connsiteX142" fmla="*/ 2784792 w 11951120"/>
              <a:gd name="connsiteY142" fmla="*/ 6106911 h 6757249"/>
              <a:gd name="connsiteX143" fmla="*/ 2779441 w 11951120"/>
              <a:gd name="connsiteY143" fmla="*/ 6111289 h 6757249"/>
              <a:gd name="connsiteX144" fmla="*/ 2779553 w 11951120"/>
              <a:gd name="connsiteY144" fmla="*/ 6111319 h 6757249"/>
              <a:gd name="connsiteX145" fmla="*/ 2780304 w 11951120"/>
              <a:gd name="connsiteY145" fmla="*/ 6111527 h 6757249"/>
              <a:gd name="connsiteX146" fmla="*/ 2782307 w 11951120"/>
              <a:gd name="connsiteY146" fmla="*/ 6114486 h 6757249"/>
              <a:gd name="connsiteX147" fmla="*/ 2784694 w 11951120"/>
              <a:gd name="connsiteY147" fmla="*/ 6107208 h 6757249"/>
              <a:gd name="connsiteX148" fmla="*/ 486512 w 11951120"/>
              <a:gd name="connsiteY148" fmla="*/ 6106911 h 6757249"/>
              <a:gd name="connsiteX149" fmla="*/ 481161 w 11951120"/>
              <a:gd name="connsiteY149" fmla="*/ 6111289 h 6757249"/>
              <a:gd name="connsiteX150" fmla="*/ 481274 w 11951120"/>
              <a:gd name="connsiteY150" fmla="*/ 6111319 h 6757249"/>
              <a:gd name="connsiteX151" fmla="*/ 482024 w 11951120"/>
              <a:gd name="connsiteY151" fmla="*/ 6111527 h 6757249"/>
              <a:gd name="connsiteX152" fmla="*/ 484027 w 11951120"/>
              <a:gd name="connsiteY152" fmla="*/ 6114486 h 6757249"/>
              <a:gd name="connsiteX153" fmla="*/ 486414 w 11951120"/>
              <a:gd name="connsiteY153" fmla="*/ 6107208 h 6757249"/>
              <a:gd name="connsiteX154" fmla="*/ 11178700 w 11951120"/>
              <a:gd name="connsiteY154" fmla="*/ 6092678 h 6757249"/>
              <a:gd name="connsiteX155" fmla="*/ 11176844 w 11951120"/>
              <a:gd name="connsiteY155" fmla="*/ 6093262 h 6757249"/>
              <a:gd name="connsiteX156" fmla="*/ 11178700 w 11951120"/>
              <a:gd name="connsiteY156" fmla="*/ 6096068 h 6757249"/>
              <a:gd name="connsiteX157" fmla="*/ 504441 w 11951120"/>
              <a:gd name="connsiteY157" fmla="*/ 6085325 h 6757249"/>
              <a:gd name="connsiteX158" fmla="*/ 504441 w 11951120"/>
              <a:gd name="connsiteY158" fmla="*/ 6087909 h 6757249"/>
              <a:gd name="connsiteX159" fmla="*/ 504441 w 11951120"/>
              <a:gd name="connsiteY159" fmla="*/ 6091235 h 6757249"/>
              <a:gd name="connsiteX160" fmla="*/ 507449 w 11951120"/>
              <a:gd name="connsiteY160" fmla="*/ 6088789 h 6757249"/>
              <a:gd name="connsiteX161" fmla="*/ 403025 w 11951120"/>
              <a:gd name="connsiteY161" fmla="*/ 6044800 h 6757249"/>
              <a:gd name="connsiteX162" fmla="*/ 410519 w 11951120"/>
              <a:gd name="connsiteY162" fmla="*/ 6115339 h 6757249"/>
              <a:gd name="connsiteX163" fmla="*/ 411071 w 11951120"/>
              <a:gd name="connsiteY163" fmla="*/ 6111527 h 6757249"/>
              <a:gd name="connsiteX164" fmla="*/ 411178 w 11951120"/>
              <a:gd name="connsiteY164" fmla="*/ 6111499 h 6757249"/>
              <a:gd name="connsiteX165" fmla="*/ 407404 w 11951120"/>
              <a:gd name="connsiteY165" fmla="*/ 6044800 h 6757249"/>
              <a:gd name="connsiteX166" fmla="*/ 10960051 w 11951120"/>
              <a:gd name="connsiteY166" fmla="*/ 6033899 h 6757249"/>
              <a:gd name="connsiteX167" fmla="*/ 10959722 w 11951120"/>
              <a:gd name="connsiteY167" fmla="*/ 6034203 h 6757249"/>
              <a:gd name="connsiteX168" fmla="*/ 10956781 w 11951120"/>
              <a:gd name="connsiteY168" fmla="*/ 6057954 h 6757249"/>
              <a:gd name="connsiteX169" fmla="*/ 10957046 w 11951120"/>
              <a:gd name="connsiteY169" fmla="*/ 6058105 h 6757249"/>
              <a:gd name="connsiteX170" fmla="*/ 1733395 w 11951120"/>
              <a:gd name="connsiteY170" fmla="*/ 6023351 h 6757249"/>
              <a:gd name="connsiteX171" fmla="*/ 1734834 w 11951120"/>
              <a:gd name="connsiteY171" fmla="*/ 6030492 h 6757249"/>
              <a:gd name="connsiteX172" fmla="*/ 1736236 w 11951120"/>
              <a:gd name="connsiteY172" fmla="*/ 6023351 h 6757249"/>
              <a:gd name="connsiteX173" fmla="*/ 1735974 w 11951120"/>
              <a:gd name="connsiteY173" fmla="*/ 6023351 h 6757249"/>
              <a:gd name="connsiteX174" fmla="*/ 10646103 w 11951120"/>
              <a:gd name="connsiteY174" fmla="*/ 6016482 h 6757249"/>
              <a:gd name="connsiteX175" fmla="*/ 10645480 w 11951120"/>
              <a:gd name="connsiteY175" fmla="*/ 6017070 h 6757249"/>
              <a:gd name="connsiteX176" fmla="*/ 10645808 w 11951120"/>
              <a:gd name="connsiteY176" fmla="*/ 6017287 h 6757249"/>
              <a:gd name="connsiteX177" fmla="*/ 10269636 w 11951120"/>
              <a:gd name="connsiteY177" fmla="*/ 5998367 h 6757249"/>
              <a:gd name="connsiteX178" fmla="*/ 10267993 w 11951120"/>
              <a:gd name="connsiteY178" fmla="*/ 6000416 h 6757249"/>
              <a:gd name="connsiteX179" fmla="*/ 10267028 w 11951120"/>
              <a:gd name="connsiteY179" fmla="*/ 6001419 h 6757249"/>
              <a:gd name="connsiteX180" fmla="*/ 10268859 w 11951120"/>
              <a:gd name="connsiteY180" fmla="*/ 6002030 h 6757249"/>
              <a:gd name="connsiteX181" fmla="*/ 10268905 w 11951120"/>
              <a:gd name="connsiteY181" fmla="*/ 6001284 h 6757249"/>
              <a:gd name="connsiteX182" fmla="*/ 1179966 w 11951120"/>
              <a:gd name="connsiteY182" fmla="*/ 5982779 h 6757249"/>
              <a:gd name="connsiteX183" fmla="*/ 1179802 w 11951120"/>
              <a:gd name="connsiteY183" fmla="*/ 5982789 h 6757249"/>
              <a:gd name="connsiteX184" fmla="*/ 1176338 w 11951120"/>
              <a:gd name="connsiteY184" fmla="*/ 5993238 h 6757249"/>
              <a:gd name="connsiteX185" fmla="*/ 1176361 w 11951120"/>
              <a:gd name="connsiteY185" fmla="*/ 5993242 h 6757249"/>
              <a:gd name="connsiteX186" fmla="*/ 386114 w 11951120"/>
              <a:gd name="connsiteY186" fmla="*/ 5953136 h 6757249"/>
              <a:gd name="connsiteX187" fmla="*/ 382692 w 11951120"/>
              <a:gd name="connsiteY187" fmla="*/ 5955987 h 6757249"/>
              <a:gd name="connsiteX188" fmla="*/ 386114 w 11951120"/>
              <a:gd name="connsiteY188" fmla="*/ 5957416 h 6757249"/>
              <a:gd name="connsiteX189" fmla="*/ 11275420 w 11951120"/>
              <a:gd name="connsiteY189" fmla="*/ 5949757 h 6757249"/>
              <a:gd name="connsiteX190" fmla="*/ 11275420 w 11951120"/>
              <a:gd name="connsiteY190" fmla="*/ 5952832 h 6757249"/>
              <a:gd name="connsiteX191" fmla="*/ 11275232 w 11951120"/>
              <a:gd name="connsiteY191" fmla="*/ 5953423 h 6757249"/>
              <a:gd name="connsiteX192" fmla="*/ 11275930 w 11951120"/>
              <a:gd name="connsiteY192" fmla="*/ 5952689 h 6757249"/>
              <a:gd name="connsiteX193" fmla="*/ 11277325 w 11951120"/>
              <a:gd name="connsiteY193" fmla="*/ 5952559 h 6757249"/>
              <a:gd name="connsiteX194" fmla="*/ 387783 w 11951120"/>
              <a:gd name="connsiteY194" fmla="*/ 5946486 h 6757249"/>
              <a:gd name="connsiteX195" fmla="*/ 387087 w 11951120"/>
              <a:gd name="connsiteY195" fmla="*/ 5947231 h 6757249"/>
              <a:gd name="connsiteX196" fmla="*/ 386273 w 11951120"/>
              <a:gd name="connsiteY196" fmla="*/ 5948588 h 6757249"/>
              <a:gd name="connsiteX197" fmla="*/ 386273 w 11951120"/>
              <a:gd name="connsiteY197" fmla="*/ 5951114 h 6757249"/>
              <a:gd name="connsiteX198" fmla="*/ 1323505 w 11951120"/>
              <a:gd name="connsiteY198" fmla="*/ 5926141 h 6757249"/>
              <a:gd name="connsiteX199" fmla="*/ 1320340 w 11951120"/>
              <a:gd name="connsiteY199" fmla="*/ 5926198 h 6757249"/>
              <a:gd name="connsiteX200" fmla="*/ 1323014 w 11951120"/>
              <a:gd name="connsiteY200" fmla="*/ 5932098 h 6757249"/>
              <a:gd name="connsiteX201" fmla="*/ 1324287 w 11951120"/>
              <a:gd name="connsiteY201" fmla="*/ 5926438 h 6757249"/>
              <a:gd name="connsiteX202" fmla="*/ 1323916 w 11951120"/>
              <a:gd name="connsiteY202" fmla="*/ 5926821 h 6757249"/>
              <a:gd name="connsiteX203" fmla="*/ 675701 w 11951120"/>
              <a:gd name="connsiteY203" fmla="*/ 5914425 h 6757249"/>
              <a:gd name="connsiteX204" fmla="*/ 674956 w 11951120"/>
              <a:gd name="connsiteY204" fmla="*/ 5917042 h 6757249"/>
              <a:gd name="connsiteX205" fmla="*/ 673818 w 11951120"/>
              <a:gd name="connsiteY205" fmla="*/ 5917818 h 6757249"/>
              <a:gd name="connsiteX206" fmla="*/ 675701 w 11951120"/>
              <a:gd name="connsiteY206" fmla="*/ 5917886 h 6757249"/>
              <a:gd name="connsiteX207" fmla="*/ 413855 w 11951120"/>
              <a:gd name="connsiteY207" fmla="*/ 5902303 h 6757249"/>
              <a:gd name="connsiteX208" fmla="*/ 412892 w 11951120"/>
              <a:gd name="connsiteY208" fmla="*/ 5902496 h 6757249"/>
              <a:gd name="connsiteX209" fmla="*/ 412696 w 11951120"/>
              <a:gd name="connsiteY209" fmla="*/ 5903279 h 6757249"/>
              <a:gd name="connsiteX210" fmla="*/ 382863 w 11951120"/>
              <a:gd name="connsiteY210" fmla="*/ 5900344 h 6757249"/>
              <a:gd name="connsiteX211" fmla="*/ 386116 w 11951120"/>
              <a:gd name="connsiteY211" fmla="*/ 5901428 h 6757249"/>
              <a:gd name="connsiteX212" fmla="*/ 386116 w 11951120"/>
              <a:gd name="connsiteY212" fmla="*/ 5901350 h 6757249"/>
              <a:gd name="connsiteX213" fmla="*/ 385109 w 11951120"/>
              <a:gd name="connsiteY213" fmla="*/ 5900344 h 6757249"/>
              <a:gd name="connsiteX214" fmla="*/ 440413 w 11951120"/>
              <a:gd name="connsiteY214" fmla="*/ 5886602 h 6757249"/>
              <a:gd name="connsiteX215" fmla="*/ 442425 w 11951120"/>
              <a:gd name="connsiteY215" fmla="*/ 5889618 h 6757249"/>
              <a:gd name="connsiteX216" fmla="*/ 433709 w 11951120"/>
              <a:gd name="connsiteY216" fmla="*/ 5898332 h 6757249"/>
              <a:gd name="connsiteX217" fmla="*/ 431194 w 11951120"/>
              <a:gd name="connsiteY217" fmla="*/ 5898835 h 6757249"/>
              <a:gd name="connsiteX218" fmla="*/ 432888 w 11951120"/>
              <a:gd name="connsiteY218" fmla="*/ 5899243 h 6757249"/>
              <a:gd name="connsiteX219" fmla="*/ 434380 w 11951120"/>
              <a:gd name="connsiteY219" fmla="*/ 5904170 h 6757249"/>
              <a:gd name="connsiteX220" fmla="*/ 434582 w 11951120"/>
              <a:gd name="connsiteY220" fmla="*/ 5904840 h 6757249"/>
              <a:gd name="connsiteX221" fmla="*/ 445105 w 11951120"/>
              <a:gd name="connsiteY221" fmla="*/ 5894687 h 6757249"/>
              <a:gd name="connsiteX222" fmla="*/ 455830 w 11951120"/>
              <a:gd name="connsiteY222" fmla="*/ 5900680 h 6757249"/>
              <a:gd name="connsiteX223" fmla="*/ 455830 w 11951120"/>
              <a:gd name="connsiteY223" fmla="*/ 5901683 h 6757249"/>
              <a:gd name="connsiteX224" fmla="*/ 456499 w 11951120"/>
              <a:gd name="connsiteY224" fmla="*/ 5900680 h 6757249"/>
              <a:gd name="connsiteX225" fmla="*/ 457842 w 11951120"/>
              <a:gd name="connsiteY225" fmla="*/ 5900008 h 6757249"/>
              <a:gd name="connsiteX226" fmla="*/ 455829 w 11951120"/>
              <a:gd name="connsiteY226" fmla="*/ 5900008 h 6757249"/>
              <a:gd name="connsiteX227" fmla="*/ 455829 w 11951120"/>
              <a:gd name="connsiteY227" fmla="*/ 5886602 h 6757249"/>
              <a:gd name="connsiteX228" fmla="*/ 11061478 w 11951120"/>
              <a:gd name="connsiteY228" fmla="*/ 5877265 h 6757249"/>
              <a:gd name="connsiteX229" fmla="*/ 11061064 w 11951120"/>
              <a:gd name="connsiteY229" fmla="*/ 5880197 h 6757249"/>
              <a:gd name="connsiteX230" fmla="*/ 11062253 w 11951120"/>
              <a:gd name="connsiteY230" fmla="*/ 5878557 h 6757249"/>
              <a:gd name="connsiteX231" fmla="*/ 11065388 w 11951120"/>
              <a:gd name="connsiteY231" fmla="*/ 5878815 h 6757249"/>
              <a:gd name="connsiteX232" fmla="*/ 11061986 w 11951120"/>
              <a:gd name="connsiteY232" fmla="*/ 5877265 h 6757249"/>
              <a:gd name="connsiteX233" fmla="*/ 503200 w 11951120"/>
              <a:gd name="connsiteY233" fmla="*/ 5854802 h 6757249"/>
              <a:gd name="connsiteX234" fmla="*/ 503085 w 11951120"/>
              <a:gd name="connsiteY234" fmla="*/ 5855150 h 6757249"/>
              <a:gd name="connsiteX235" fmla="*/ 503200 w 11951120"/>
              <a:gd name="connsiteY235" fmla="*/ 5855171 h 6757249"/>
              <a:gd name="connsiteX236" fmla="*/ 793506 w 11951120"/>
              <a:gd name="connsiteY236" fmla="*/ 5851309 h 6757249"/>
              <a:gd name="connsiteX237" fmla="*/ 790825 w 11951120"/>
              <a:gd name="connsiteY237" fmla="*/ 5853304 h 6757249"/>
              <a:gd name="connsiteX238" fmla="*/ 793506 w 11951120"/>
              <a:gd name="connsiteY238" fmla="*/ 5854167 h 6757249"/>
              <a:gd name="connsiteX239" fmla="*/ 526775 w 11951120"/>
              <a:gd name="connsiteY239" fmla="*/ 5845158 h 6757249"/>
              <a:gd name="connsiteX240" fmla="*/ 525544 w 11951120"/>
              <a:gd name="connsiteY240" fmla="*/ 5851125 h 6757249"/>
              <a:gd name="connsiteX241" fmla="*/ 525672 w 11951120"/>
              <a:gd name="connsiteY241" fmla="*/ 5851125 h 6757249"/>
              <a:gd name="connsiteX242" fmla="*/ 526870 w 11951120"/>
              <a:gd name="connsiteY242" fmla="*/ 5845377 h 6757249"/>
              <a:gd name="connsiteX243" fmla="*/ 985923 w 11951120"/>
              <a:gd name="connsiteY243" fmla="*/ 5830294 h 6757249"/>
              <a:gd name="connsiteX244" fmla="*/ 986010 w 11951120"/>
              <a:gd name="connsiteY244" fmla="*/ 5831673 h 6757249"/>
              <a:gd name="connsiteX245" fmla="*/ 986618 w 11951120"/>
              <a:gd name="connsiteY245" fmla="*/ 5830294 h 6757249"/>
              <a:gd name="connsiteX246" fmla="*/ 481159 w 11951120"/>
              <a:gd name="connsiteY246" fmla="*/ 5826915 h 6757249"/>
              <a:gd name="connsiteX247" fmla="*/ 478180 w 11951120"/>
              <a:gd name="connsiteY247" fmla="*/ 5830668 h 6757249"/>
              <a:gd name="connsiteX248" fmla="*/ 482107 w 11951120"/>
              <a:gd name="connsiteY248" fmla="*/ 5830293 h 6757249"/>
              <a:gd name="connsiteX249" fmla="*/ 482642 w 11951120"/>
              <a:gd name="connsiteY249" fmla="*/ 5833536 h 6757249"/>
              <a:gd name="connsiteX250" fmla="*/ 482642 w 11951120"/>
              <a:gd name="connsiteY250" fmla="*/ 5830293 h 6757249"/>
              <a:gd name="connsiteX251" fmla="*/ 483206 w 11951120"/>
              <a:gd name="connsiteY251" fmla="*/ 5830293 h 6757249"/>
              <a:gd name="connsiteX252" fmla="*/ 482080 w 11951120"/>
              <a:gd name="connsiteY252" fmla="*/ 5829538 h 6757249"/>
              <a:gd name="connsiteX253" fmla="*/ 10847305 w 11951120"/>
              <a:gd name="connsiteY253" fmla="*/ 5762498 h 6757249"/>
              <a:gd name="connsiteX254" fmla="*/ 10847308 w 11951120"/>
              <a:gd name="connsiteY254" fmla="*/ 5762562 h 6757249"/>
              <a:gd name="connsiteX255" fmla="*/ 10847382 w 11951120"/>
              <a:gd name="connsiteY255" fmla="*/ 5762535 h 6757249"/>
              <a:gd name="connsiteX256" fmla="*/ 11065417 w 11951120"/>
              <a:gd name="connsiteY256" fmla="*/ 5757394 h 6757249"/>
              <a:gd name="connsiteX257" fmla="*/ 11064864 w 11951120"/>
              <a:gd name="connsiteY257" fmla="*/ 5760872 h 6757249"/>
              <a:gd name="connsiteX258" fmla="*/ 11065940 w 11951120"/>
              <a:gd name="connsiteY258" fmla="*/ 5759377 h 6757249"/>
              <a:gd name="connsiteX259" fmla="*/ 11066707 w 11951120"/>
              <a:gd name="connsiteY259" fmla="*/ 5757620 h 6757249"/>
              <a:gd name="connsiteX260" fmla="*/ 11066428 w 11951120"/>
              <a:gd name="connsiteY260" fmla="*/ 5757895 h 6757249"/>
              <a:gd name="connsiteX261" fmla="*/ 440239 w 11951120"/>
              <a:gd name="connsiteY261" fmla="*/ 5756554 h 6757249"/>
              <a:gd name="connsiteX262" fmla="*/ 435062 w 11951120"/>
              <a:gd name="connsiteY262" fmla="*/ 5757573 h 6757249"/>
              <a:gd name="connsiteX263" fmla="*/ 435018 w 11951120"/>
              <a:gd name="connsiteY263" fmla="*/ 5757661 h 6757249"/>
              <a:gd name="connsiteX264" fmla="*/ 434702 w 11951120"/>
              <a:gd name="connsiteY264" fmla="*/ 5757644 h 6757249"/>
              <a:gd name="connsiteX265" fmla="*/ 433937 w 11951120"/>
              <a:gd name="connsiteY265" fmla="*/ 5757794 h 6757249"/>
              <a:gd name="connsiteX266" fmla="*/ 435378 w 11951120"/>
              <a:gd name="connsiteY266" fmla="*/ 5766276 h 6757249"/>
              <a:gd name="connsiteX267" fmla="*/ 438133 w 11951120"/>
              <a:gd name="connsiteY267" fmla="*/ 5758676 h 6757249"/>
              <a:gd name="connsiteX268" fmla="*/ 438905 w 11951120"/>
              <a:gd name="connsiteY268" fmla="*/ 5757897 h 6757249"/>
              <a:gd name="connsiteX269" fmla="*/ 434898 w 11951120"/>
              <a:gd name="connsiteY269" fmla="*/ 5757897 h 6757249"/>
              <a:gd name="connsiteX270" fmla="*/ 435018 w 11951120"/>
              <a:gd name="connsiteY270" fmla="*/ 5757661 h 6757249"/>
              <a:gd name="connsiteX271" fmla="*/ 438925 w 11951120"/>
              <a:gd name="connsiteY271" fmla="*/ 5757877 h 6757249"/>
              <a:gd name="connsiteX272" fmla="*/ 456435 w 11951120"/>
              <a:gd name="connsiteY272" fmla="*/ 5752247 h 6757249"/>
              <a:gd name="connsiteX273" fmla="*/ 456123 w 11951120"/>
              <a:gd name="connsiteY273" fmla="*/ 5752641 h 6757249"/>
              <a:gd name="connsiteX274" fmla="*/ 456325 w 11951120"/>
              <a:gd name="connsiteY274" fmla="*/ 5752703 h 6757249"/>
              <a:gd name="connsiteX275" fmla="*/ 11516742 w 11951120"/>
              <a:gd name="connsiteY275" fmla="*/ 5655347 h 6757249"/>
              <a:gd name="connsiteX276" fmla="*/ 11516742 w 11951120"/>
              <a:gd name="connsiteY276" fmla="*/ 5657013 h 6757249"/>
              <a:gd name="connsiteX277" fmla="*/ 11515329 w 11951120"/>
              <a:gd name="connsiteY277" fmla="*/ 5657790 h 6757249"/>
              <a:gd name="connsiteX278" fmla="*/ 11516788 w 11951120"/>
              <a:gd name="connsiteY278" fmla="*/ 5659166 h 6757249"/>
              <a:gd name="connsiteX279" fmla="*/ 11517075 w 11951120"/>
              <a:gd name="connsiteY279" fmla="*/ 5657883 h 6757249"/>
              <a:gd name="connsiteX280" fmla="*/ 10439906 w 11951120"/>
              <a:gd name="connsiteY280" fmla="*/ 5648132 h 6757249"/>
              <a:gd name="connsiteX281" fmla="*/ 10439166 w 11951120"/>
              <a:gd name="connsiteY281" fmla="*/ 5649044 h 6757249"/>
              <a:gd name="connsiteX282" fmla="*/ 10432795 w 11951120"/>
              <a:gd name="connsiteY282" fmla="*/ 5661826 h 6757249"/>
              <a:gd name="connsiteX283" fmla="*/ 10433479 w 11951120"/>
              <a:gd name="connsiteY283" fmla="*/ 5661369 h 6757249"/>
              <a:gd name="connsiteX284" fmla="*/ 10432812 w 11951120"/>
              <a:gd name="connsiteY284" fmla="*/ 5663402 h 6757249"/>
              <a:gd name="connsiteX285" fmla="*/ 10436193 w 11951120"/>
              <a:gd name="connsiteY285" fmla="*/ 5658881 h 6757249"/>
              <a:gd name="connsiteX286" fmla="*/ 10433479 w 11951120"/>
              <a:gd name="connsiteY286" fmla="*/ 5661369 h 6757249"/>
              <a:gd name="connsiteX287" fmla="*/ 11374235 w 11951120"/>
              <a:gd name="connsiteY287" fmla="*/ 5580423 h 6757249"/>
              <a:gd name="connsiteX288" fmla="*/ 11372843 w 11951120"/>
              <a:gd name="connsiteY288" fmla="*/ 5581920 h 6757249"/>
              <a:gd name="connsiteX289" fmla="*/ 11371681 w 11951120"/>
              <a:gd name="connsiteY289" fmla="*/ 5582148 h 6757249"/>
              <a:gd name="connsiteX290" fmla="*/ 11373775 w 11951120"/>
              <a:gd name="connsiteY290" fmla="*/ 5582884 h 6757249"/>
              <a:gd name="connsiteX291" fmla="*/ 1542350 w 11951120"/>
              <a:gd name="connsiteY291" fmla="*/ 5539696 h 6757249"/>
              <a:gd name="connsiteX292" fmla="*/ 1540212 w 11951120"/>
              <a:gd name="connsiteY292" fmla="*/ 5541658 h 6757249"/>
              <a:gd name="connsiteX293" fmla="*/ 1547285 w 11951120"/>
              <a:gd name="connsiteY293" fmla="*/ 5552362 h 6757249"/>
              <a:gd name="connsiteX294" fmla="*/ 580162 w 11951120"/>
              <a:gd name="connsiteY294" fmla="*/ 5511565 h 6757249"/>
              <a:gd name="connsiteX295" fmla="*/ 579520 w 11951120"/>
              <a:gd name="connsiteY295" fmla="*/ 5511702 h 6757249"/>
              <a:gd name="connsiteX296" fmla="*/ 579510 w 11951120"/>
              <a:gd name="connsiteY296" fmla="*/ 5511707 h 6757249"/>
              <a:gd name="connsiteX297" fmla="*/ 579880 w 11951120"/>
              <a:gd name="connsiteY297" fmla="*/ 5511972 h 6757249"/>
              <a:gd name="connsiteX298" fmla="*/ 11373929 w 11951120"/>
              <a:gd name="connsiteY298" fmla="*/ 5464554 h 6757249"/>
              <a:gd name="connsiteX299" fmla="*/ 11371948 w 11951120"/>
              <a:gd name="connsiteY299" fmla="*/ 5468525 h 6757249"/>
              <a:gd name="connsiteX300" fmla="*/ 11371723 w 11951120"/>
              <a:gd name="connsiteY300" fmla="*/ 5468751 h 6757249"/>
              <a:gd name="connsiteX301" fmla="*/ 11371370 w 11951120"/>
              <a:gd name="connsiteY301" fmla="*/ 5469440 h 6757249"/>
              <a:gd name="connsiteX302" fmla="*/ 11372843 w 11951120"/>
              <a:gd name="connsiteY302" fmla="*/ 5468310 h 6757249"/>
              <a:gd name="connsiteX303" fmla="*/ 11381628 w 11951120"/>
              <a:gd name="connsiteY303" fmla="*/ 5468310 h 6757249"/>
              <a:gd name="connsiteX304" fmla="*/ 262189 w 11951120"/>
              <a:gd name="connsiteY304" fmla="*/ 5464072 h 6757249"/>
              <a:gd name="connsiteX305" fmla="*/ 262189 w 11951120"/>
              <a:gd name="connsiteY305" fmla="*/ 5464768 h 6757249"/>
              <a:gd name="connsiteX306" fmla="*/ 263463 w 11951120"/>
              <a:gd name="connsiteY306" fmla="*/ 5467947 h 6757249"/>
              <a:gd name="connsiteX307" fmla="*/ 263463 w 11951120"/>
              <a:gd name="connsiteY307" fmla="*/ 5465437 h 6757249"/>
              <a:gd name="connsiteX308" fmla="*/ 265297 w 11951120"/>
              <a:gd name="connsiteY308" fmla="*/ 5464485 h 6757249"/>
              <a:gd name="connsiteX309" fmla="*/ 9832971 w 11951120"/>
              <a:gd name="connsiteY309" fmla="*/ 5463969 h 6757249"/>
              <a:gd name="connsiteX310" fmla="*/ 9825829 w 11951120"/>
              <a:gd name="connsiteY310" fmla="*/ 5470695 h 6757249"/>
              <a:gd name="connsiteX311" fmla="*/ 9831333 w 11951120"/>
              <a:gd name="connsiteY311" fmla="*/ 5468542 h 6757249"/>
              <a:gd name="connsiteX312" fmla="*/ 1421113 w 11951120"/>
              <a:gd name="connsiteY312" fmla="*/ 5366999 h 6757249"/>
              <a:gd name="connsiteX313" fmla="*/ 1413564 w 11951120"/>
              <a:gd name="connsiteY313" fmla="*/ 5374597 h 6757249"/>
              <a:gd name="connsiteX314" fmla="*/ 1415421 w 11951120"/>
              <a:gd name="connsiteY314" fmla="*/ 5373905 h 6757249"/>
              <a:gd name="connsiteX315" fmla="*/ 1421113 w 11951120"/>
              <a:gd name="connsiteY315" fmla="*/ 5370086 h 6757249"/>
              <a:gd name="connsiteX316" fmla="*/ 10125627 w 11951120"/>
              <a:gd name="connsiteY316" fmla="*/ 5342587 h 6757249"/>
              <a:gd name="connsiteX317" fmla="*/ 10123134 w 11951120"/>
              <a:gd name="connsiteY317" fmla="*/ 5344453 h 6757249"/>
              <a:gd name="connsiteX318" fmla="*/ 10119403 w 11951120"/>
              <a:gd name="connsiteY318" fmla="*/ 5350069 h 6757249"/>
              <a:gd name="connsiteX319" fmla="*/ 10116957 w 11951120"/>
              <a:gd name="connsiteY319" fmla="*/ 5352929 h 6757249"/>
              <a:gd name="connsiteX320" fmla="*/ 10113033 w 11951120"/>
              <a:gd name="connsiteY320" fmla="*/ 5358619 h 6757249"/>
              <a:gd name="connsiteX321" fmla="*/ 10123783 w 11951120"/>
              <a:gd name="connsiteY321" fmla="*/ 5345673 h 6757249"/>
              <a:gd name="connsiteX322" fmla="*/ 578477 w 11951120"/>
              <a:gd name="connsiteY322" fmla="*/ 5325100 h 6757249"/>
              <a:gd name="connsiteX323" fmla="*/ 574600 w 11951120"/>
              <a:gd name="connsiteY323" fmla="*/ 5327112 h 6757249"/>
              <a:gd name="connsiteX324" fmla="*/ 576911 w 11951120"/>
              <a:gd name="connsiteY324" fmla="*/ 5332723 h 6757249"/>
              <a:gd name="connsiteX325" fmla="*/ 1853244 w 11951120"/>
              <a:gd name="connsiteY325" fmla="*/ 5247996 h 6757249"/>
              <a:gd name="connsiteX326" fmla="*/ 1853244 w 11951120"/>
              <a:gd name="connsiteY326" fmla="*/ 5248739 h 6757249"/>
              <a:gd name="connsiteX327" fmla="*/ 1854163 w 11951120"/>
              <a:gd name="connsiteY327" fmla="*/ 5249614 h 6757249"/>
              <a:gd name="connsiteX328" fmla="*/ 11512844 w 11951120"/>
              <a:gd name="connsiteY328" fmla="*/ 5243760 h 6757249"/>
              <a:gd name="connsiteX329" fmla="*/ 11511827 w 11951120"/>
              <a:gd name="connsiteY329" fmla="*/ 5249171 h 6757249"/>
              <a:gd name="connsiteX330" fmla="*/ 11511744 w 11951120"/>
              <a:gd name="connsiteY330" fmla="*/ 5249458 h 6757249"/>
              <a:gd name="connsiteX331" fmla="*/ 11512354 w 11951120"/>
              <a:gd name="connsiteY331" fmla="*/ 5248930 h 6757249"/>
              <a:gd name="connsiteX332" fmla="*/ 11517599 w 11951120"/>
              <a:gd name="connsiteY332" fmla="*/ 5247737 h 6757249"/>
              <a:gd name="connsiteX333" fmla="*/ 11517607 w 11951120"/>
              <a:gd name="connsiteY333" fmla="*/ 5102588 h 6757249"/>
              <a:gd name="connsiteX334" fmla="*/ 11516536 w 11951120"/>
              <a:gd name="connsiteY334" fmla="*/ 5103649 h 6757249"/>
              <a:gd name="connsiteX335" fmla="*/ 11514915 w 11951120"/>
              <a:gd name="connsiteY335" fmla="*/ 5103649 h 6757249"/>
              <a:gd name="connsiteX336" fmla="*/ 11516220 w 11951120"/>
              <a:gd name="connsiteY336" fmla="*/ 5104379 h 6757249"/>
              <a:gd name="connsiteX337" fmla="*/ 11519619 w 11951120"/>
              <a:gd name="connsiteY337" fmla="*/ 5106075 h 6757249"/>
              <a:gd name="connsiteX338" fmla="*/ 11520394 w 11951120"/>
              <a:gd name="connsiteY338" fmla="*/ 5104475 h 6757249"/>
              <a:gd name="connsiteX339" fmla="*/ 11180501 w 11951120"/>
              <a:gd name="connsiteY339" fmla="*/ 5066210 h 6757249"/>
              <a:gd name="connsiteX340" fmla="*/ 11180354 w 11951120"/>
              <a:gd name="connsiteY340" fmla="*/ 5067835 h 6757249"/>
              <a:gd name="connsiteX341" fmla="*/ 11180501 w 11951120"/>
              <a:gd name="connsiteY341" fmla="*/ 5067835 h 6757249"/>
              <a:gd name="connsiteX342" fmla="*/ 864008 w 11951120"/>
              <a:gd name="connsiteY342" fmla="*/ 4958856 h 6757249"/>
              <a:gd name="connsiteX343" fmla="*/ 868756 w 11951120"/>
              <a:gd name="connsiteY343" fmla="*/ 4967163 h 6757249"/>
              <a:gd name="connsiteX344" fmla="*/ 868756 w 11951120"/>
              <a:gd name="connsiteY344" fmla="*/ 4958856 h 6757249"/>
              <a:gd name="connsiteX345" fmla="*/ 868666 w 11951120"/>
              <a:gd name="connsiteY345" fmla="*/ 4958856 h 6757249"/>
              <a:gd name="connsiteX346" fmla="*/ 1246333 w 11951120"/>
              <a:gd name="connsiteY346" fmla="*/ 4937404 h 6757249"/>
              <a:gd name="connsiteX347" fmla="*/ 1247534 w 11951120"/>
              <a:gd name="connsiteY347" fmla="*/ 4943936 h 6757249"/>
              <a:gd name="connsiteX348" fmla="*/ 1252608 w 11951120"/>
              <a:gd name="connsiteY348" fmla="*/ 4937404 h 6757249"/>
              <a:gd name="connsiteX349" fmla="*/ 573880 w 11951120"/>
              <a:gd name="connsiteY349" fmla="*/ 4884823 h 6757249"/>
              <a:gd name="connsiteX350" fmla="*/ 570705 w 11951120"/>
              <a:gd name="connsiteY350" fmla="*/ 4885466 h 6757249"/>
              <a:gd name="connsiteX351" fmla="*/ 574026 w 11951120"/>
              <a:gd name="connsiteY351" fmla="*/ 4886552 h 6757249"/>
              <a:gd name="connsiteX352" fmla="*/ 11447026 w 11951120"/>
              <a:gd name="connsiteY352" fmla="*/ 4813892 h 6757249"/>
              <a:gd name="connsiteX353" fmla="*/ 11446835 w 11951120"/>
              <a:gd name="connsiteY353" fmla="*/ 4814064 h 6757249"/>
              <a:gd name="connsiteX354" fmla="*/ 11445837 w 11951120"/>
              <a:gd name="connsiteY354" fmla="*/ 4814064 h 6757249"/>
              <a:gd name="connsiteX355" fmla="*/ 11447026 w 11951120"/>
              <a:gd name="connsiteY355" fmla="*/ 4816466 h 6757249"/>
              <a:gd name="connsiteX356" fmla="*/ 870457 w 11951120"/>
              <a:gd name="connsiteY356" fmla="*/ 4810340 h 6757249"/>
              <a:gd name="connsiteX357" fmla="*/ 867053 w 11951120"/>
              <a:gd name="connsiteY357" fmla="*/ 4813795 h 6757249"/>
              <a:gd name="connsiteX358" fmla="*/ 866830 w 11951120"/>
              <a:gd name="connsiteY358" fmla="*/ 4816457 h 6757249"/>
              <a:gd name="connsiteX359" fmla="*/ 868666 w 11951120"/>
              <a:gd name="connsiteY359" fmla="*/ 4813593 h 6757249"/>
              <a:gd name="connsiteX360" fmla="*/ 1061813 w 11951120"/>
              <a:gd name="connsiteY360" fmla="*/ 4764502 h 6757249"/>
              <a:gd name="connsiteX361" fmla="*/ 1061365 w 11951120"/>
              <a:gd name="connsiteY361" fmla="*/ 4764953 h 6757249"/>
              <a:gd name="connsiteX362" fmla="*/ 1053747 w 11951120"/>
              <a:gd name="connsiteY362" fmla="*/ 4767982 h 6757249"/>
              <a:gd name="connsiteX363" fmla="*/ 1054577 w 11951120"/>
              <a:gd name="connsiteY363" fmla="*/ 4773470 h 6757249"/>
              <a:gd name="connsiteX364" fmla="*/ 1060473 w 11951120"/>
              <a:gd name="connsiteY364" fmla="*/ 4766499 h 6757249"/>
              <a:gd name="connsiteX365" fmla="*/ 1061813 w 11951120"/>
              <a:gd name="connsiteY365" fmla="*/ 4765746 h 6757249"/>
              <a:gd name="connsiteX366" fmla="*/ 1063578 w 11951120"/>
              <a:gd name="connsiteY366" fmla="*/ 4693945 h 6757249"/>
              <a:gd name="connsiteX367" fmla="*/ 1062020 w 11951120"/>
              <a:gd name="connsiteY367" fmla="*/ 4694737 h 6757249"/>
              <a:gd name="connsiteX368" fmla="*/ 1062145 w 11951120"/>
              <a:gd name="connsiteY368" fmla="*/ 4695681 h 6757249"/>
              <a:gd name="connsiteX369" fmla="*/ 551905 w 11951120"/>
              <a:gd name="connsiteY369" fmla="*/ 4690180 h 6757249"/>
              <a:gd name="connsiteX370" fmla="*/ 550688 w 11951120"/>
              <a:gd name="connsiteY370" fmla="*/ 4690291 h 6757249"/>
              <a:gd name="connsiteX371" fmla="*/ 556367 w 11951120"/>
              <a:gd name="connsiteY371" fmla="*/ 4698294 h 6757249"/>
              <a:gd name="connsiteX372" fmla="*/ 556745 w 11951120"/>
              <a:gd name="connsiteY372" fmla="*/ 4696419 h 6757249"/>
              <a:gd name="connsiteX373" fmla="*/ 558509 w 11951120"/>
              <a:gd name="connsiteY373" fmla="*/ 4696002 h 6757249"/>
              <a:gd name="connsiteX374" fmla="*/ 557124 w 11951120"/>
              <a:gd name="connsiteY374" fmla="*/ 4695340 h 6757249"/>
              <a:gd name="connsiteX375" fmla="*/ 1777970 w 11951120"/>
              <a:gd name="connsiteY375" fmla="*/ 4650028 h 6757249"/>
              <a:gd name="connsiteX376" fmla="*/ 1777170 w 11951120"/>
              <a:gd name="connsiteY376" fmla="*/ 4650864 h 6757249"/>
              <a:gd name="connsiteX377" fmla="*/ 1778047 w 11951120"/>
              <a:gd name="connsiteY377" fmla="*/ 4650150 h 6757249"/>
              <a:gd name="connsiteX378" fmla="*/ 11495650 w 11951120"/>
              <a:gd name="connsiteY378" fmla="*/ 4554954 h 6757249"/>
              <a:gd name="connsiteX379" fmla="*/ 11496175 w 11951120"/>
              <a:gd name="connsiteY379" fmla="*/ 4556624 h 6757249"/>
              <a:gd name="connsiteX380" fmla="*/ 11496148 w 11951120"/>
              <a:gd name="connsiteY380" fmla="*/ 4554954 h 6757249"/>
              <a:gd name="connsiteX381" fmla="*/ 11709774 w 11951120"/>
              <a:gd name="connsiteY381" fmla="*/ 4550056 h 6757249"/>
              <a:gd name="connsiteX382" fmla="*/ 11709439 w 11951120"/>
              <a:gd name="connsiteY382" fmla="*/ 4551415 h 6757249"/>
              <a:gd name="connsiteX383" fmla="*/ 11709797 w 11951120"/>
              <a:gd name="connsiteY383" fmla="*/ 4551292 h 6757249"/>
              <a:gd name="connsiteX384" fmla="*/ 11709544 w 11951120"/>
              <a:gd name="connsiteY384" fmla="*/ 4552025 h 6757249"/>
              <a:gd name="connsiteX385" fmla="*/ 11710316 w 11951120"/>
              <a:gd name="connsiteY385" fmla="*/ 4551099 h 6757249"/>
              <a:gd name="connsiteX386" fmla="*/ 11711019 w 11951120"/>
              <a:gd name="connsiteY386" fmla="*/ 4550694 h 6757249"/>
              <a:gd name="connsiteX387" fmla="*/ 797528 w 11951120"/>
              <a:gd name="connsiteY387" fmla="*/ 4501923 h 6757249"/>
              <a:gd name="connsiteX388" fmla="*/ 797798 w 11951120"/>
              <a:gd name="connsiteY388" fmla="*/ 4502508 h 6757249"/>
              <a:gd name="connsiteX389" fmla="*/ 797935 w 11951120"/>
              <a:gd name="connsiteY389" fmla="*/ 4502335 h 6757249"/>
              <a:gd name="connsiteX390" fmla="*/ 11583001 w 11951120"/>
              <a:gd name="connsiteY390" fmla="*/ 4495768 h 6757249"/>
              <a:gd name="connsiteX391" fmla="*/ 11582652 w 11951120"/>
              <a:gd name="connsiteY391" fmla="*/ 4496672 h 6757249"/>
              <a:gd name="connsiteX392" fmla="*/ 11582909 w 11951120"/>
              <a:gd name="connsiteY392" fmla="*/ 4496719 h 6757249"/>
              <a:gd name="connsiteX393" fmla="*/ 11583106 w 11951120"/>
              <a:gd name="connsiteY393" fmla="*/ 4496748 h 6757249"/>
              <a:gd name="connsiteX394" fmla="*/ 11442720 w 11951120"/>
              <a:gd name="connsiteY394" fmla="*/ 4482344 h 6757249"/>
              <a:gd name="connsiteX395" fmla="*/ 11440315 w 11951120"/>
              <a:gd name="connsiteY395" fmla="*/ 4501378 h 6757249"/>
              <a:gd name="connsiteX396" fmla="*/ 11446083 w 11951120"/>
              <a:gd name="connsiteY396" fmla="*/ 4502334 h 6757249"/>
              <a:gd name="connsiteX397" fmla="*/ 888945 w 11951120"/>
              <a:gd name="connsiteY397" fmla="*/ 4453782 h 6757249"/>
              <a:gd name="connsiteX398" fmla="*/ 889252 w 11951120"/>
              <a:gd name="connsiteY398" fmla="*/ 4454235 h 6757249"/>
              <a:gd name="connsiteX399" fmla="*/ 889469 w 11951120"/>
              <a:gd name="connsiteY399" fmla="*/ 4453882 h 6757249"/>
              <a:gd name="connsiteX400" fmla="*/ 892853 w 11951120"/>
              <a:gd name="connsiteY400" fmla="*/ 4265588 h 6757249"/>
              <a:gd name="connsiteX401" fmla="*/ 892889 w 11951120"/>
              <a:gd name="connsiteY401" fmla="*/ 4265808 h 6757249"/>
              <a:gd name="connsiteX402" fmla="*/ 892554 w 11951120"/>
              <a:gd name="connsiteY402" fmla="*/ 4267510 h 6757249"/>
              <a:gd name="connsiteX403" fmla="*/ 893401 w 11951120"/>
              <a:gd name="connsiteY403" fmla="*/ 4266032 h 6757249"/>
              <a:gd name="connsiteX404" fmla="*/ 11490245 w 11951120"/>
              <a:gd name="connsiteY404" fmla="*/ 4209885 h 6757249"/>
              <a:gd name="connsiteX405" fmla="*/ 11487753 w 11951120"/>
              <a:gd name="connsiteY405" fmla="*/ 4217675 h 6757249"/>
              <a:gd name="connsiteX406" fmla="*/ 11490707 w 11951120"/>
              <a:gd name="connsiteY406" fmla="*/ 4218792 h 6757249"/>
              <a:gd name="connsiteX407" fmla="*/ 11490442 w 11951120"/>
              <a:gd name="connsiteY407" fmla="*/ 4213024 h 6757249"/>
              <a:gd name="connsiteX408" fmla="*/ 11492197 w 11951120"/>
              <a:gd name="connsiteY408" fmla="*/ 4212281 h 6757249"/>
              <a:gd name="connsiteX409" fmla="*/ 11490408 w 11951120"/>
              <a:gd name="connsiteY409" fmla="*/ 4212281 h 6757249"/>
              <a:gd name="connsiteX410" fmla="*/ 11490442 w 11951120"/>
              <a:gd name="connsiteY410" fmla="*/ 4213024 h 6757249"/>
              <a:gd name="connsiteX411" fmla="*/ 11490245 w 11951120"/>
              <a:gd name="connsiteY411" fmla="*/ 4213106 h 6757249"/>
              <a:gd name="connsiteX412" fmla="*/ 11490245 w 11951120"/>
              <a:gd name="connsiteY412" fmla="*/ 4212281 h 6757249"/>
              <a:gd name="connsiteX413" fmla="*/ 11489929 w 11951120"/>
              <a:gd name="connsiteY413" fmla="*/ 4212281 h 6757249"/>
              <a:gd name="connsiteX414" fmla="*/ 11490245 w 11951120"/>
              <a:gd name="connsiteY414" fmla="*/ 4210671 h 6757249"/>
              <a:gd name="connsiteX415" fmla="*/ 11490643 w 11951120"/>
              <a:gd name="connsiteY415" fmla="*/ 4208637 h 6757249"/>
              <a:gd name="connsiteX416" fmla="*/ 11490290 w 11951120"/>
              <a:gd name="connsiteY416" fmla="*/ 4209742 h 6757249"/>
              <a:gd name="connsiteX417" fmla="*/ 11490316 w 11951120"/>
              <a:gd name="connsiteY417" fmla="*/ 4210306 h 6757249"/>
              <a:gd name="connsiteX418" fmla="*/ 11065417 w 11951120"/>
              <a:gd name="connsiteY418" fmla="*/ 4195294 h 6757249"/>
              <a:gd name="connsiteX419" fmla="*/ 11064864 w 11951120"/>
              <a:gd name="connsiteY419" fmla="*/ 4198772 h 6757249"/>
              <a:gd name="connsiteX420" fmla="*/ 11065940 w 11951120"/>
              <a:gd name="connsiteY420" fmla="*/ 4197277 h 6757249"/>
              <a:gd name="connsiteX421" fmla="*/ 11066707 w 11951120"/>
              <a:gd name="connsiteY421" fmla="*/ 4195520 h 6757249"/>
              <a:gd name="connsiteX422" fmla="*/ 11066428 w 11951120"/>
              <a:gd name="connsiteY422" fmla="*/ 4195795 h 6757249"/>
              <a:gd name="connsiteX423" fmla="*/ 1013288 w 11951120"/>
              <a:gd name="connsiteY423" fmla="*/ 4183503 h 6757249"/>
              <a:gd name="connsiteX424" fmla="*/ 1013013 w 11951120"/>
              <a:gd name="connsiteY424" fmla="*/ 4185325 h 6757249"/>
              <a:gd name="connsiteX425" fmla="*/ 1012966 w 11951120"/>
              <a:gd name="connsiteY425" fmla="*/ 4185530 h 6757249"/>
              <a:gd name="connsiteX426" fmla="*/ 1014170 w 11951120"/>
              <a:gd name="connsiteY426" fmla="*/ 4184568 h 6757249"/>
              <a:gd name="connsiteX427" fmla="*/ 486513 w 11951120"/>
              <a:gd name="connsiteY427" fmla="*/ 4182861 h 6757249"/>
              <a:gd name="connsiteX428" fmla="*/ 481162 w 11951120"/>
              <a:gd name="connsiteY428" fmla="*/ 4187239 h 6757249"/>
              <a:gd name="connsiteX429" fmla="*/ 481275 w 11951120"/>
              <a:gd name="connsiteY429" fmla="*/ 4187269 h 6757249"/>
              <a:gd name="connsiteX430" fmla="*/ 482025 w 11951120"/>
              <a:gd name="connsiteY430" fmla="*/ 4187477 h 6757249"/>
              <a:gd name="connsiteX431" fmla="*/ 484028 w 11951120"/>
              <a:gd name="connsiteY431" fmla="*/ 4190436 h 6757249"/>
              <a:gd name="connsiteX432" fmla="*/ 486415 w 11951120"/>
              <a:gd name="connsiteY432" fmla="*/ 4183158 h 6757249"/>
              <a:gd name="connsiteX433" fmla="*/ 504442 w 11951120"/>
              <a:gd name="connsiteY433" fmla="*/ 4161275 h 6757249"/>
              <a:gd name="connsiteX434" fmla="*/ 504442 w 11951120"/>
              <a:gd name="connsiteY434" fmla="*/ 4163859 h 6757249"/>
              <a:gd name="connsiteX435" fmla="*/ 504442 w 11951120"/>
              <a:gd name="connsiteY435" fmla="*/ 4167185 h 6757249"/>
              <a:gd name="connsiteX436" fmla="*/ 507450 w 11951120"/>
              <a:gd name="connsiteY436" fmla="*/ 4164739 h 6757249"/>
              <a:gd name="connsiteX437" fmla="*/ 11584464 w 11951120"/>
              <a:gd name="connsiteY437" fmla="*/ 4139851 h 6757249"/>
              <a:gd name="connsiteX438" fmla="*/ 11587070 w 11951120"/>
              <a:gd name="connsiteY438" fmla="*/ 4141476 h 6757249"/>
              <a:gd name="connsiteX439" fmla="*/ 11587192 w 11951120"/>
              <a:gd name="connsiteY439" fmla="*/ 4140029 h 6757249"/>
              <a:gd name="connsiteX440" fmla="*/ 11688314 w 11951120"/>
              <a:gd name="connsiteY440" fmla="*/ 4136544 h 6757249"/>
              <a:gd name="connsiteX441" fmla="*/ 11687860 w 11951120"/>
              <a:gd name="connsiteY441" fmla="*/ 4137470 h 6757249"/>
              <a:gd name="connsiteX442" fmla="*/ 11687711 w 11951120"/>
              <a:gd name="connsiteY442" fmla="*/ 4138380 h 6757249"/>
              <a:gd name="connsiteX443" fmla="*/ 11688990 w 11951120"/>
              <a:gd name="connsiteY443" fmla="*/ 4138458 h 6757249"/>
              <a:gd name="connsiteX444" fmla="*/ 403026 w 11951120"/>
              <a:gd name="connsiteY444" fmla="*/ 4120750 h 6757249"/>
              <a:gd name="connsiteX445" fmla="*/ 410520 w 11951120"/>
              <a:gd name="connsiteY445" fmla="*/ 4191289 h 6757249"/>
              <a:gd name="connsiteX446" fmla="*/ 411072 w 11951120"/>
              <a:gd name="connsiteY446" fmla="*/ 4187477 h 6757249"/>
              <a:gd name="connsiteX447" fmla="*/ 411179 w 11951120"/>
              <a:gd name="connsiteY447" fmla="*/ 4187449 h 6757249"/>
              <a:gd name="connsiteX448" fmla="*/ 407405 w 11951120"/>
              <a:gd name="connsiteY448" fmla="*/ 4120750 h 6757249"/>
              <a:gd name="connsiteX449" fmla="*/ 386115 w 11951120"/>
              <a:gd name="connsiteY449" fmla="*/ 4029086 h 6757249"/>
              <a:gd name="connsiteX450" fmla="*/ 382693 w 11951120"/>
              <a:gd name="connsiteY450" fmla="*/ 4031937 h 6757249"/>
              <a:gd name="connsiteX451" fmla="*/ 386115 w 11951120"/>
              <a:gd name="connsiteY451" fmla="*/ 4033366 h 6757249"/>
              <a:gd name="connsiteX452" fmla="*/ 387784 w 11951120"/>
              <a:gd name="connsiteY452" fmla="*/ 4022436 h 6757249"/>
              <a:gd name="connsiteX453" fmla="*/ 387088 w 11951120"/>
              <a:gd name="connsiteY453" fmla="*/ 4023181 h 6757249"/>
              <a:gd name="connsiteX454" fmla="*/ 386274 w 11951120"/>
              <a:gd name="connsiteY454" fmla="*/ 4024538 h 6757249"/>
              <a:gd name="connsiteX455" fmla="*/ 386274 w 11951120"/>
              <a:gd name="connsiteY455" fmla="*/ 4027064 h 6757249"/>
              <a:gd name="connsiteX456" fmla="*/ 675702 w 11951120"/>
              <a:gd name="connsiteY456" fmla="*/ 3990375 h 6757249"/>
              <a:gd name="connsiteX457" fmla="*/ 674957 w 11951120"/>
              <a:gd name="connsiteY457" fmla="*/ 3992992 h 6757249"/>
              <a:gd name="connsiteX458" fmla="*/ 673819 w 11951120"/>
              <a:gd name="connsiteY458" fmla="*/ 3993768 h 6757249"/>
              <a:gd name="connsiteX459" fmla="*/ 675702 w 11951120"/>
              <a:gd name="connsiteY459" fmla="*/ 3993836 h 6757249"/>
              <a:gd name="connsiteX460" fmla="*/ 413856 w 11951120"/>
              <a:gd name="connsiteY460" fmla="*/ 3978253 h 6757249"/>
              <a:gd name="connsiteX461" fmla="*/ 412893 w 11951120"/>
              <a:gd name="connsiteY461" fmla="*/ 3978446 h 6757249"/>
              <a:gd name="connsiteX462" fmla="*/ 412697 w 11951120"/>
              <a:gd name="connsiteY462" fmla="*/ 3979229 h 6757249"/>
              <a:gd name="connsiteX463" fmla="*/ 382864 w 11951120"/>
              <a:gd name="connsiteY463" fmla="*/ 3976294 h 6757249"/>
              <a:gd name="connsiteX464" fmla="*/ 386117 w 11951120"/>
              <a:gd name="connsiteY464" fmla="*/ 3977378 h 6757249"/>
              <a:gd name="connsiteX465" fmla="*/ 386117 w 11951120"/>
              <a:gd name="connsiteY465" fmla="*/ 3977300 h 6757249"/>
              <a:gd name="connsiteX466" fmla="*/ 385110 w 11951120"/>
              <a:gd name="connsiteY466" fmla="*/ 3976294 h 6757249"/>
              <a:gd name="connsiteX467" fmla="*/ 440414 w 11951120"/>
              <a:gd name="connsiteY467" fmla="*/ 3962552 h 6757249"/>
              <a:gd name="connsiteX468" fmla="*/ 442426 w 11951120"/>
              <a:gd name="connsiteY468" fmla="*/ 3965568 h 6757249"/>
              <a:gd name="connsiteX469" fmla="*/ 433710 w 11951120"/>
              <a:gd name="connsiteY469" fmla="*/ 3974282 h 6757249"/>
              <a:gd name="connsiteX470" fmla="*/ 431195 w 11951120"/>
              <a:gd name="connsiteY470" fmla="*/ 3974785 h 6757249"/>
              <a:gd name="connsiteX471" fmla="*/ 432889 w 11951120"/>
              <a:gd name="connsiteY471" fmla="*/ 3975193 h 6757249"/>
              <a:gd name="connsiteX472" fmla="*/ 434381 w 11951120"/>
              <a:gd name="connsiteY472" fmla="*/ 3980120 h 6757249"/>
              <a:gd name="connsiteX473" fmla="*/ 434583 w 11951120"/>
              <a:gd name="connsiteY473" fmla="*/ 3980790 h 6757249"/>
              <a:gd name="connsiteX474" fmla="*/ 445106 w 11951120"/>
              <a:gd name="connsiteY474" fmla="*/ 3970637 h 6757249"/>
              <a:gd name="connsiteX475" fmla="*/ 455831 w 11951120"/>
              <a:gd name="connsiteY475" fmla="*/ 3976630 h 6757249"/>
              <a:gd name="connsiteX476" fmla="*/ 455831 w 11951120"/>
              <a:gd name="connsiteY476" fmla="*/ 3977633 h 6757249"/>
              <a:gd name="connsiteX477" fmla="*/ 456500 w 11951120"/>
              <a:gd name="connsiteY477" fmla="*/ 3976630 h 6757249"/>
              <a:gd name="connsiteX478" fmla="*/ 457843 w 11951120"/>
              <a:gd name="connsiteY478" fmla="*/ 3975958 h 6757249"/>
              <a:gd name="connsiteX479" fmla="*/ 455830 w 11951120"/>
              <a:gd name="connsiteY479" fmla="*/ 3975958 h 6757249"/>
              <a:gd name="connsiteX480" fmla="*/ 455830 w 11951120"/>
              <a:gd name="connsiteY480" fmla="*/ 3962552 h 6757249"/>
              <a:gd name="connsiteX481" fmla="*/ 503201 w 11951120"/>
              <a:gd name="connsiteY481" fmla="*/ 3930752 h 6757249"/>
              <a:gd name="connsiteX482" fmla="*/ 503086 w 11951120"/>
              <a:gd name="connsiteY482" fmla="*/ 3931100 h 6757249"/>
              <a:gd name="connsiteX483" fmla="*/ 503201 w 11951120"/>
              <a:gd name="connsiteY483" fmla="*/ 3931121 h 6757249"/>
              <a:gd name="connsiteX484" fmla="*/ 793507 w 11951120"/>
              <a:gd name="connsiteY484" fmla="*/ 3927259 h 6757249"/>
              <a:gd name="connsiteX485" fmla="*/ 790826 w 11951120"/>
              <a:gd name="connsiteY485" fmla="*/ 3929254 h 6757249"/>
              <a:gd name="connsiteX486" fmla="*/ 793507 w 11951120"/>
              <a:gd name="connsiteY486" fmla="*/ 3930117 h 6757249"/>
              <a:gd name="connsiteX487" fmla="*/ 526776 w 11951120"/>
              <a:gd name="connsiteY487" fmla="*/ 3921108 h 6757249"/>
              <a:gd name="connsiteX488" fmla="*/ 525545 w 11951120"/>
              <a:gd name="connsiteY488" fmla="*/ 3927075 h 6757249"/>
              <a:gd name="connsiteX489" fmla="*/ 525673 w 11951120"/>
              <a:gd name="connsiteY489" fmla="*/ 3927075 h 6757249"/>
              <a:gd name="connsiteX490" fmla="*/ 526871 w 11951120"/>
              <a:gd name="connsiteY490" fmla="*/ 3921327 h 6757249"/>
              <a:gd name="connsiteX491" fmla="*/ 985924 w 11951120"/>
              <a:gd name="connsiteY491" fmla="*/ 3906244 h 6757249"/>
              <a:gd name="connsiteX492" fmla="*/ 986011 w 11951120"/>
              <a:gd name="connsiteY492" fmla="*/ 3907623 h 6757249"/>
              <a:gd name="connsiteX493" fmla="*/ 986619 w 11951120"/>
              <a:gd name="connsiteY493" fmla="*/ 3906244 h 6757249"/>
              <a:gd name="connsiteX494" fmla="*/ 481160 w 11951120"/>
              <a:gd name="connsiteY494" fmla="*/ 3902865 h 6757249"/>
              <a:gd name="connsiteX495" fmla="*/ 478181 w 11951120"/>
              <a:gd name="connsiteY495" fmla="*/ 3906618 h 6757249"/>
              <a:gd name="connsiteX496" fmla="*/ 482108 w 11951120"/>
              <a:gd name="connsiteY496" fmla="*/ 3906243 h 6757249"/>
              <a:gd name="connsiteX497" fmla="*/ 482643 w 11951120"/>
              <a:gd name="connsiteY497" fmla="*/ 3909486 h 6757249"/>
              <a:gd name="connsiteX498" fmla="*/ 482643 w 11951120"/>
              <a:gd name="connsiteY498" fmla="*/ 3906243 h 6757249"/>
              <a:gd name="connsiteX499" fmla="*/ 483207 w 11951120"/>
              <a:gd name="connsiteY499" fmla="*/ 3906243 h 6757249"/>
              <a:gd name="connsiteX500" fmla="*/ 482081 w 11951120"/>
              <a:gd name="connsiteY500" fmla="*/ 3905488 h 6757249"/>
              <a:gd name="connsiteX501" fmla="*/ 11373929 w 11951120"/>
              <a:gd name="connsiteY501" fmla="*/ 3902454 h 6757249"/>
              <a:gd name="connsiteX502" fmla="*/ 11371948 w 11951120"/>
              <a:gd name="connsiteY502" fmla="*/ 3906425 h 6757249"/>
              <a:gd name="connsiteX503" fmla="*/ 11371723 w 11951120"/>
              <a:gd name="connsiteY503" fmla="*/ 3906651 h 6757249"/>
              <a:gd name="connsiteX504" fmla="*/ 11371370 w 11951120"/>
              <a:gd name="connsiteY504" fmla="*/ 3907340 h 6757249"/>
              <a:gd name="connsiteX505" fmla="*/ 11372843 w 11951120"/>
              <a:gd name="connsiteY505" fmla="*/ 3906210 h 6757249"/>
              <a:gd name="connsiteX506" fmla="*/ 11381628 w 11951120"/>
              <a:gd name="connsiteY506" fmla="*/ 3906210 h 6757249"/>
              <a:gd name="connsiteX507" fmla="*/ 440240 w 11951120"/>
              <a:gd name="connsiteY507" fmla="*/ 3832504 h 6757249"/>
              <a:gd name="connsiteX508" fmla="*/ 435063 w 11951120"/>
              <a:gd name="connsiteY508" fmla="*/ 3833523 h 6757249"/>
              <a:gd name="connsiteX509" fmla="*/ 435019 w 11951120"/>
              <a:gd name="connsiteY509" fmla="*/ 3833611 h 6757249"/>
              <a:gd name="connsiteX510" fmla="*/ 434703 w 11951120"/>
              <a:gd name="connsiteY510" fmla="*/ 3833594 h 6757249"/>
              <a:gd name="connsiteX511" fmla="*/ 433938 w 11951120"/>
              <a:gd name="connsiteY511" fmla="*/ 3833744 h 6757249"/>
              <a:gd name="connsiteX512" fmla="*/ 435379 w 11951120"/>
              <a:gd name="connsiteY512" fmla="*/ 3842226 h 6757249"/>
              <a:gd name="connsiteX513" fmla="*/ 438134 w 11951120"/>
              <a:gd name="connsiteY513" fmla="*/ 3834626 h 6757249"/>
              <a:gd name="connsiteX514" fmla="*/ 438906 w 11951120"/>
              <a:gd name="connsiteY514" fmla="*/ 3833847 h 6757249"/>
              <a:gd name="connsiteX515" fmla="*/ 434899 w 11951120"/>
              <a:gd name="connsiteY515" fmla="*/ 3833847 h 6757249"/>
              <a:gd name="connsiteX516" fmla="*/ 435019 w 11951120"/>
              <a:gd name="connsiteY516" fmla="*/ 3833611 h 6757249"/>
              <a:gd name="connsiteX517" fmla="*/ 438926 w 11951120"/>
              <a:gd name="connsiteY517" fmla="*/ 3833827 h 6757249"/>
              <a:gd name="connsiteX518" fmla="*/ 456436 w 11951120"/>
              <a:gd name="connsiteY518" fmla="*/ 3828197 h 6757249"/>
              <a:gd name="connsiteX519" fmla="*/ 456124 w 11951120"/>
              <a:gd name="connsiteY519" fmla="*/ 3828591 h 6757249"/>
              <a:gd name="connsiteX520" fmla="*/ 456326 w 11951120"/>
              <a:gd name="connsiteY520" fmla="*/ 3828653 h 6757249"/>
              <a:gd name="connsiteX521" fmla="*/ 10125627 w 11951120"/>
              <a:gd name="connsiteY521" fmla="*/ 3780487 h 6757249"/>
              <a:gd name="connsiteX522" fmla="*/ 10123134 w 11951120"/>
              <a:gd name="connsiteY522" fmla="*/ 3782353 h 6757249"/>
              <a:gd name="connsiteX523" fmla="*/ 10119403 w 11951120"/>
              <a:gd name="connsiteY523" fmla="*/ 3787969 h 6757249"/>
              <a:gd name="connsiteX524" fmla="*/ 10116957 w 11951120"/>
              <a:gd name="connsiteY524" fmla="*/ 3790829 h 6757249"/>
              <a:gd name="connsiteX525" fmla="*/ 10113033 w 11951120"/>
              <a:gd name="connsiteY525" fmla="*/ 3796519 h 6757249"/>
              <a:gd name="connsiteX526" fmla="*/ 10123783 w 11951120"/>
              <a:gd name="connsiteY526" fmla="*/ 3783573 h 6757249"/>
              <a:gd name="connsiteX527" fmla="*/ 11512844 w 11951120"/>
              <a:gd name="connsiteY527" fmla="*/ 3681660 h 6757249"/>
              <a:gd name="connsiteX528" fmla="*/ 11511827 w 11951120"/>
              <a:gd name="connsiteY528" fmla="*/ 3687071 h 6757249"/>
              <a:gd name="connsiteX529" fmla="*/ 11511744 w 11951120"/>
              <a:gd name="connsiteY529" fmla="*/ 3687358 h 6757249"/>
              <a:gd name="connsiteX530" fmla="*/ 11512354 w 11951120"/>
              <a:gd name="connsiteY530" fmla="*/ 3686830 h 6757249"/>
              <a:gd name="connsiteX531" fmla="*/ 11517599 w 11951120"/>
              <a:gd name="connsiteY531" fmla="*/ 3685637 h 6757249"/>
              <a:gd name="connsiteX532" fmla="*/ 1542351 w 11951120"/>
              <a:gd name="connsiteY532" fmla="*/ 3615646 h 6757249"/>
              <a:gd name="connsiteX533" fmla="*/ 1540213 w 11951120"/>
              <a:gd name="connsiteY533" fmla="*/ 3617608 h 6757249"/>
              <a:gd name="connsiteX534" fmla="*/ 1547286 w 11951120"/>
              <a:gd name="connsiteY534" fmla="*/ 3628312 h 6757249"/>
              <a:gd name="connsiteX535" fmla="*/ 580163 w 11951120"/>
              <a:gd name="connsiteY535" fmla="*/ 3587515 h 6757249"/>
              <a:gd name="connsiteX536" fmla="*/ 579521 w 11951120"/>
              <a:gd name="connsiteY536" fmla="*/ 3587652 h 6757249"/>
              <a:gd name="connsiteX537" fmla="*/ 579511 w 11951120"/>
              <a:gd name="connsiteY537" fmla="*/ 3587657 h 6757249"/>
              <a:gd name="connsiteX538" fmla="*/ 579881 w 11951120"/>
              <a:gd name="connsiteY538" fmla="*/ 3587922 h 6757249"/>
              <a:gd name="connsiteX539" fmla="*/ 11517607 w 11951120"/>
              <a:gd name="connsiteY539" fmla="*/ 3540488 h 6757249"/>
              <a:gd name="connsiteX540" fmla="*/ 11516536 w 11951120"/>
              <a:gd name="connsiteY540" fmla="*/ 3541549 h 6757249"/>
              <a:gd name="connsiteX541" fmla="*/ 11514915 w 11951120"/>
              <a:gd name="connsiteY541" fmla="*/ 3541549 h 6757249"/>
              <a:gd name="connsiteX542" fmla="*/ 11516220 w 11951120"/>
              <a:gd name="connsiteY542" fmla="*/ 3542279 h 6757249"/>
              <a:gd name="connsiteX543" fmla="*/ 11519619 w 11951120"/>
              <a:gd name="connsiteY543" fmla="*/ 3543975 h 6757249"/>
              <a:gd name="connsiteX544" fmla="*/ 11520394 w 11951120"/>
              <a:gd name="connsiteY544" fmla="*/ 3542375 h 6757249"/>
              <a:gd name="connsiteX545" fmla="*/ 262190 w 11951120"/>
              <a:gd name="connsiteY545" fmla="*/ 3540022 h 6757249"/>
              <a:gd name="connsiteX546" fmla="*/ 262190 w 11951120"/>
              <a:gd name="connsiteY546" fmla="*/ 3540718 h 6757249"/>
              <a:gd name="connsiteX547" fmla="*/ 263464 w 11951120"/>
              <a:gd name="connsiteY547" fmla="*/ 3543897 h 6757249"/>
              <a:gd name="connsiteX548" fmla="*/ 263464 w 11951120"/>
              <a:gd name="connsiteY548" fmla="*/ 3541387 h 6757249"/>
              <a:gd name="connsiteX549" fmla="*/ 265298 w 11951120"/>
              <a:gd name="connsiteY549" fmla="*/ 3540435 h 6757249"/>
              <a:gd name="connsiteX550" fmla="*/ 11180501 w 11951120"/>
              <a:gd name="connsiteY550" fmla="*/ 3504110 h 6757249"/>
              <a:gd name="connsiteX551" fmla="*/ 11180354 w 11951120"/>
              <a:gd name="connsiteY551" fmla="*/ 3505735 h 6757249"/>
              <a:gd name="connsiteX552" fmla="*/ 11180501 w 11951120"/>
              <a:gd name="connsiteY552" fmla="*/ 3505735 h 6757249"/>
              <a:gd name="connsiteX553" fmla="*/ 1421114 w 11951120"/>
              <a:gd name="connsiteY553" fmla="*/ 3442949 h 6757249"/>
              <a:gd name="connsiteX554" fmla="*/ 1413565 w 11951120"/>
              <a:gd name="connsiteY554" fmla="*/ 3450547 h 6757249"/>
              <a:gd name="connsiteX555" fmla="*/ 1415422 w 11951120"/>
              <a:gd name="connsiteY555" fmla="*/ 3449855 h 6757249"/>
              <a:gd name="connsiteX556" fmla="*/ 1421114 w 11951120"/>
              <a:gd name="connsiteY556" fmla="*/ 3446036 h 6757249"/>
              <a:gd name="connsiteX557" fmla="*/ 578478 w 11951120"/>
              <a:gd name="connsiteY557" fmla="*/ 3401050 h 6757249"/>
              <a:gd name="connsiteX558" fmla="*/ 574601 w 11951120"/>
              <a:gd name="connsiteY558" fmla="*/ 3403062 h 6757249"/>
              <a:gd name="connsiteX559" fmla="*/ 576912 w 11951120"/>
              <a:gd name="connsiteY559" fmla="*/ 3408673 h 6757249"/>
              <a:gd name="connsiteX560" fmla="*/ 1853245 w 11951120"/>
              <a:gd name="connsiteY560" fmla="*/ 3323946 h 6757249"/>
              <a:gd name="connsiteX561" fmla="*/ 1853245 w 11951120"/>
              <a:gd name="connsiteY561" fmla="*/ 3324689 h 6757249"/>
              <a:gd name="connsiteX562" fmla="*/ 1854164 w 11951120"/>
              <a:gd name="connsiteY562" fmla="*/ 3325564 h 6757249"/>
              <a:gd name="connsiteX563" fmla="*/ 11447026 w 11951120"/>
              <a:gd name="connsiteY563" fmla="*/ 3251792 h 6757249"/>
              <a:gd name="connsiteX564" fmla="*/ 11446835 w 11951120"/>
              <a:gd name="connsiteY564" fmla="*/ 3251964 h 6757249"/>
              <a:gd name="connsiteX565" fmla="*/ 11445837 w 11951120"/>
              <a:gd name="connsiteY565" fmla="*/ 3251964 h 6757249"/>
              <a:gd name="connsiteX566" fmla="*/ 11447026 w 11951120"/>
              <a:gd name="connsiteY566" fmla="*/ 3254366 h 6757249"/>
              <a:gd name="connsiteX567" fmla="*/ 864009 w 11951120"/>
              <a:gd name="connsiteY567" fmla="*/ 3034806 h 6757249"/>
              <a:gd name="connsiteX568" fmla="*/ 868757 w 11951120"/>
              <a:gd name="connsiteY568" fmla="*/ 3043113 h 6757249"/>
              <a:gd name="connsiteX569" fmla="*/ 868757 w 11951120"/>
              <a:gd name="connsiteY569" fmla="*/ 3034806 h 6757249"/>
              <a:gd name="connsiteX570" fmla="*/ 868667 w 11951120"/>
              <a:gd name="connsiteY570" fmla="*/ 3034806 h 6757249"/>
              <a:gd name="connsiteX571" fmla="*/ 1246334 w 11951120"/>
              <a:gd name="connsiteY571" fmla="*/ 3013354 h 6757249"/>
              <a:gd name="connsiteX572" fmla="*/ 1247535 w 11951120"/>
              <a:gd name="connsiteY572" fmla="*/ 3019886 h 6757249"/>
              <a:gd name="connsiteX573" fmla="*/ 1252609 w 11951120"/>
              <a:gd name="connsiteY573" fmla="*/ 3013354 h 6757249"/>
              <a:gd name="connsiteX574" fmla="*/ 10891872 w 11951120"/>
              <a:gd name="connsiteY574" fmla="*/ 3003900 h 6757249"/>
              <a:gd name="connsiteX575" fmla="*/ 10890350 w 11951120"/>
              <a:gd name="connsiteY575" fmla="*/ 3009152 h 6757249"/>
              <a:gd name="connsiteX576" fmla="*/ 10890698 w 11951120"/>
              <a:gd name="connsiteY576" fmla="*/ 3010563 h 6757249"/>
              <a:gd name="connsiteX577" fmla="*/ 10894679 w 11951120"/>
              <a:gd name="connsiteY577" fmla="*/ 3006582 h 6757249"/>
              <a:gd name="connsiteX578" fmla="*/ 11495650 w 11951120"/>
              <a:gd name="connsiteY578" fmla="*/ 2992854 h 6757249"/>
              <a:gd name="connsiteX579" fmla="*/ 11496175 w 11951120"/>
              <a:gd name="connsiteY579" fmla="*/ 2994524 h 6757249"/>
              <a:gd name="connsiteX580" fmla="*/ 11496148 w 11951120"/>
              <a:gd name="connsiteY580" fmla="*/ 2992854 h 6757249"/>
              <a:gd name="connsiteX581" fmla="*/ 11709774 w 11951120"/>
              <a:gd name="connsiteY581" fmla="*/ 2987956 h 6757249"/>
              <a:gd name="connsiteX582" fmla="*/ 11709439 w 11951120"/>
              <a:gd name="connsiteY582" fmla="*/ 2989315 h 6757249"/>
              <a:gd name="connsiteX583" fmla="*/ 11709797 w 11951120"/>
              <a:gd name="connsiteY583" fmla="*/ 2989192 h 6757249"/>
              <a:gd name="connsiteX584" fmla="*/ 11709544 w 11951120"/>
              <a:gd name="connsiteY584" fmla="*/ 2989925 h 6757249"/>
              <a:gd name="connsiteX585" fmla="*/ 11710316 w 11951120"/>
              <a:gd name="connsiteY585" fmla="*/ 2988999 h 6757249"/>
              <a:gd name="connsiteX586" fmla="*/ 11711019 w 11951120"/>
              <a:gd name="connsiteY586" fmla="*/ 2988594 h 6757249"/>
              <a:gd name="connsiteX587" fmla="*/ 573881 w 11951120"/>
              <a:gd name="connsiteY587" fmla="*/ 2960773 h 6757249"/>
              <a:gd name="connsiteX588" fmla="*/ 570706 w 11951120"/>
              <a:gd name="connsiteY588" fmla="*/ 2961416 h 6757249"/>
              <a:gd name="connsiteX589" fmla="*/ 574027 w 11951120"/>
              <a:gd name="connsiteY589" fmla="*/ 2962502 h 6757249"/>
              <a:gd name="connsiteX590" fmla="*/ 11583001 w 11951120"/>
              <a:gd name="connsiteY590" fmla="*/ 2933668 h 6757249"/>
              <a:gd name="connsiteX591" fmla="*/ 11582652 w 11951120"/>
              <a:gd name="connsiteY591" fmla="*/ 2934572 h 6757249"/>
              <a:gd name="connsiteX592" fmla="*/ 11582909 w 11951120"/>
              <a:gd name="connsiteY592" fmla="*/ 2934619 h 6757249"/>
              <a:gd name="connsiteX593" fmla="*/ 11583106 w 11951120"/>
              <a:gd name="connsiteY593" fmla="*/ 2934648 h 6757249"/>
              <a:gd name="connsiteX594" fmla="*/ 11442720 w 11951120"/>
              <a:gd name="connsiteY594" fmla="*/ 2920244 h 6757249"/>
              <a:gd name="connsiteX595" fmla="*/ 11440315 w 11951120"/>
              <a:gd name="connsiteY595" fmla="*/ 2939278 h 6757249"/>
              <a:gd name="connsiteX596" fmla="*/ 11446083 w 11951120"/>
              <a:gd name="connsiteY596" fmla="*/ 2940234 h 6757249"/>
              <a:gd name="connsiteX597" fmla="*/ 870458 w 11951120"/>
              <a:gd name="connsiteY597" fmla="*/ 2886290 h 6757249"/>
              <a:gd name="connsiteX598" fmla="*/ 867054 w 11951120"/>
              <a:gd name="connsiteY598" fmla="*/ 2889745 h 6757249"/>
              <a:gd name="connsiteX599" fmla="*/ 866831 w 11951120"/>
              <a:gd name="connsiteY599" fmla="*/ 2892407 h 6757249"/>
              <a:gd name="connsiteX600" fmla="*/ 868667 w 11951120"/>
              <a:gd name="connsiteY600" fmla="*/ 2889543 h 6757249"/>
              <a:gd name="connsiteX601" fmla="*/ 11269302 w 11951120"/>
              <a:gd name="connsiteY601" fmla="*/ 2880025 h 6757249"/>
              <a:gd name="connsiteX602" fmla="*/ 11276347 w 11951120"/>
              <a:gd name="connsiteY602" fmla="*/ 2896935 h 6757249"/>
              <a:gd name="connsiteX603" fmla="*/ 11276698 w 11951120"/>
              <a:gd name="connsiteY603" fmla="*/ 2896547 h 6757249"/>
              <a:gd name="connsiteX604" fmla="*/ 11280620 w 11951120"/>
              <a:gd name="connsiteY604" fmla="*/ 2888694 h 6757249"/>
              <a:gd name="connsiteX605" fmla="*/ 1061814 w 11951120"/>
              <a:gd name="connsiteY605" fmla="*/ 2840452 h 6757249"/>
              <a:gd name="connsiteX606" fmla="*/ 1061366 w 11951120"/>
              <a:gd name="connsiteY606" fmla="*/ 2840903 h 6757249"/>
              <a:gd name="connsiteX607" fmla="*/ 1053748 w 11951120"/>
              <a:gd name="connsiteY607" fmla="*/ 2843932 h 6757249"/>
              <a:gd name="connsiteX608" fmla="*/ 1054578 w 11951120"/>
              <a:gd name="connsiteY608" fmla="*/ 2849420 h 6757249"/>
              <a:gd name="connsiteX609" fmla="*/ 1060474 w 11951120"/>
              <a:gd name="connsiteY609" fmla="*/ 2842450 h 6757249"/>
              <a:gd name="connsiteX610" fmla="*/ 1061814 w 11951120"/>
              <a:gd name="connsiteY610" fmla="*/ 2841696 h 6757249"/>
              <a:gd name="connsiteX611" fmla="*/ 551906 w 11951120"/>
              <a:gd name="connsiteY611" fmla="*/ 2766130 h 6757249"/>
              <a:gd name="connsiteX612" fmla="*/ 550689 w 11951120"/>
              <a:gd name="connsiteY612" fmla="*/ 2766241 h 6757249"/>
              <a:gd name="connsiteX613" fmla="*/ 556368 w 11951120"/>
              <a:gd name="connsiteY613" fmla="*/ 2774244 h 6757249"/>
              <a:gd name="connsiteX614" fmla="*/ 556746 w 11951120"/>
              <a:gd name="connsiteY614" fmla="*/ 2772369 h 6757249"/>
              <a:gd name="connsiteX615" fmla="*/ 558510 w 11951120"/>
              <a:gd name="connsiteY615" fmla="*/ 2771952 h 6757249"/>
              <a:gd name="connsiteX616" fmla="*/ 557125 w 11951120"/>
              <a:gd name="connsiteY616" fmla="*/ 2771290 h 6757249"/>
              <a:gd name="connsiteX617" fmla="*/ 11160690 w 11951120"/>
              <a:gd name="connsiteY617" fmla="*/ 2747790 h 6757249"/>
              <a:gd name="connsiteX618" fmla="*/ 11160704 w 11951120"/>
              <a:gd name="connsiteY618" fmla="*/ 2747871 h 6757249"/>
              <a:gd name="connsiteX619" fmla="*/ 11161112 w 11951120"/>
              <a:gd name="connsiteY619" fmla="*/ 2747871 h 6757249"/>
              <a:gd name="connsiteX620" fmla="*/ 11181864 w 11951120"/>
              <a:gd name="connsiteY620" fmla="*/ 2730942 h 6757249"/>
              <a:gd name="connsiteX621" fmla="*/ 11175991 w 11951120"/>
              <a:gd name="connsiteY621" fmla="*/ 2747871 h 6757249"/>
              <a:gd name="connsiteX622" fmla="*/ 11178403 w 11951120"/>
              <a:gd name="connsiteY622" fmla="*/ 2747871 h 6757249"/>
              <a:gd name="connsiteX623" fmla="*/ 11186056 w 11951120"/>
              <a:gd name="connsiteY623" fmla="*/ 2755470 h 6757249"/>
              <a:gd name="connsiteX624" fmla="*/ 11188002 w 11951120"/>
              <a:gd name="connsiteY624" fmla="*/ 2751011 h 6757249"/>
              <a:gd name="connsiteX625" fmla="*/ 11187666 w 11951120"/>
              <a:gd name="connsiteY625" fmla="*/ 2750551 h 6757249"/>
              <a:gd name="connsiteX626" fmla="*/ 11178891 w 11951120"/>
              <a:gd name="connsiteY626" fmla="*/ 2746082 h 6757249"/>
              <a:gd name="connsiteX627" fmla="*/ 11156674 w 11951120"/>
              <a:gd name="connsiteY627" fmla="*/ 2688078 h 6757249"/>
              <a:gd name="connsiteX628" fmla="*/ 11118431 w 11951120"/>
              <a:gd name="connsiteY628" fmla="*/ 2723738 h 6757249"/>
              <a:gd name="connsiteX629" fmla="*/ 11156674 w 11951120"/>
              <a:gd name="connsiteY629" fmla="*/ 2723738 h 6757249"/>
              <a:gd name="connsiteX630" fmla="*/ 11490245 w 11951120"/>
              <a:gd name="connsiteY630" fmla="*/ 2647785 h 6757249"/>
              <a:gd name="connsiteX631" fmla="*/ 11487753 w 11951120"/>
              <a:gd name="connsiteY631" fmla="*/ 2655575 h 6757249"/>
              <a:gd name="connsiteX632" fmla="*/ 11490707 w 11951120"/>
              <a:gd name="connsiteY632" fmla="*/ 2656692 h 6757249"/>
              <a:gd name="connsiteX633" fmla="*/ 11490442 w 11951120"/>
              <a:gd name="connsiteY633" fmla="*/ 2650924 h 6757249"/>
              <a:gd name="connsiteX634" fmla="*/ 11492197 w 11951120"/>
              <a:gd name="connsiteY634" fmla="*/ 2650181 h 6757249"/>
              <a:gd name="connsiteX635" fmla="*/ 11490408 w 11951120"/>
              <a:gd name="connsiteY635" fmla="*/ 2650181 h 6757249"/>
              <a:gd name="connsiteX636" fmla="*/ 11490442 w 11951120"/>
              <a:gd name="connsiteY636" fmla="*/ 2650924 h 6757249"/>
              <a:gd name="connsiteX637" fmla="*/ 11490245 w 11951120"/>
              <a:gd name="connsiteY637" fmla="*/ 2651006 h 6757249"/>
              <a:gd name="connsiteX638" fmla="*/ 11490245 w 11951120"/>
              <a:gd name="connsiteY638" fmla="*/ 2650181 h 6757249"/>
              <a:gd name="connsiteX639" fmla="*/ 11489929 w 11951120"/>
              <a:gd name="connsiteY639" fmla="*/ 2650181 h 6757249"/>
              <a:gd name="connsiteX640" fmla="*/ 11490245 w 11951120"/>
              <a:gd name="connsiteY640" fmla="*/ 2648571 h 6757249"/>
              <a:gd name="connsiteX641" fmla="*/ 11490643 w 11951120"/>
              <a:gd name="connsiteY641" fmla="*/ 2646537 h 6757249"/>
              <a:gd name="connsiteX642" fmla="*/ 11490290 w 11951120"/>
              <a:gd name="connsiteY642" fmla="*/ 2647642 h 6757249"/>
              <a:gd name="connsiteX643" fmla="*/ 11490316 w 11951120"/>
              <a:gd name="connsiteY643" fmla="*/ 2648206 h 6757249"/>
              <a:gd name="connsiteX644" fmla="*/ 11584464 w 11951120"/>
              <a:gd name="connsiteY644" fmla="*/ 2577751 h 6757249"/>
              <a:gd name="connsiteX645" fmla="*/ 11587070 w 11951120"/>
              <a:gd name="connsiteY645" fmla="*/ 2579376 h 6757249"/>
              <a:gd name="connsiteX646" fmla="*/ 11587192 w 11951120"/>
              <a:gd name="connsiteY646" fmla="*/ 2577929 h 6757249"/>
              <a:gd name="connsiteX647" fmla="*/ 11688314 w 11951120"/>
              <a:gd name="connsiteY647" fmla="*/ 2574444 h 6757249"/>
              <a:gd name="connsiteX648" fmla="*/ 11687860 w 11951120"/>
              <a:gd name="connsiteY648" fmla="*/ 2575370 h 6757249"/>
              <a:gd name="connsiteX649" fmla="*/ 11687711 w 11951120"/>
              <a:gd name="connsiteY649" fmla="*/ 2576280 h 6757249"/>
              <a:gd name="connsiteX650" fmla="*/ 11688990 w 11951120"/>
              <a:gd name="connsiteY650" fmla="*/ 2576358 h 6757249"/>
              <a:gd name="connsiteX651" fmla="*/ 386116 w 11951120"/>
              <a:gd name="connsiteY651" fmla="*/ 2524136 h 6757249"/>
              <a:gd name="connsiteX652" fmla="*/ 382694 w 11951120"/>
              <a:gd name="connsiteY652" fmla="*/ 2526987 h 6757249"/>
              <a:gd name="connsiteX653" fmla="*/ 386116 w 11951120"/>
              <a:gd name="connsiteY653" fmla="*/ 2528416 h 6757249"/>
              <a:gd name="connsiteX654" fmla="*/ 387785 w 11951120"/>
              <a:gd name="connsiteY654" fmla="*/ 2517486 h 6757249"/>
              <a:gd name="connsiteX655" fmla="*/ 387089 w 11951120"/>
              <a:gd name="connsiteY655" fmla="*/ 2518231 h 6757249"/>
              <a:gd name="connsiteX656" fmla="*/ 386275 w 11951120"/>
              <a:gd name="connsiteY656" fmla="*/ 2519588 h 6757249"/>
              <a:gd name="connsiteX657" fmla="*/ 386275 w 11951120"/>
              <a:gd name="connsiteY657" fmla="*/ 2522114 h 6757249"/>
              <a:gd name="connsiteX658" fmla="*/ 413857 w 11951120"/>
              <a:gd name="connsiteY658" fmla="*/ 2473303 h 6757249"/>
              <a:gd name="connsiteX659" fmla="*/ 412894 w 11951120"/>
              <a:gd name="connsiteY659" fmla="*/ 2473496 h 6757249"/>
              <a:gd name="connsiteX660" fmla="*/ 412698 w 11951120"/>
              <a:gd name="connsiteY660" fmla="*/ 2474279 h 6757249"/>
              <a:gd name="connsiteX661" fmla="*/ 382865 w 11951120"/>
              <a:gd name="connsiteY661" fmla="*/ 2471344 h 6757249"/>
              <a:gd name="connsiteX662" fmla="*/ 386118 w 11951120"/>
              <a:gd name="connsiteY662" fmla="*/ 2472428 h 6757249"/>
              <a:gd name="connsiteX663" fmla="*/ 386118 w 11951120"/>
              <a:gd name="connsiteY663" fmla="*/ 2472350 h 6757249"/>
              <a:gd name="connsiteX664" fmla="*/ 385111 w 11951120"/>
              <a:gd name="connsiteY664" fmla="*/ 2471344 h 6757249"/>
              <a:gd name="connsiteX665" fmla="*/ 440415 w 11951120"/>
              <a:gd name="connsiteY665" fmla="*/ 2457602 h 6757249"/>
              <a:gd name="connsiteX666" fmla="*/ 442427 w 11951120"/>
              <a:gd name="connsiteY666" fmla="*/ 2460618 h 6757249"/>
              <a:gd name="connsiteX667" fmla="*/ 433711 w 11951120"/>
              <a:gd name="connsiteY667" fmla="*/ 2469332 h 6757249"/>
              <a:gd name="connsiteX668" fmla="*/ 431196 w 11951120"/>
              <a:gd name="connsiteY668" fmla="*/ 2469835 h 6757249"/>
              <a:gd name="connsiteX669" fmla="*/ 432890 w 11951120"/>
              <a:gd name="connsiteY669" fmla="*/ 2470243 h 6757249"/>
              <a:gd name="connsiteX670" fmla="*/ 434382 w 11951120"/>
              <a:gd name="connsiteY670" fmla="*/ 2475170 h 6757249"/>
              <a:gd name="connsiteX671" fmla="*/ 434584 w 11951120"/>
              <a:gd name="connsiteY671" fmla="*/ 2475840 h 6757249"/>
              <a:gd name="connsiteX672" fmla="*/ 445107 w 11951120"/>
              <a:gd name="connsiteY672" fmla="*/ 2465687 h 6757249"/>
              <a:gd name="connsiteX673" fmla="*/ 455832 w 11951120"/>
              <a:gd name="connsiteY673" fmla="*/ 2471680 h 6757249"/>
              <a:gd name="connsiteX674" fmla="*/ 455832 w 11951120"/>
              <a:gd name="connsiteY674" fmla="*/ 2472683 h 6757249"/>
              <a:gd name="connsiteX675" fmla="*/ 456501 w 11951120"/>
              <a:gd name="connsiteY675" fmla="*/ 2471680 h 6757249"/>
              <a:gd name="connsiteX676" fmla="*/ 457844 w 11951120"/>
              <a:gd name="connsiteY676" fmla="*/ 2471008 h 6757249"/>
              <a:gd name="connsiteX677" fmla="*/ 455831 w 11951120"/>
              <a:gd name="connsiteY677" fmla="*/ 2471008 h 6757249"/>
              <a:gd name="connsiteX678" fmla="*/ 455831 w 11951120"/>
              <a:gd name="connsiteY678" fmla="*/ 2457602 h 6757249"/>
              <a:gd name="connsiteX679" fmla="*/ 11061478 w 11951120"/>
              <a:gd name="connsiteY679" fmla="*/ 2448265 h 6757249"/>
              <a:gd name="connsiteX680" fmla="*/ 11061064 w 11951120"/>
              <a:gd name="connsiteY680" fmla="*/ 2451197 h 6757249"/>
              <a:gd name="connsiteX681" fmla="*/ 11062253 w 11951120"/>
              <a:gd name="connsiteY681" fmla="*/ 2449557 h 6757249"/>
              <a:gd name="connsiteX682" fmla="*/ 11065388 w 11951120"/>
              <a:gd name="connsiteY682" fmla="*/ 2449815 h 6757249"/>
              <a:gd name="connsiteX683" fmla="*/ 11061986 w 11951120"/>
              <a:gd name="connsiteY683" fmla="*/ 2448265 h 6757249"/>
              <a:gd name="connsiteX684" fmla="*/ 503202 w 11951120"/>
              <a:gd name="connsiteY684" fmla="*/ 2425802 h 6757249"/>
              <a:gd name="connsiteX685" fmla="*/ 503087 w 11951120"/>
              <a:gd name="connsiteY685" fmla="*/ 2426150 h 6757249"/>
              <a:gd name="connsiteX686" fmla="*/ 503202 w 11951120"/>
              <a:gd name="connsiteY686" fmla="*/ 2426171 h 6757249"/>
              <a:gd name="connsiteX687" fmla="*/ 526777 w 11951120"/>
              <a:gd name="connsiteY687" fmla="*/ 2416158 h 6757249"/>
              <a:gd name="connsiteX688" fmla="*/ 525546 w 11951120"/>
              <a:gd name="connsiteY688" fmla="*/ 2422125 h 6757249"/>
              <a:gd name="connsiteX689" fmla="*/ 525674 w 11951120"/>
              <a:gd name="connsiteY689" fmla="*/ 2422125 h 6757249"/>
              <a:gd name="connsiteX690" fmla="*/ 526872 w 11951120"/>
              <a:gd name="connsiteY690" fmla="*/ 2416377 h 6757249"/>
              <a:gd name="connsiteX691" fmla="*/ 481161 w 11951120"/>
              <a:gd name="connsiteY691" fmla="*/ 2397915 h 6757249"/>
              <a:gd name="connsiteX692" fmla="*/ 478182 w 11951120"/>
              <a:gd name="connsiteY692" fmla="*/ 2401668 h 6757249"/>
              <a:gd name="connsiteX693" fmla="*/ 482109 w 11951120"/>
              <a:gd name="connsiteY693" fmla="*/ 2401293 h 6757249"/>
              <a:gd name="connsiteX694" fmla="*/ 482644 w 11951120"/>
              <a:gd name="connsiteY694" fmla="*/ 2404536 h 6757249"/>
              <a:gd name="connsiteX695" fmla="*/ 482644 w 11951120"/>
              <a:gd name="connsiteY695" fmla="*/ 2401293 h 6757249"/>
              <a:gd name="connsiteX696" fmla="*/ 483208 w 11951120"/>
              <a:gd name="connsiteY696" fmla="*/ 2401293 h 6757249"/>
              <a:gd name="connsiteX697" fmla="*/ 482082 w 11951120"/>
              <a:gd name="connsiteY697" fmla="*/ 2400538 h 6757249"/>
              <a:gd name="connsiteX698" fmla="*/ 10847305 w 11951120"/>
              <a:gd name="connsiteY698" fmla="*/ 2333498 h 6757249"/>
              <a:gd name="connsiteX699" fmla="*/ 10847308 w 11951120"/>
              <a:gd name="connsiteY699" fmla="*/ 2333562 h 6757249"/>
              <a:gd name="connsiteX700" fmla="*/ 10847382 w 11951120"/>
              <a:gd name="connsiteY700" fmla="*/ 2333535 h 6757249"/>
              <a:gd name="connsiteX701" fmla="*/ 11065417 w 11951120"/>
              <a:gd name="connsiteY701" fmla="*/ 2328394 h 6757249"/>
              <a:gd name="connsiteX702" fmla="*/ 11064864 w 11951120"/>
              <a:gd name="connsiteY702" fmla="*/ 2331872 h 6757249"/>
              <a:gd name="connsiteX703" fmla="*/ 11065940 w 11951120"/>
              <a:gd name="connsiteY703" fmla="*/ 2330377 h 6757249"/>
              <a:gd name="connsiteX704" fmla="*/ 11066707 w 11951120"/>
              <a:gd name="connsiteY704" fmla="*/ 2328620 h 6757249"/>
              <a:gd name="connsiteX705" fmla="*/ 11066428 w 11951120"/>
              <a:gd name="connsiteY705" fmla="*/ 2328895 h 6757249"/>
              <a:gd name="connsiteX706" fmla="*/ 440241 w 11951120"/>
              <a:gd name="connsiteY706" fmla="*/ 2327554 h 6757249"/>
              <a:gd name="connsiteX707" fmla="*/ 435064 w 11951120"/>
              <a:gd name="connsiteY707" fmla="*/ 2328573 h 6757249"/>
              <a:gd name="connsiteX708" fmla="*/ 435020 w 11951120"/>
              <a:gd name="connsiteY708" fmla="*/ 2328661 h 6757249"/>
              <a:gd name="connsiteX709" fmla="*/ 434704 w 11951120"/>
              <a:gd name="connsiteY709" fmla="*/ 2328644 h 6757249"/>
              <a:gd name="connsiteX710" fmla="*/ 433939 w 11951120"/>
              <a:gd name="connsiteY710" fmla="*/ 2328794 h 6757249"/>
              <a:gd name="connsiteX711" fmla="*/ 435380 w 11951120"/>
              <a:gd name="connsiteY711" fmla="*/ 2337276 h 6757249"/>
              <a:gd name="connsiteX712" fmla="*/ 438135 w 11951120"/>
              <a:gd name="connsiteY712" fmla="*/ 2329676 h 6757249"/>
              <a:gd name="connsiteX713" fmla="*/ 438907 w 11951120"/>
              <a:gd name="connsiteY713" fmla="*/ 2328897 h 6757249"/>
              <a:gd name="connsiteX714" fmla="*/ 434900 w 11951120"/>
              <a:gd name="connsiteY714" fmla="*/ 2328897 h 6757249"/>
              <a:gd name="connsiteX715" fmla="*/ 435020 w 11951120"/>
              <a:gd name="connsiteY715" fmla="*/ 2328661 h 6757249"/>
              <a:gd name="connsiteX716" fmla="*/ 438927 w 11951120"/>
              <a:gd name="connsiteY716" fmla="*/ 2328877 h 6757249"/>
              <a:gd name="connsiteX717" fmla="*/ 456437 w 11951120"/>
              <a:gd name="connsiteY717" fmla="*/ 2323247 h 6757249"/>
              <a:gd name="connsiteX718" fmla="*/ 456125 w 11951120"/>
              <a:gd name="connsiteY718" fmla="*/ 2323641 h 6757249"/>
              <a:gd name="connsiteX719" fmla="*/ 456327 w 11951120"/>
              <a:gd name="connsiteY719" fmla="*/ 2323703 h 6757249"/>
              <a:gd name="connsiteX720" fmla="*/ 11516742 w 11951120"/>
              <a:gd name="connsiteY720" fmla="*/ 2226347 h 6757249"/>
              <a:gd name="connsiteX721" fmla="*/ 11516742 w 11951120"/>
              <a:gd name="connsiteY721" fmla="*/ 2228013 h 6757249"/>
              <a:gd name="connsiteX722" fmla="*/ 11515329 w 11951120"/>
              <a:gd name="connsiteY722" fmla="*/ 2228790 h 6757249"/>
              <a:gd name="connsiteX723" fmla="*/ 11516788 w 11951120"/>
              <a:gd name="connsiteY723" fmla="*/ 2230166 h 6757249"/>
              <a:gd name="connsiteX724" fmla="*/ 11517075 w 11951120"/>
              <a:gd name="connsiteY724" fmla="*/ 2228883 h 6757249"/>
              <a:gd name="connsiteX725" fmla="*/ 10439906 w 11951120"/>
              <a:gd name="connsiteY725" fmla="*/ 2219132 h 6757249"/>
              <a:gd name="connsiteX726" fmla="*/ 10439166 w 11951120"/>
              <a:gd name="connsiteY726" fmla="*/ 2220044 h 6757249"/>
              <a:gd name="connsiteX727" fmla="*/ 10432795 w 11951120"/>
              <a:gd name="connsiteY727" fmla="*/ 2232826 h 6757249"/>
              <a:gd name="connsiteX728" fmla="*/ 10433479 w 11951120"/>
              <a:gd name="connsiteY728" fmla="*/ 2232369 h 6757249"/>
              <a:gd name="connsiteX729" fmla="*/ 10432812 w 11951120"/>
              <a:gd name="connsiteY729" fmla="*/ 2234402 h 6757249"/>
              <a:gd name="connsiteX730" fmla="*/ 10436193 w 11951120"/>
              <a:gd name="connsiteY730" fmla="*/ 2229881 h 6757249"/>
              <a:gd name="connsiteX731" fmla="*/ 10433479 w 11951120"/>
              <a:gd name="connsiteY731" fmla="*/ 2232369 h 6757249"/>
              <a:gd name="connsiteX732" fmla="*/ 11374235 w 11951120"/>
              <a:gd name="connsiteY732" fmla="*/ 2151423 h 6757249"/>
              <a:gd name="connsiteX733" fmla="*/ 11372843 w 11951120"/>
              <a:gd name="connsiteY733" fmla="*/ 2152920 h 6757249"/>
              <a:gd name="connsiteX734" fmla="*/ 11371681 w 11951120"/>
              <a:gd name="connsiteY734" fmla="*/ 2153148 h 6757249"/>
              <a:gd name="connsiteX735" fmla="*/ 11373775 w 11951120"/>
              <a:gd name="connsiteY735" fmla="*/ 2153884 h 6757249"/>
              <a:gd name="connsiteX736" fmla="*/ 580164 w 11951120"/>
              <a:gd name="connsiteY736" fmla="*/ 2082565 h 6757249"/>
              <a:gd name="connsiteX737" fmla="*/ 579522 w 11951120"/>
              <a:gd name="connsiteY737" fmla="*/ 2082702 h 6757249"/>
              <a:gd name="connsiteX738" fmla="*/ 579512 w 11951120"/>
              <a:gd name="connsiteY738" fmla="*/ 2082707 h 6757249"/>
              <a:gd name="connsiteX739" fmla="*/ 579882 w 11951120"/>
              <a:gd name="connsiteY739" fmla="*/ 2082972 h 6757249"/>
              <a:gd name="connsiteX740" fmla="*/ 11373929 w 11951120"/>
              <a:gd name="connsiteY740" fmla="*/ 2035554 h 6757249"/>
              <a:gd name="connsiteX741" fmla="*/ 11371948 w 11951120"/>
              <a:gd name="connsiteY741" fmla="*/ 2039525 h 6757249"/>
              <a:gd name="connsiteX742" fmla="*/ 11371723 w 11951120"/>
              <a:gd name="connsiteY742" fmla="*/ 2039751 h 6757249"/>
              <a:gd name="connsiteX743" fmla="*/ 11371370 w 11951120"/>
              <a:gd name="connsiteY743" fmla="*/ 2040440 h 6757249"/>
              <a:gd name="connsiteX744" fmla="*/ 11372843 w 11951120"/>
              <a:gd name="connsiteY744" fmla="*/ 2039310 h 6757249"/>
              <a:gd name="connsiteX745" fmla="*/ 11381628 w 11951120"/>
              <a:gd name="connsiteY745" fmla="*/ 2039310 h 6757249"/>
              <a:gd name="connsiteX746" fmla="*/ 262191 w 11951120"/>
              <a:gd name="connsiteY746" fmla="*/ 2035072 h 6757249"/>
              <a:gd name="connsiteX747" fmla="*/ 262191 w 11951120"/>
              <a:gd name="connsiteY747" fmla="*/ 2035768 h 6757249"/>
              <a:gd name="connsiteX748" fmla="*/ 263465 w 11951120"/>
              <a:gd name="connsiteY748" fmla="*/ 2038947 h 6757249"/>
              <a:gd name="connsiteX749" fmla="*/ 263465 w 11951120"/>
              <a:gd name="connsiteY749" fmla="*/ 2036437 h 6757249"/>
              <a:gd name="connsiteX750" fmla="*/ 265299 w 11951120"/>
              <a:gd name="connsiteY750" fmla="*/ 2035485 h 6757249"/>
              <a:gd name="connsiteX751" fmla="*/ 9832971 w 11951120"/>
              <a:gd name="connsiteY751" fmla="*/ 2034969 h 6757249"/>
              <a:gd name="connsiteX752" fmla="*/ 9825829 w 11951120"/>
              <a:gd name="connsiteY752" fmla="*/ 2041695 h 6757249"/>
              <a:gd name="connsiteX753" fmla="*/ 9831333 w 11951120"/>
              <a:gd name="connsiteY753" fmla="*/ 2039542 h 6757249"/>
              <a:gd name="connsiteX754" fmla="*/ 10125627 w 11951120"/>
              <a:gd name="connsiteY754" fmla="*/ 1913587 h 6757249"/>
              <a:gd name="connsiteX755" fmla="*/ 10123134 w 11951120"/>
              <a:gd name="connsiteY755" fmla="*/ 1915454 h 6757249"/>
              <a:gd name="connsiteX756" fmla="*/ 10119403 w 11951120"/>
              <a:gd name="connsiteY756" fmla="*/ 1921070 h 6757249"/>
              <a:gd name="connsiteX757" fmla="*/ 10116957 w 11951120"/>
              <a:gd name="connsiteY757" fmla="*/ 1923930 h 6757249"/>
              <a:gd name="connsiteX758" fmla="*/ 10113033 w 11951120"/>
              <a:gd name="connsiteY758" fmla="*/ 1929619 h 6757249"/>
              <a:gd name="connsiteX759" fmla="*/ 10123783 w 11951120"/>
              <a:gd name="connsiteY759" fmla="*/ 1916673 h 6757249"/>
              <a:gd name="connsiteX760" fmla="*/ 578479 w 11951120"/>
              <a:gd name="connsiteY760" fmla="*/ 1896101 h 6757249"/>
              <a:gd name="connsiteX761" fmla="*/ 574602 w 11951120"/>
              <a:gd name="connsiteY761" fmla="*/ 1898112 h 6757249"/>
              <a:gd name="connsiteX762" fmla="*/ 576913 w 11951120"/>
              <a:gd name="connsiteY762" fmla="*/ 1903723 h 6757249"/>
              <a:gd name="connsiteX763" fmla="*/ 1853246 w 11951120"/>
              <a:gd name="connsiteY763" fmla="*/ 1818997 h 6757249"/>
              <a:gd name="connsiteX764" fmla="*/ 1853246 w 11951120"/>
              <a:gd name="connsiteY764" fmla="*/ 1819739 h 6757249"/>
              <a:gd name="connsiteX765" fmla="*/ 1854165 w 11951120"/>
              <a:gd name="connsiteY765" fmla="*/ 1820615 h 6757249"/>
              <a:gd name="connsiteX766" fmla="*/ 11512844 w 11951120"/>
              <a:gd name="connsiteY766" fmla="*/ 1814760 h 6757249"/>
              <a:gd name="connsiteX767" fmla="*/ 11511827 w 11951120"/>
              <a:gd name="connsiteY767" fmla="*/ 1820172 h 6757249"/>
              <a:gd name="connsiteX768" fmla="*/ 11511744 w 11951120"/>
              <a:gd name="connsiteY768" fmla="*/ 1820458 h 6757249"/>
              <a:gd name="connsiteX769" fmla="*/ 11512354 w 11951120"/>
              <a:gd name="connsiteY769" fmla="*/ 1819930 h 6757249"/>
              <a:gd name="connsiteX770" fmla="*/ 11517599 w 11951120"/>
              <a:gd name="connsiteY770" fmla="*/ 1818738 h 6757249"/>
              <a:gd name="connsiteX771" fmla="*/ 11517607 w 11951120"/>
              <a:gd name="connsiteY771" fmla="*/ 1673589 h 6757249"/>
              <a:gd name="connsiteX772" fmla="*/ 11516536 w 11951120"/>
              <a:gd name="connsiteY772" fmla="*/ 1674649 h 6757249"/>
              <a:gd name="connsiteX773" fmla="*/ 11514915 w 11951120"/>
              <a:gd name="connsiteY773" fmla="*/ 1674649 h 6757249"/>
              <a:gd name="connsiteX774" fmla="*/ 11516220 w 11951120"/>
              <a:gd name="connsiteY774" fmla="*/ 1675379 h 6757249"/>
              <a:gd name="connsiteX775" fmla="*/ 11519619 w 11951120"/>
              <a:gd name="connsiteY775" fmla="*/ 1677075 h 6757249"/>
              <a:gd name="connsiteX776" fmla="*/ 11520394 w 11951120"/>
              <a:gd name="connsiteY776" fmla="*/ 1675475 h 6757249"/>
              <a:gd name="connsiteX777" fmla="*/ 11180501 w 11951120"/>
              <a:gd name="connsiteY777" fmla="*/ 1637210 h 6757249"/>
              <a:gd name="connsiteX778" fmla="*/ 11180354 w 11951120"/>
              <a:gd name="connsiteY778" fmla="*/ 1638835 h 6757249"/>
              <a:gd name="connsiteX779" fmla="*/ 11180501 w 11951120"/>
              <a:gd name="connsiteY779" fmla="*/ 1638835 h 6757249"/>
              <a:gd name="connsiteX780" fmla="*/ 864010 w 11951120"/>
              <a:gd name="connsiteY780" fmla="*/ 1529856 h 6757249"/>
              <a:gd name="connsiteX781" fmla="*/ 868758 w 11951120"/>
              <a:gd name="connsiteY781" fmla="*/ 1538164 h 6757249"/>
              <a:gd name="connsiteX782" fmla="*/ 868758 w 11951120"/>
              <a:gd name="connsiteY782" fmla="*/ 1529856 h 6757249"/>
              <a:gd name="connsiteX783" fmla="*/ 868668 w 11951120"/>
              <a:gd name="connsiteY783" fmla="*/ 1529856 h 6757249"/>
              <a:gd name="connsiteX784" fmla="*/ 1246335 w 11951120"/>
              <a:gd name="connsiteY784" fmla="*/ 1508405 h 6757249"/>
              <a:gd name="connsiteX785" fmla="*/ 1247536 w 11951120"/>
              <a:gd name="connsiteY785" fmla="*/ 1514937 h 6757249"/>
              <a:gd name="connsiteX786" fmla="*/ 1252610 w 11951120"/>
              <a:gd name="connsiteY786" fmla="*/ 1508405 h 6757249"/>
              <a:gd name="connsiteX787" fmla="*/ 573882 w 11951120"/>
              <a:gd name="connsiteY787" fmla="*/ 1455824 h 6757249"/>
              <a:gd name="connsiteX788" fmla="*/ 570707 w 11951120"/>
              <a:gd name="connsiteY788" fmla="*/ 1456466 h 6757249"/>
              <a:gd name="connsiteX789" fmla="*/ 574028 w 11951120"/>
              <a:gd name="connsiteY789" fmla="*/ 1457552 h 6757249"/>
              <a:gd name="connsiteX790" fmla="*/ 11447026 w 11951120"/>
              <a:gd name="connsiteY790" fmla="*/ 1384892 h 6757249"/>
              <a:gd name="connsiteX791" fmla="*/ 11446835 w 11951120"/>
              <a:gd name="connsiteY791" fmla="*/ 1385064 h 6757249"/>
              <a:gd name="connsiteX792" fmla="*/ 11445837 w 11951120"/>
              <a:gd name="connsiteY792" fmla="*/ 1385064 h 6757249"/>
              <a:gd name="connsiteX793" fmla="*/ 11447026 w 11951120"/>
              <a:gd name="connsiteY793" fmla="*/ 1387466 h 6757249"/>
              <a:gd name="connsiteX794" fmla="*/ 870459 w 11951120"/>
              <a:gd name="connsiteY794" fmla="*/ 1381340 h 6757249"/>
              <a:gd name="connsiteX795" fmla="*/ 867055 w 11951120"/>
              <a:gd name="connsiteY795" fmla="*/ 1384795 h 6757249"/>
              <a:gd name="connsiteX796" fmla="*/ 866832 w 11951120"/>
              <a:gd name="connsiteY796" fmla="*/ 1387458 h 6757249"/>
              <a:gd name="connsiteX797" fmla="*/ 868668 w 11951120"/>
              <a:gd name="connsiteY797" fmla="*/ 1384593 h 6757249"/>
              <a:gd name="connsiteX798" fmla="*/ 1061815 w 11951120"/>
              <a:gd name="connsiteY798" fmla="*/ 1335502 h 6757249"/>
              <a:gd name="connsiteX799" fmla="*/ 1061367 w 11951120"/>
              <a:gd name="connsiteY799" fmla="*/ 1335953 h 6757249"/>
              <a:gd name="connsiteX800" fmla="*/ 1053749 w 11951120"/>
              <a:gd name="connsiteY800" fmla="*/ 1338982 h 6757249"/>
              <a:gd name="connsiteX801" fmla="*/ 1054579 w 11951120"/>
              <a:gd name="connsiteY801" fmla="*/ 1344470 h 6757249"/>
              <a:gd name="connsiteX802" fmla="*/ 1060475 w 11951120"/>
              <a:gd name="connsiteY802" fmla="*/ 1337499 h 6757249"/>
              <a:gd name="connsiteX803" fmla="*/ 1061815 w 11951120"/>
              <a:gd name="connsiteY803" fmla="*/ 1336746 h 6757249"/>
              <a:gd name="connsiteX804" fmla="*/ 1063580 w 11951120"/>
              <a:gd name="connsiteY804" fmla="*/ 1264945 h 6757249"/>
              <a:gd name="connsiteX805" fmla="*/ 1062022 w 11951120"/>
              <a:gd name="connsiteY805" fmla="*/ 1265738 h 6757249"/>
              <a:gd name="connsiteX806" fmla="*/ 1062147 w 11951120"/>
              <a:gd name="connsiteY806" fmla="*/ 1266681 h 6757249"/>
              <a:gd name="connsiteX807" fmla="*/ 551907 w 11951120"/>
              <a:gd name="connsiteY807" fmla="*/ 1261181 h 6757249"/>
              <a:gd name="connsiteX808" fmla="*/ 550690 w 11951120"/>
              <a:gd name="connsiteY808" fmla="*/ 1261291 h 6757249"/>
              <a:gd name="connsiteX809" fmla="*/ 556369 w 11951120"/>
              <a:gd name="connsiteY809" fmla="*/ 1269294 h 6757249"/>
              <a:gd name="connsiteX810" fmla="*/ 556747 w 11951120"/>
              <a:gd name="connsiteY810" fmla="*/ 1267419 h 6757249"/>
              <a:gd name="connsiteX811" fmla="*/ 558511 w 11951120"/>
              <a:gd name="connsiteY811" fmla="*/ 1267002 h 6757249"/>
              <a:gd name="connsiteX812" fmla="*/ 557126 w 11951120"/>
              <a:gd name="connsiteY812" fmla="*/ 1266340 h 6757249"/>
              <a:gd name="connsiteX813" fmla="*/ 1777972 w 11951120"/>
              <a:gd name="connsiteY813" fmla="*/ 1221028 h 6757249"/>
              <a:gd name="connsiteX814" fmla="*/ 1777172 w 11951120"/>
              <a:gd name="connsiteY814" fmla="*/ 1221864 h 6757249"/>
              <a:gd name="connsiteX815" fmla="*/ 1778049 w 11951120"/>
              <a:gd name="connsiteY815" fmla="*/ 1221150 h 6757249"/>
              <a:gd name="connsiteX816" fmla="*/ 10891872 w 11951120"/>
              <a:gd name="connsiteY816" fmla="*/ 1137000 h 6757249"/>
              <a:gd name="connsiteX817" fmla="*/ 10890350 w 11951120"/>
              <a:gd name="connsiteY817" fmla="*/ 1142251 h 6757249"/>
              <a:gd name="connsiteX818" fmla="*/ 10890698 w 11951120"/>
              <a:gd name="connsiteY818" fmla="*/ 1143663 h 6757249"/>
              <a:gd name="connsiteX819" fmla="*/ 10894679 w 11951120"/>
              <a:gd name="connsiteY819" fmla="*/ 1139682 h 6757249"/>
              <a:gd name="connsiteX820" fmla="*/ 11495650 w 11951120"/>
              <a:gd name="connsiteY820" fmla="*/ 1125954 h 6757249"/>
              <a:gd name="connsiteX821" fmla="*/ 11496175 w 11951120"/>
              <a:gd name="connsiteY821" fmla="*/ 1127624 h 6757249"/>
              <a:gd name="connsiteX822" fmla="*/ 11496148 w 11951120"/>
              <a:gd name="connsiteY822" fmla="*/ 1125954 h 6757249"/>
              <a:gd name="connsiteX823" fmla="*/ 11709774 w 11951120"/>
              <a:gd name="connsiteY823" fmla="*/ 1121056 h 6757249"/>
              <a:gd name="connsiteX824" fmla="*/ 11709439 w 11951120"/>
              <a:gd name="connsiteY824" fmla="*/ 1122415 h 6757249"/>
              <a:gd name="connsiteX825" fmla="*/ 11709797 w 11951120"/>
              <a:gd name="connsiteY825" fmla="*/ 1122292 h 6757249"/>
              <a:gd name="connsiteX826" fmla="*/ 11709544 w 11951120"/>
              <a:gd name="connsiteY826" fmla="*/ 1123025 h 6757249"/>
              <a:gd name="connsiteX827" fmla="*/ 11710316 w 11951120"/>
              <a:gd name="connsiteY827" fmla="*/ 1122099 h 6757249"/>
              <a:gd name="connsiteX828" fmla="*/ 11711019 w 11951120"/>
              <a:gd name="connsiteY828" fmla="*/ 1121694 h 6757249"/>
              <a:gd name="connsiteX829" fmla="*/ 1536207 w 11951120"/>
              <a:gd name="connsiteY829" fmla="*/ 1096166 h 6757249"/>
              <a:gd name="connsiteX830" fmla="*/ 1536033 w 11951120"/>
              <a:gd name="connsiteY830" fmla="*/ 1096267 h 6757249"/>
              <a:gd name="connsiteX831" fmla="*/ 1536295 w 11951120"/>
              <a:gd name="connsiteY831" fmla="*/ 1096256 h 6757249"/>
              <a:gd name="connsiteX832" fmla="*/ 797530 w 11951120"/>
              <a:gd name="connsiteY832" fmla="*/ 1072923 h 6757249"/>
              <a:gd name="connsiteX833" fmla="*/ 797800 w 11951120"/>
              <a:gd name="connsiteY833" fmla="*/ 1073508 h 6757249"/>
              <a:gd name="connsiteX834" fmla="*/ 797937 w 11951120"/>
              <a:gd name="connsiteY834" fmla="*/ 1073335 h 6757249"/>
              <a:gd name="connsiteX835" fmla="*/ 11583001 w 11951120"/>
              <a:gd name="connsiteY835" fmla="*/ 1066768 h 6757249"/>
              <a:gd name="connsiteX836" fmla="*/ 11582652 w 11951120"/>
              <a:gd name="connsiteY836" fmla="*/ 1067672 h 6757249"/>
              <a:gd name="connsiteX837" fmla="*/ 11582909 w 11951120"/>
              <a:gd name="connsiteY837" fmla="*/ 1067719 h 6757249"/>
              <a:gd name="connsiteX838" fmla="*/ 11583106 w 11951120"/>
              <a:gd name="connsiteY838" fmla="*/ 1067748 h 6757249"/>
              <a:gd name="connsiteX839" fmla="*/ 11442720 w 11951120"/>
              <a:gd name="connsiteY839" fmla="*/ 1053344 h 6757249"/>
              <a:gd name="connsiteX840" fmla="*/ 11440315 w 11951120"/>
              <a:gd name="connsiteY840" fmla="*/ 1072378 h 6757249"/>
              <a:gd name="connsiteX841" fmla="*/ 11446083 w 11951120"/>
              <a:gd name="connsiteY841" fmla="*/ 1073334 h 6757249"/>
              <a:gd name="connsiteX842" fmla="*/ 888947 w 11951120"/>
              <a:gd name="connsiteY842" fmla="*/ 1024783 h 6757249"/>
              <a:gd name="connsiteX843" fmla="*/ 889254 w 11951120"/>
              <a:gd name="connsiteY843" fmla="*/ 1025236 h 6757249"/>
              <a:gd name="connsiteX844" fmla="*/ 889471 w 11951120"/>
              <a:gd name="connsiteY844" fmla="*/ 1024882 h 6757249"/>
              <a:gd name="connsiteX845" fmla="*/ 11269302 w 11951120"/>
              <a:gd name="connsiteY845" fmla="*/ 1013125 h 6757249"/>
              <a:gd name="connsiteX846" fmla="*/ 11276347 w 11951120"/>
              <a:gd name="connsiteY846" fmla="*/ 1030035 h 6757249"/>
              <a:gd name="connsiteX847" fmla="*/ 11276698 w 11951120"/>
              <a:gd name="connsiteY847" fmla="*/ 1029647 h 6757249"/>
              <a:gd name="connsiteX848" fmla="*/ 11280620 w 11951120"/>
              <a:gd name="connsiteY848" fmla="*/ 1021794 h 6757249"/>
              <a:gd name="connsiteX849" fmla="*/ 1517452 w 11951120"/>
              <a:gd name="connsiteY849" fmla="*/ 998261 h 6757249"/>
              <a:gd name="connsiteX850" fmla="*/ 1517140 w 11951120"/>
              <a:gd name="connsiteY850" fmla="*/ 998950 h 6757249"/>
              <a:gd name="connsiteX851" fmla="*/ 1515907 w 11951120"/>
              <a:gd name="connsiteY851" fmla="*/ 1000391 h 6757249"/>
              <a:gd name="connsiteX852" fmla="*/ 1516045 w 11951120"/>
              <a:gd name="connsiteY852" fmla="*/ 1000898 h 6757249"/>
              <a:gd name="connsiteX853" fmla="*/ 1517432 w 11951120"/>
              <a:gd name="connsiteY853" fmla="*/ 998831 h 6757249"/>
              <a:gd name="connsiteX854" fmla="*/ 11160690 w 11951120"/>
              <a:gd name="connsiteY854" fmla="*/ 880890 h 6757249"/>
              <a:gd name="connsiteX855" fmla="*/ 11160704 w 11951120"/>
              <a:gd name="connsiteY855" fmla="*/ 880971 h 6757249"/>
              <a:gd name="connsiteX856" fmla="*/ 11161112 w 11951120"/>
              <a:gd name="connsiteY856" fmla="*/ 880971 h 6757249"/>
              <a:gd name="connsiteX857" fmla="*/ 11181864 w 11951120"/>
              <a:gd name="connsiteY857" fmla="*/ 864042 h 6757249"/>
              <a:gd name="connsiteX858" fmla="*/ 11175991 w 11951120"/>
              <a:gd name="connsiteY858" fmla="*/ 880971 h 6757249"/>
              <a:gd name="connsiteX859" fmla="*/ 11178403 w 11951120"/>
              <a:gd name="connsiteY859" fmla="*/ 880971 h 6757249"/>
              <a:gd name="connsiteX860" fmla="*/ 11186056 w 11951120"/>
              <a:gd name="connsiteY860" fmla="*/ 888570 h 6757249"/>
              <a:gd name="connsiteX861" fmla="*/ 11188002 w 11951120"/>
              <a:gd name="connsiteY861" fmla="*/ 884111 h 6757249"/>
              <a:gd name="connsiteX862" fmla="*/ 11187666 w 11951120"/>
              <a:gd name="connsiteY862" fmla="*/ 883651 h 6757249"/>
              <a:gd name="connsiteX863" fmla="*/ 11178891 w 11951120"/>
              <a:gd name="connsiteY863" fmla="*/ 879182 h 6757249"/>
              <a:gd name="connsiteX864" fmla="*/ 892855 w 11951120"/>
              <a:gd name="connsiteY864" fmla="*/ 836588 h 6757249"/>
              <a:gd name="connsiteX865" fmla="*/ 892891 w 11951120"/>
              <a:gd name="connsiteY865" fmla="*/ 836808 h 6757249"/>
              <a:gd name="connsiteX866" fmla="*/ 892556 w 11951120"/>
              <a:gd name="connsiteY866" fmla="*/ 838510 h 6757249"/>
              <a:gd name="connsiteX867" fmla="*/ 893403 w 11951120"/>
              <a:gd name="connsiteY867" fmla="*/ 837032 h 6757249"/>
              <a:gd name="connsiteX868" fmla="*/ 11490245 w 11951120"/>
              <a:gd name="connsiteY868" fmla="*/ 780885 h 6757249"/>
              <a:gd name="connsiteX869" fmla="*/ 11487753 w 11951120"/>
              <a:gd name="connsiteY869" fmla="*/ 788675 h 6757249"/>
              <a:gd name="connsiteX870" fmla="*/ 11490707 w 11951120"/>
              <a:gd name="connsiteY870" fmla="*/ 789792 h 6757249"/>
              <a:gd name="connsiteX871" fmla="*/ 11490442 w 11951120"/>
              <a:gd name="connsiteY871" fmla="*/ 784024 h 6757249"/>
              <a:gd name="connsiteX872" fmla="*/ 11492197 w 11951120"/>
              <a:gd name="connsiteY872" fmla="*/ 783281 h 6757249"/>
              <a:gd name="connsiteX873" fmla="*/ 11490408 w 11951120"/>
              <a:gd name="connsiteY873" fmla="*/ 783281 h 6757249"/>
              <a:gd name="connsiteX874" fmla="*/ 11490442 w 11951120"/>
              <a:gd name="connsiteY874" fmla="*/ 784024 h 6757249"/>
              <a:gd name="connsiteX875" fmla="*/ 11490245 w 11951120"/>
              <a:gd name="connsiteY875" fmla="*/ 784106 h 6757249"/>
              <a:gd name="connsiteX876" fmla="*/ 11490245 w 11951120"/>
              <a:gd name="connsiteY876" fmla="*/ 783281 h 6757249"/>
              <a:gd name="connsiteX877" fmla="*/ 11489929 w 11951120"/>
              <a:gd name="connsiteY877" fmla="*/ 783281 h 6757249"/>
              <a:gd name="connsiteX878" fmla="*/ 11490245 w 11951120"/>
              <a:gd name="connsiteY878" fmla="*/ 781671 h 6757249"/>
              <a:gd name="connsiteX879" fmla="*/ 11490643 w 11951120"/>
              <a:gd name="connsiteY879" fmla="*/ 779637 h 6757249"/>
              <a:gd name="connsiteX880" fmla="*/ 11490290 w 11951120"/>
              <a:gd name="connsiteY880" fmla="*/ 780742 h 6757249"/>
              <a:gd name="connsiteX881" fmla="*/ 11490316 w 11951120"/>
              <a:gd name="connsiteY881" fmla="*/ 781306 h 6757249"/>
              <a:gd name="connsiteX882" fmla="*/ 1013290 w 11951120"/>
              <a:gd name="connsiteY882" fmla="*/ 754503 h 6757249"/>
              <a:gd name="connsiteX883" fmla="*/ 1013015 w 11951120"/>
              <a:gd name="connsiteY883" fmla="*/ 756325 h 6757249"/>
              <a:gd name="connsiteX884" fmla="*/ 1012968 w 11951120"/>
              <a:gd name="connsiteY884" fmla="*/ 756530 h 6757249"/>
              <a:gd name="connsiteX885" fmla="*/ 1014172 w 11951120"/>
              <a:gd name="connsiteY885" fmla="*/ 755568 h 6757249"/>
              <a:gd name="connsiteX886" fmla="*/ 11584464 w 11951120"/>
              <a:gd name="connsiteY886" fmla="*/ 710851 h 6757249"/>
              <a:gd name="connsiteX887" fmla="*/ 11587070 w 11951120"/>
              <a:gd name="connsiteY887" fmla="*/ 712476 h 6757249"/>
              <a:gd name="connsiteX888" fmla="*/ 11587192 w 11951120"/>
              <a:gd name="connsiteY888" fmla="*/ 711029 h 6757249"/>
              <a:gd name="connsiteX889" fmla="*/ 11688314 w 11951120"/>
              <a:gd name="connsiteY889" fmla="*/ 707544 h 6757249"/>
              <a:gd name="connsiteX890" fmla="*/ 11687860 w 11951120"/>
              <a:gd name="connsiteY890" fmla="*/ 708470 h 6757249"/>
              <a:gd name="connsiteX891" fmla="*/ 11687711 w 11951120"/>
              <a:gd name="connsiteY891" fmla="*/ 709380 h 6757249"/>
              <a:gd name="connsiteX892" fmla="*/ 11688990 w 11951120"/>
              <a:gd name="connsiteY892" fmla="*/ 709458 h 6757249"/>
              <a:gd name="connsiteX893" fmla="*/ 1999412 w 11951120"/>
              <a:gd name="connsiteY893" fmla="*/ 692378 h 6757249"/>
              <a:gd name="connsiteX894" fmla="*/ 1999626 w 11951120"/>
              <a:gd name="connsiteY894" fmla="*/ 694089 h 6757249"/>
              <a:gd name="connsiteX895" fmla="*/ 2002074 w 11951120"/>
              <a:gd name="connsiteY895" fmla="*/ 692912 h 6757249"/>
              <a:gd name="connsiteX896" fmla="*/ 1448682 w 11951120"/>
              <a:gd name="connsiteY896" fmla="*/ 615753 h 6757249"/>
              <a:gd name="connsiteX897" fmla="*/ 1448874 w 11951120"/>
              <a:gd name="connsiteY897" fmla="*/ 616166 h 6757249"/>
              <a:gd name="connsiteX898" fmla="*/ 1449428 w 11951120"/>
              <a:gd name="connsiteY898" fmla="*/ 616166 h 6757249"/>
              <a:gd name="connsiteX899" fmla="*/ 1494262 w 11951120"/>
              <a:gd name="connsiteY899" fmla="*/ 615652 h 6757249"/>
              <a:gd name="connsiteX900" fmla="*/ 1496444 w 11951120"/>
              <a:gd name="connsiteY900" fmla="*/ 616861 h 6757249"/>
              <a:gd name="connsiteX901" fmla="*/ 1497935 w 11951120"/>
              <a:gd name="connsiteY901" fmla="*/ 616718 h 6757249"/>
              <a:gd name="connsiteX902" fmla="*/ 1495763 w 11951120"/>
              <a:gd name="connsiteY902" fmla="*/ 615652 h 6757249"/>
              <a:gd name="connsiteX903" fmla="*/ 2192448 w 11951120"/>
              <a:gd name="connsiteY903" fmla="*/ 541683 h 6757249"/>
              <a:gd name="connsiteX904" fmla="*/ 2192448 w 11951120"/>
              <a:gd name="connsiteY904" fmla="*/ 544863 h 6757249"/>
              <a:gd name="connsiteX905" fmla="*/ 2192535 w 11951120"/>
              <a:gd name="connsiteY905" fmla="*/ 545235 h 6757249"/>
              <a:gd name="connsiteX906" fmla="*/ 2195083 w 11951120"/>
              <a:gd name="connsiteY906" fmla="*/ 544316 h 6757249"/>
              <a:gd name="connsiteX907" fmla="*/ 5932207 w 11951120"/>
              <a:gd name="connsiteY907" fmla="*/ 526076 h 6757249"/>
              <a:gd name="connsiteX908" fmla="*/ 5931838 w 11951120"/>
              <a:gd name="connsiteY908" fmla="*/ 526420 h 6757249"/>
              <a:gd name="connsiteX909" fmla="*/ 5931838 w 11951120"/>
              <a:gd name="connsiteY909" fmla="*/ 540439 h 6757249"/>
              <a:gd name="connsiteX910" fmla="*/ 5932207 w 11951120"/>
              <a:gd name="connsiteY910" fmla="*/ 540439 h 6757249"/>
              <a:gd name="connsiteX911" fmla="*/ 9745508 w 11951120"/>
              <a:gd name="connsiteY911" fmla="*/ 522164 h 6757249"/>
              <a:gd name="connsiteX912" fmla="*/ 9741647 w 11951120"/>
              <a:gd name="connsiteY912" fmla="*/ 522814 h 6757249"/>
              <a:gd name="connsiteX913" fmla="*/ 9741691 w 11951120"/>
              <a:gd name="connsiteY913" fmla="*/ 523113 h 6757249"/>
              <a:gd name="connsiteX914" fmla="*/ 9741685 w 11951120"/>
              <a:gd name="connsiteY914" fmla="*/ 523117 h 6757249"/>
              <a:gd name="connsiteX915" fmla="*/ 9304253 w 11951120"/>
              <a:gd name="connsiteY915" fmla="*/ 520125 h 6757249"/>
              <a:gd name="connsiteX916" fmla="*/ 9301000 w 11951120"/>
              <a:gd name="connsiteY916" fmla="*/ 522351 h 6757249"/>
              <a:gd name="connsiteX917" fmla="*/ 9307186 w 11951120"/>
              <a:gd name="connsiteY917" fmla="*/ 523400 h 6757249"/>
              <a:gd name="connsiteX918" fmla="*/ 9308163 w 11951120"/>
              <a:gd name="connsiteY918" fmla="*/ 524394 h 6757249"/>
              <a:gd name="connsiteX919" fmla="*/ 9308080 w 11951120"/>
              <a:gd name="connsiteY919" fmla="*/ 523981 h 6757249"/>
              <a:gd name="connsiteX920" fmla="*/ 9544722 w 11951120"/>
              <a:gd name="connsiteY920" fmla="*/ 496953 h 6757249"/>
              <a:gd name="connsiteX921" fmla="*/ 9545149 w 11951120"/>
              <a:gd name="connsiteY921" fmla="*/ 497952 h 6757249"/>
              <a:gd name="connsiteX922" fmla="*/ 9545143 w 11951120"/>
              <a:gd name="connsiteY922" fmla="*/ 498056 h 6757249"/>
              <a:gd name="connsiteX923" fmla="*/ 9545357 w 11951120"/>
              <a:gd name="connsiteY923" fmla="*/ 497697 h 6757249"/>
              <a:gd name="connsiteX924" fmla="*/ 9545906 w 11951120"/>
              <a:gd name="connsiteY924" fmla="*/ 496975 h 6757249"/>
              <a:gd name="connsiteX925" fmla="*/ 1951575 w 11951120"/>
              <a:gd name="connsiteY925" fmla="*/ 469023 h 6757249"/>
              <a:gd name="connsiteX926" fmla="*/ 1945498 w 11951120"/>
              <a:gd name="connsiteY926" fmla="*/ 472065 h 6757249"/>
              <a:gd name="connsiteX927" fmla="*/ 1951425 w 11951120"/>
              <a:gd name="connsiteY927" fmla="*/ 472065 h 6757249"/>
              <a:gd name="connsiteX928" fmla="*/ 1951575 w 11951120"/>
              <a:gd name="connsiteY928" fmla="*/ 470312 h 6757249"/>
              <a:gd name="connsiteX929" fmla="*/ 1639882 w 11951120"/>
              <a:gd name="connsiteY929" fmla="*/ 464002 h 6757249"/>
              <a:gd name="connsiteX930" fmla="*/ 1634702 w 11951120"/>
              <a:gd name="connsiteY930" fmla="*/ 470839 h 6757249"/>
              <a:gd name="connsiteX931" fmla="*/ 1632009 w 11951120"/>
              <a:gd name="connsiteY931" fmla="*/ 478899 h 6757249"/>
              <a:gd name="connsiteX932" fmla="*/ 1638304 w 11951120"/>
              <a:gd name="connsiteY932" fmla="*/ 476087 h 6757249"/>
              <a:gd name="connsiteX933" fmla="*/ 1638304 w 11951120"/>
              <a:gd name="connsiteY933" fmla="*/ 478842 h 6757249"/>
              <a:gd name="connsiteX934" fmla="*/ 1639684 w 11951120"/>
              <a:gd name="connsiteY934" fmla="*/ 476310 h 6757249"/>
              <a:gd name="connsiteX935" fmla="*/ 1638762 w 11951120"/>
              <a:gd name="connsiteY935" fmla="*/ 475776 h 6757249"/>
              <a:gd name="connsiteX936" fmla="*/ 1638977 w 11951120"/>
              <a:gd name="connsiteY936" fmla="*/ 473513 h 6757249"/>
              <a:gd name="connsiteX937" fmla="*/ 1636046 w 11951120"/>
              <a:gd name="connsiteY937" fmla="*/ 470583 h 6757249"/>
              <a:gd name="connsiteX938" fmla="*/ 1639194 w 11951120"/>
              <a:gd name="connsiteY938" fmla="*/ 471233 h 6757249"/>
              <a:gd name="connsiteX939" fmla="*/ 8906130 w 11951120"/>
              <a:gd name="connsiteY939" fmla="*/ 451199 h 6757249"/>
              <a:gd name="connsiteX940" fmla="*/ 8899536 w 11951120"/>
              <a:gd name="connsiteY940" fmla="*/ 457671 h 6757249"/>
              <a:gd name="connsiteX941" fmla="*/ 8899495 w 11951120"/>
              <a:gd name="connsiteY941" fmla="*/ 458582 h 6757249"/>
              <a:gd name="connsiteX942" fmla="*/ 8903223 w 11951120"/>
              <a:gd name="connsiteY942" fmla="*/ 454339 h 6757249"/>
              <a:gd name="connsiteX943" fmla="*/ 8906657 w 11951120"/>
              <a:gd name="connsiteY943" fmla="*/ 451299 h 6757249"/>
              <a:gd name="connsiteX944" fmla="*/ 2501951 w 11951120"/>
              <a:gd name="connsiteY944" fmla="*/ 422681 h 6757249"/>
              <a:gd name="connsiteX945" fmla="*/ 2501804 w 11951120"/>
              <a:gd name="connsiteY945" fmla="*/ 423823 h 6757249"/>
              <a:gd name="connsiteX946" fmla="*/ 2502241 w 11951120"/>
              <a:gd name="connsiteY946" fmla="*/ 423382 h 6757249"/>
              <a:gd name="connsiteX947" fmla="*/ 2769832 w 11951120"/>
              <a:gd name="connsiteY947" fmla="*/ 421860 h 6757249"/>
              <a:gd name="connsiteX948" fmla="*/ 2769832 w 11951120"/>
              <a:gd name="connsiteY948" fmla="*/ 422078 h 6757249"/>
              <a:gd name="connsiteX949" fmla="*/ 2769457 w 11951120"/>
              <a:gd name="connsiteY949" fmla="*/ 422703 h 6757249"/>
              <a:gd name="connsiteX950" fmla="*/ 2769474 w 11951120"/>
              <a:gd name="connsiteY950" fmla="*/ 422698 h 6757249"/>
              <a:gd name="connsiteX951" fmla="*/ 2770453 w 11951120"/>
              <a:gd name="connsiteY951" fmla="*/ 422217 h 6757249"/>
              <a:gd name="connsiteX952" fmla="*/ 7208837 w 11951120"/>
              <a:gd name="connsiteY952" fmla="*/ 419290 h 6757249"/>
              <a:gd name="connsiteX953" fmla="*/ 7208019 w 11951120"/>
              <a:gd name="connsiteY953" fmla="*/ 419530 h 6757249"/>
              <a:gd name="connsiteX954" fmla="*/ 7211299 w 11951120"/>
              <a:gd name="connsiteY954" fmla="*/ 426193 h 6757249"/>
              <a:gd name="connsiteX955" fmla="*/ 7212024 w 11951120"/>
              <a:gd name="connsiteY955" fmla="*/ 422507 h 6757249"/>
              <a:gd name="connsiteX956" fmla="*/ 4260661 w 11951120"/>
              <a:gd name="connsiteY956" fmla="*/ 396172 h 6757249"/>
              <a:gd name="connsiteX957" fmla="*/ 4260661 w 11951120"/>
              <a:gd name="connsiteY957" fmla="*/ 404681 h 6757249"/>
              <a:gd name="connsiteX958" fmla="*/ 4272748 w 11951120"/>
              <a:gd name="connsiteY958" fmla="*/ 396973 h 6757249"/>
              <a:gd name="connsiteX959" fmla="*/ 2674514 w 11951120"/>
              <a:gd name="connsiteY959" fmla="*/ 391911 h 6757249"/>
              <a:gd name="connsiteX960" fmla="*/ 2673303 w 11951120"/>
              <a:gd name="connsiteY960" fmla="*/ 392733 h 6757249"/>
              <a:gd name="connsiteX961" fmla="*/ 2673303 w 11951120"/>
              <a:gd name="connsiteY961" fmla="*/ 398059 h 6757249"/>
              <a:gd name="connsiteX962" fmla="*/ 2674514 w 11951120"/>
              <a:gd name="connsiteY962" fmla="*/ 396942 h 6757249"/>
              <a:gd name="connsiteX963" fmla="*/ 6315958 w 11951120"/>
              <a:gd name="connsiteY963" fmla="*/ 375089 h 6757249"/>
              <a:gd name="connsiteX964" fmla="*/ 6315735 w 11951120"/>
              <a:gd name="connsiteY964" fmla="*/ 376471 h 6757249"/>
              <a:gd name="connsiteX965" fmla="*/ 6317034 w 11951120"/>
              <a:gd name="connsiteY965" fmla="*/ 375089 h 6757249"/>
              <a:gd name="connsiteX966" fmla="*/ 4311805 w 11951120"/>
              <a:gd name="connsiteY966" fmla="*/ 369570 h 6757249"/>
              <a:gd name="connsiteX967" fmla="*/ 4309189 w 11951120"/>
              <a:gd name="connsiteY967" fmla="*/ 373899 h 6757249"/>
              <a:gd name="connsiteX968" fmla="*/ 4308944 w 11951120"/>
              <a:gd name="connsiteY968" fmla="*/ 374196 h 6757249"/>
              <a:gd name="connsiteX969" fmla="*/ 4312742 w 11951120"/>
              <a:gd name="connsiteY969" fmla="*/ 374196 h 6757249"/>
              <a:gd name="connsiteX970" fmla="*/ 3007558 w 11951120"/>
              <a:gd name="connsiteY970" fmla="*/ 351560 h 6757249"/>
              <a:gd name="connsiteX971" fmla="*/ 3007104 w 11951120"/>
              <a:gd name="connsiteY971" fmla="*/ 352899 h 6757249"/>
              <a:gd name="connsiteX972" fmla="*/ 3009722 w 11951120"/>
              <a:gd name="connsiteY972" fmla="*/ 353558 h 6757249"/>
              <a:gd name="connsiteX973" fmla="*/ 5305835 w 11951120"/>
              <a:gd name="connsiteY973" fmla="*/ 351560 h 6757249"/>
              <a:gd name="connsiteX974" fmla="*/ 5305381 w 11951120"/>
              <a:gd name="connsiteY974" fmla="*/ 352899 h 6757249"/>
              <a:gd name="connsiteX975" fmla="*/ 5307999 w 11951120"/>
              <a:gd name="connsiteY975" fmla="*/ 353558 h 6757249"/>
              <a:gd name="connsiteX976" fmla="*/ 5752296 w 11951120"/>
              <a:gd name="connsiteY976" fmla="*/ 350600 h 6757249"/>
              <a:gd name="connsiteX977" fmla="*/ 5722911 w 11951120"/>
              <a:gd name="connsiteY977" fmla="*/ 355834 h 6757249"/>
              <a:gd name="connsiteX978" fmla="*/ 5692272 w 11951120"/>
              <a:gd name="connsiteY978" fmla="*/ 368872 h 6757249"/>
              <a:gd name="connsiteX979" fmla="*/ 5692255 w 11951120"/>
              <a:gd name="connsiteY979" fmla="*/ 368906 h 6757249"/>
              <a:gd name="connsiteX980" fmla="*/ 5665788 w 11951120"/>
              <a:gd name="connsiteY980" fmla="*/ 395353 h 6757249"/>
              <a:gd name="connsiteX981" fmla="*/ 5665511 w 11951120"/>
              <a:gd name="connsiteY981" fmla="*/ 396343 h 6757249"/>
              <a:gd name="connsiteX982" fmla="*/ 5672046 w 11951120"/>
              <a:gd name="connsiteY982" fmla="*/ 409139 h 6757249"/>
              <a:gd name="connsiteX983" fmla="*/ 5750479 w 11951120"/>
              <a:gd name="connsiteY983" fmla="*/ 373576 h 6757249"/>
              <a:gd name="connsiteX984" fmla="*/ 5750479 w 11951120"/>
              <a:gd name="connsiteY984" fmla="*/ 351575 h 6757249"/>
              <a:gd name="connsiteX985" fmla="*/ 3153124 w 11951120"/>
              <a:gd name="connsiteY985" fmla="*/ 342577 h 6757249"/>
              <a:gd name="connsiteX986" fmla="*/ 3152929 w 11951120"/>
              <a:gd name="connsiteY986" fmla="*/ 342726 h 6757249"/>
              <a:gd name="connsiteX987" fmla="*/ 3153091 w 11951120"/>
              <a:gd name="connsiteY987" fmla="*/ 342739 h 6757249"/>
              <a:gd name="connsiteX988" fmla="*/ 5451401 w 11951120"/>
              <a:gd name="connsiteY988" fmla="*/ 342577 h 6757249"/>
              <a:gd name="connsiteX989" fmla="*/ 5451206 w 11951120"/>
              <a:gd name="connsiteY989" fmla="*/ 342726 h 6757249"/>
              <a:gd name="connsiteX990" fmla="*/ 5451369 w 11951120"/>
              <a:gd name="connsiteY990" fmla="*/ 342739 h 6757249"/>
              <a:gd name="connsiteX991" fmla="*/ 4335495 w 11951120"/>
              <a:gd name="connsiteY991" fmla="*/ 325648 h 6757249"/>
              <a:gd name="connsiteX992" fmla="*/ 4335736 w 11951120"/>
              <a:gd name="connsiteY992" fmla="*/ 329953 h 6757249"/>
              <a:gd name="connsiteX993" fmla="*/ 4335259 w 11951120"/>
              <a:gd name="connsiteY993" fmla="*/ 330740 h 6757249"/>
              <a:gd name="connsiteX994" fmla="*/ 4336290 w 11951120"/>
              <a:gd name="connsiteY994" fmla="*/ 330088 h 6757249"/>
              <a:gd name="connsiteX995" fmla="*/ 4340427 w 11951120"/>
              <a:gd name="connsiteY995" fmla="*/ 327141 h 6757249"/>
              <a:gd name="connsiteX996" fmla="*/ 3084284 w 11951120"/>
              <a:gd name="connsiteY996" fmla="*/ 268278 h 6757249"/>
              <a:gd name="connsiteX997" fmla="*/ 3080467 w 11951120"/>
              <a:gd name="connsiteY997" fmla="*/ 276708 h 6757249"/>
              <a:gd name="connsiteX998" fmla="*/ 3082082 w 11951120"/>
              <a:gd name="connsiteY998" fmla="*/ 277742 h 6757249"/>
              <a:gd name="connsiteX999" fmla="*/ 3087164 w 11951120"/>
              <a:gd name="connsiteY999" fmla="*/ 277044 h 6757249"/>
              <a:gd name="connsiteX1000" fmla="*/ 5382561 w 11951120"/>
              <a:gd name="connsiteY1000" fmla="*/ 268278 h 6757249"/>
              <a:gd name="connsiteX1001" fmla="*/ 5378745 w 11951120"/>
              <a:gd name="connsiteY1001" fmla="*/ 276708 h 6757249"/>
              <a:gd name="connsiteX1002" fmla="*/ 5380359 w 11951120"/>
              <a:gd name="connsiteY1002" fmla="*/ 277742 h 6757249"/>
              <a:gd name="connsiteX1003" fmla="*/ 5385441 w 11951120"/>
              <a:gd name="connsiteY1003" fmla="*/ 277044 h 6757249"/>
              <a:gd name="connsiteX1004" fmla="*/ 2598226 w 11951120"/>
              <a:gd name="connsiteY1004" fmla="*/ 132875 h 6757249"/>
              <a:gd name="connsiteX1005" fmla="*/ 2646490 w 11951120"/>
              <a:gd name="connsiteY1005" fmla="*/ 132875 h 6757249"/>
              <a:gd name="connsiteX1006" fmla="*/ 2604808 w 11951120"/>
              <a:gd name="connsiteY1006" fmla="*/ 177536 h 6757249"/>
              <a:gd name="connsiteX1007" fmla="*/ 2558000 w 11951120"/>
              <a:gd name="connsiteY1007" fmla="*/ 198918 h 6757249"/>
              <a:gd name="connsiteX1008" fmla="*/ 2556218 w 11951120"/>
              <a:gd name="connsiteY1008" fmla="*/ 201980 h 6757249"/>
              <a:gd name="connsiteX1009" fmla="*/ 2551749 w 11951120"/>
              <a:gd name="connsiteY1009" fmla="*/ 203078 h 6757249"/>
              <a:gd name="connsiteX1010" fmla="*/ 2453433 w 11951120"/>
              <a:gd name="connsiteY1010" fmla="*/ 277667 h 6757249"/>
              <a:gd name="connsiteX1011" fmla="*/ 2453433 w 11951120"/>
              <a:gd name="connsiteY1011" fmla="*/ 229403 h 6757249"/>
              <a:gd name="connsiteX1012" fmla="*/ 2480247 w 11951120"/>
              <a:gd name="connsiteY1012" fmla="*/ 225015 h 6757249"/>
              <a:gd name="connsiteX1013" fmla="*/ 2549962 w 11951120"/>
              <a:gd name="connsiteY1013" fmla="*/ 182235 h 6757249"/>
              <a:gd name="connsiteX1014" fmla="*/ 2549962 w 11951120"/>
              <a:gd name="connsiteY1014" fmla="*/ 180803 h 6757249"/>
              <a:gd name="connsiteX1015" fmla="*/ 2598226 w 11951120"/>
              <a:gd name="connsiteY1015" fmla="*/ 132875 h 6757249"/>
              <a:gd name="connsiteX1016" fmla="*/ 4896503 w 11951120"/>
              <a:gd name="connsiteY1016" fmla="*/ 132875 h 6757249"/>
              <a:gd name="connsiteX1017" fmla="*/ 4944767 w 11951120"/>
              <a:gd name="connsiteY1017" fmla="*/ 132875 h 6757249"/>
              <a:gd name="connsiteX1018" fmla="*/ 4903085 w 11951120"/>
              <a:gd name="connsiteY1018" fmla="*/ 177536 h 6757249"/>
              <a:gd name="connsiteX1019" fmla="*/ 4856278 w 11951120"/>
              <a:gd name="connsiteY1019" fmla="*/ 198918 h 6757249"/>
              <a:gd name="connsiteX1020" fmla="*/ 4854496 w 11951120"/>
              <a:gd name="connsiteY1020" fmla="*/ 201980 h 6757249"/>
              <a:gd name="connsiteX1021" fmla="*/ 4850026 w 11951120"/>
              <a:gd name="connsiteY1021" fmla="*/ 203078 h 6757249"/>
              <a:gd name="connsiteX1022" fmla="*/ 4751710 w 11951120"/>
              <a:gd name="connsiteY1022" fmla="*/ 277667 h 6757249"/>
              <a:gd name="connsiteX1023" fmla="*/ 4751710 w 11951120"/>
              <a:gd name="connsiteY1023" fmla="*/ 229403 h 6757249"/>
              <a:gd name="connsiteX1024" fmla="*/ 4778524 w 11951120"/>
              <a:gd name="connsiteY1024" fmla="*/ 225015 h 6757249"/>
              <a:gd name="connsiteX1025" fmla="*/ 4848239 w 11951120"/>
              <a:gd name="connsiteY1025" fmla="*/ 182235 h 6757249"/>
              <a:gd name="connsiteX1026" fmla="*/ 4848239 w 11951120"/>
              <a:gd name="connsiteY1026" fmla="*/ 180803 h 6757249"/>
              <a:gd name="connsiteX1027" fmla="*/ 4896503 w 11951120"/>
              <a:gd name="connsiteY1027" fmla="*/ 132875 h 6757249"/>
              <a:gd name="connsiteX1028" fmla="*/ 5353337 w 11951120"/>
              <a:gd name="connsiteY1028" fmla="*/ 559 h 6757249"/>
              <a:gd name="connsiteX1029" fmla="*/ 5427409 w 11951120"/>
              <a:gd name="connsiteY1029" fmla="*/ 58209 h 6757249"/>
              <a:gd name="connsiteX1030" fmla="*/ 5427403 w 11951120"/>
              <a:gd name="connsiteY1030" fmla="*/ 58216 h 6757249"/>
              <a:gd name="connsiteX1031" fmla="*/ 5428481 w 11951120"/>
              <a:gd name="connsiteY1031" fmla="*/ 57797 h 6757249"/>
              <a:gd name="connsiteX1032" fmla="*/ 5357386 w 11951120"/>
              <a:gd name="connsiteY1032" fmla="*/ 133768 h 6757249"/>
              <a:gd name="connsiteX1033" fmla="*/ 5356690 w 11951120"/>
              <a:gd name="connsiteY1033" fmla="*/ 133069 h 6757249"/>
              <a:gd name="connsiteX1034" fmla="*/ 5350514 w 11951120"/>
              <a:gd name="connsiteY1034" fmla="*/ 159280 h 6757249"/>
              <a:gd name="connsiteX1035" fmla="*/ 5330939 w 11951120"/>
              <a:gd name="connsiteY1035" fmla="*/ 180322 h 6757249"/>
              <a:gd name="connsiteX1036" fmla="*/ 5329956 w 11951120"/>
              <a:gd name="connsiteY1036" fmla="*/ 181757 h 6757249"/>
              <a:gd name="connsiteX1037" fmla="*/ 5331552 w 11951120"/>
              <a:gd name="connsiteY1037" fmla="*/ 181139 h 6757249"/>
              <a:gd name="connsiteX1038" fmla="*/ 5357218 w 11951120"/>
              <a:gd name="connsiteY1038" fmla="*/ 224091 h 6757249"/>
              <a:gd name="connsiteX1039" fmla="*/ 5400595 w 11951120"/>
              <a:gd name="connsiteY1039" fmla="*/ 228446 h 6757249"/>
              <a:gd name="connsiteX1040" fmla="*/ 5399490 w 11951120"/>
              <a:gd name="connsiteY1040" fmla="*/ 230888 h 6757249"/>
              <a:gd name="connsiteX1041" fmla="*/ 5401532 w 11951120"/>
              <a:gd name="connsiteY1041" fmla="*/ 229074 h 6757249"/>
              <a:gd name="connsiteX1042" fmla="*/ 5633874 w 11951120"/>
              <a:gd name="connsiteY1042" fmla="*/ 84611 h 6757249"/>
              <a:gd name="connsiteX1043" fmla="*/ 5476057 w 11951120"/>
              <a:gd name="connsiteY1043" fmla="*/ 229074 h 6757249"/>
              <a:gd name="connsiteX1044" fmla="*/ 5475966 w 11951120"/>
              <a:gd name="connsiteY1044" fmla="*/ 229576 h 6757249"/>
              <a:gd name="connsiteX1045" fmla="*/ 5476078 w 11951120"/>
              <a:gd name="connsiteY1045" fmla="*/ 229403 h 6757249"/>
              <a:gd name="connsiteX1046" fmla="*/ 5497833 w 11951120"/>
              <a:gd name="connsiteY1046" fmla="*/ 229403 h 6757249"/>
              <a:gd name="connsiteX1047" fmla="*/ 5498885 w 11951120"/>
              <a:gd name="connsiteY1047" fmla="*/ 231871 h 6757249"/>
              <a:gd name="connsiteX1048" fmla="*/ 5499268 w 11951120"/>
              <a:gd name="connsiteY1048" fmla="*/ 229594 h 6757249"/>
              <a:gd name="connsiteX1049" fmla="*/ 5595789 w 11951120"/>
              <a:gd name="connsiteY1049" fmla="*/ 247964 h 6757249"/>
              <a:gd name="connsiteX1050" fmla="*/ 5595628 w 11951120"/>
              <a:gd name="connsiteY1050" fmla="*/ 276646 h 6757249"/>
              <a:gd name="connsiteX1051" fmla="*/ 5617197 w 11951120"/>
              <a:gd name="connsiteY1051" fmla="*/ 292185 h 6757249"/>
              <a:gd name="connsiteX1052" fmla="*/ 5654958 w 11951120"/>
              <a:gd name="connsiteY1052" fmla="*/ 297608 h 6757249"/>
              <a:gd name="connsiteX1053" fmla="*/ 5690806 w 11951120"/>
              <a:gd name="connsiteY1053" fmla="*/ 298353 h 6757249"/>
              <a:gd name="connsiteX1054" fmla="*/ 5712927 w 11951120"/>
              <a:gd name="connsiteY1054" fmla="*/ 282248 h 6757249"/>
              <a:gd name="connsiteX1055" fmla="*/ 5787820 w 11951120"/>
              <a:gd name="connsiteY1055" fmla="*/ 276636 h 6757249"/>
              <a:gd name="connsiteX1056" fmla="*/ 5793007 w 11951120"/>
              <a:gd name="connsiteY1056" fmla="*/ 318798 h 6757249"/>
              <a:gd name="connsiteX1057" fmla="*/ 5779707 w 11951120"/>
              <a:gd name="connsiteY1057" fmla="*/ 339343 h 6757249"/>
              <a:gd name="connsiteX1058" fmla="*/ 5798409 w 11951120"/>
              <a:gd name="connsiteY1058" fmla="*/ 347175 h 6757249"/>
              <a:gd name="connsiteX1059" fmla="*/ 5798409 w 11951120"/>
              <a:gd name="connsiteY1059" fmla="*/ 395577 h 6757249"/>
              <a:gd name="connsiteX1060" fmla="*/ 5799751 w 11951120"/>
              <a:gd name="connsiteY1060" fmla="*/ 400543 h 6757249"/>
              <a:gd name="connsiteX1061" fmla="*/ 5799751 w 11951120"/>
              <a:gd name="connsiteY1061" fmla="*/ 395263 h 6757249"/>
              <a:gd name="connsiteX1062" fmla="*/ 5896662 w 11951120"/>
              <a:gd name="connsiteY1062" fmla="*/ 368833 h 6757249"/>
              <a:gd name="connsiteX1063" fmla="*/ 5896846 w 11951120"/>
              <a:gd name="connsiteY1063" fmla="*/ 369355 h 6757249"/>
              <a:gd name="connsiteX1064" fmla="*/ 5932028 w 11951120"/>
              <a:gd name="connsiteY1064" fmla="*/ 339339 h 6757249"/>
              <a:gd name="connsiteX1065" fmla="*/ 5939291 w 11951120"/>
              <a:gd name="connsiteY1065" fmla="*/ 393261 h 6757249"/>
              <a:gd name="connsiteX1066" fmla="*/ 5923950 w 11951120"/>
              <a:gd name="connsiteY1066" fmla="*/ 441230 h 6757249"/>
              <a:gd name="connsiteX1067" fmla="*/ 5926783 w 11951120"/>
              <a:gd name="connsiteY1067" fmla="*/ 441230 h 6757249"/>
              <a:gd name="connsiteX1068" fmla="*/ 5931129 w 11951120"/>
              <a:gd name="connsiteY1068" fmla="*/ 445470 h 6757249"/>
              <a:gd name="connsiteX1069" fmla="*/ 5928820 w 11951120"/>
              <a:gd name="connsiteY1069" fmla="*/ 439523 h 6757249"/>
              <a:gd name="connsiteX1070" fmla="*/ 5946947 w 11951120"/>
              <a:gd name="connsiteY1070" fmla="*/ 409358 h 6757249"/>
              <a:gd name="connsiteX1071" fmla="*/ 5979842 w 11951120"/>
              <a:gd name="connsiteY1071" fmla="*/ 396324 h 6757249"/>
              <a:gd name="connsiteX1072" fmla="*/ 5979766 w 11951120"/>
              <a:gd name="connsiteY1072" fmla="*/ 396071 h 6757249"/>
              <a:gd name="connsiteX1073" fmla="*/ 6005983 w 11951120"/>
              <a:gd name="connsiteY1073" fmla="*/ 374196 h 6757249"/>
              <a:gd name="connsiteX1074" fmla="*/ 6097745 w 11951120"/>
              <a:gd name="connsiteY1074" fmla="*/ 396071 h 6757249"/>
              <a:gd name="connsiteX1075" fmla="*/ 6097745 w 11951120"/>
              <a:gd name="connsiteY1075" fmla="*/ 407260 h 6757249"/>
              <a:gd name="connsiteX1076" fmla="*/ 6098559 w 11951120"/>
              <a:gd name="connsiteY1076" fmla="*/ 406000 h 6757249"/>
              <a:gd name="connsiteX1077" fmla="*/ 6098559 w 11951120"/>
              <a:gd name="connsiteY1077" fmla="*/ 395539 h 6757249"/>
              <a:gd name="connsiteX1078" fmla="*/ 6124709 w 11951120"/>
              <a:gd name="connsiteY1078" fmla="*/ 347952 h 6757249"/>
              <a:gd name="connsiteX1079" fmla="*/ 6124559 w 11951120"/>
              <a:gd name="connsiteY1079" fmla="*/ 347871 h 6757249"/>
              <a:gd name="connsiteX1080" fmla="*/ 6124987 w 11951120"/>
              <a:gd name="connsiteY1080" fmla="*/ 347443 h 6757249"/>
              <a:gd name="connsiteX1081" fmla="*/ 6125139 w 11951120"/>
              <a:gd name="connsiteY1081" fmla="*/ 347166 h 6757249"/>
              <a:gd name="connsiteX1082" fmla="*/ 6125269 w 11951120"/>
              <a:gd name="connsiteY1082" fmla="*/ 347165 h 6757249"/>
              <a:gd name="connsiteX1083" fmla="*/ 6146680 w 11951120"/>
              <a:gd name="connsiteY1083" fmla="*/ 325932 h 6757249"/>
              <a:gd name="connsiteX1084" fmla="*/ 6146999 w 11951120"/>
              <a:gd name="connsiteY1084" fmla="*/ 325932 h 6757249"/>
              <a:gd name="connsiteX1085" fmla="*/ 6146009 w 11951120"/>
              <a:gd name="connsiteY1085" fmla="*/ 325232 h 6757249"/>
              <a:gd name="connsiteX1086" fmla="*/ 6269351 w 11951120"/>
              <a:gd name="connsiteY1086" fmla="*/ 254352 h 6757249"/>
              <a:gd name="connsiteX1087" fmla="*/ 6269351 w 11951120"/>
              <a:gd name="connsiteY1087" fmla="*/ 260531 h 6757249"/>
              <a:gd name="connsiteX1088" fmla="*/ 6270080 w 11951120"/>
              <a:gd name="connsiteY1088" fmla="*/ 255323 h 6757249"/>
              <a:gd name="connsiteX1089" fmla="*/ 6340284 w 11951120"/>
              <a:gd name="connsiteY1089" fmla="*/ 197227 h 6757249"/>
              <a:gd name="connsiteX1090" fmla="*/ 6340409 w 11951120"/>
              <a:gd name="connsiteY1090" fmla="*/ 197322 h 6757249"/>
              <a:gd name="connsiteX1091" fmla="*/ 6365315 w 11951120"/>
              <a:gd name="connsiteY1091" fmla="*/ 176506 h 6757249"/>
              <a:gd name="connsiteX1092" fmla="*/ 6366459 w 11951120"/>
              <a:gd name="connsiteY1092" fmla="*/ 176645 h 6757249"/>
              <a:gd name="connsiteX1093" fmla="*/ 6414250 w 11951120"/>
              <a:gd name="connsiteY1093" fmla="*/ 132875 h 6757249"/>
              <a:gd name="connsiteX1094" fmla="*/ 6436238 w 11951120"/>
              <a:gd name="connsiteY1094" fmla="*/ 203755 h 6757249"/>
              <a:gd name="connsiteX1095" fmla="*/ 6436263 w 11951120"/>
              <a:gd name="connsiteY1095" fmla="*/ 204809 h 6757249"/>
              <a:gd name="connsiteX1096" fmla="*/ 6437543 w 11951120"/>
              <a:gd name="connsiteY1096" fmla="*/ 203260 h 6757249"/>
              <a:gd name="connsiteX1097" fmla="*/ 6529452 w 11951120"/>
              <a:gd name="connsiteY1097" fmla="*/ 181195 h 6757249"/>
              <a:gd name="connsiteX1098" fmla="*/ 6529440 w 11951120"/>
              <a:gd name="connsiteY1098" fmla="*/ 181139 h 6757249"/>
              <a:gd name="connsiteX1099" fmla="*/ 6563459 w 11951120"/>
              <a:gd name="connsiteY1099" fmla="*/ 150036 h 6757249"/>
              <a:gd name="connsiteX1100" fmla="*/ 6606136 w 11951120"/>
              <a:gd name="connsiteY1100" fmla="*/ 151081 h 6757249"/>
              <a:gd name="connsiteX1101" fmla="*/ 6607288 w 11951120"/>
              <a:gd name="connsiteY1101" fmla="*/ 150353 h 6757249"/>
              <a:gd name="connsiteX1102" fmla="*/ 6655465 w 11951120"/>
              <a:gd name="connsiteY1102" fmla="*/ 180940 h 6757249"/>
              <a:gd name="connsiteX1103" fmla="*/ 6655196 w 11951120"/>
              <a:gd name="connsiteY1103" fmla="*/ 181208 h 6757249"/>
              <a:gd name="connsiteX1104" fmla="*/ 6655799 w 11951120"/>
              <a:gd name="connsiteY1104" fmla="*/ 181197 h 6757249"/>
              <a:gd name="connsiteX1105" fmla="*/ 6725514 w 11951120"/>
              <a:gd name="connsiteY1105" fmla="*/ 132875 h 6757249"/>
              <a:gd name="connsiteX1106" fmla="*/ 6799585 w 11951120"/>
              <a:gd name="connsiteY1106" fmla="*/ 229518 h 6757249"/>
              <a:gd name="connsiteX1107" fmla="*/ 6799293 w 11951120"/>
              <a:gd name="connsiteY1107" fmla="*/ 230405 h 6757249"/>
              <a:gd name="connsiteX1108" fmla="*/ 6800592 w 11951120"/>
              <a:gd name="connsiteY1108" fmla="*/ 229087 h 6757249"/>
              <a:gd name="connsiteX1109" fmla="*/ 6861593 w 11951120"/>
              <a:gd name="connsiteY1109" fmla="*/ 277667 h 6757249"/>
              <a:gd name="connsiteX1110" fmla="*/ 6918236 w 11951120"/>
              <a:gd name="connsiteY1110" fmla="*/ 326248 h 6757249"/>
              <a:gd name="connsiteX1111" fmla="*/ 6917922 w 11951120"/>
              <a:gd name="connsiteY1111" fmla="*/ 326536 h 6757249"/>
              <a:gd name="connsiteX1112" fmla="*/ 6918846 w 11951120"/>
              <a:gd name="connsiteY1112" fmla="*/ 326170 h 6757249"/>
              <a:gd name="connsiteX1113" fmla="*/ 6971387 w 11951120"/>
              <a:gd name="connsiteY1113" fmla="*/ 282076 h 6757249"/>
              <a:gd name="connsiteX1114" fmla="*/ 7076058 w 11951120"/>
              <a:gd name="connsiteY1114" fmla="*/ 295718 h 6757249"/>
              <a:gd name="connsiteX1115" fmla="*/ 7111332 w 11951120"/>
              <a:gd name="connsiteY1115" fmla="*/ 277750 h 6757249"/>
              <a:gd name="connsiteX1116" fmla="*/ 7111293 w 11951120"/>
              <a:gd name="connsiteY1116" fmla="*/ 277725 h 6757249"/>
              <a:gd name="connsiteX1117" fmla="*/ 7207821 w 11951120"/>
              <a:gd name="connsiteY1117" fmla="*/ 229403 h 6757249"/>
              <a:gd name="connsiteX1118" fmla="*/ 7209115 w 11951120"/>
              <a:gd name="connsiteY1118" fmla="*/ 231570 h 6757249"/>
              <a:gd name="connsiteX1119" fmla="*/ 7209250 w 11951120"/>
              <a:gd name="connsiteY1119" fmla="*/ 229224 h 6757249"/>
              <a:gd name="connsiteX1120" fmla="*/ 7269415 w 11951120"/>
              <a:gd name="connsiteY1120" fmla="*/ 284593 h 6757249"/>
              <a:gd name="connsiteX1121" fmla="*/ 7266779 w 11951120"/>
              <a:gd name="connsiteY1121" fmla="*/ 308716 h 6757249"/>
              <a:gd name="connsiteX1122" fmla="*/ 7274524 w 11951120"/>
              <a:gd name="connsiteY1122" fmla="*/ 305763 h 6757249"/>
              <a:gd name="connsiteX1123" fmla="*/ 7319256 w 11951120"/>
              <a:gd name="connsiteY1123" fmla="*/ 299949 h 6757249"/>
              <a:gd name="connsiteX1124" fmla="*/ 7348573 w 11951120"/>
              <a:gd name="connsiteY1124" fmla="*/ 299424 h 6757249"/>
              <a:gd name="connsiteX1125" fmla="*/ 7369038 w 11951120"/>
              <a:gd name="connsiteY1125" fmla="*/ 285711 h 6757249"/>
              <a:gd name="connsiteX1126" fmla="*/ 7371216 w 11951120"/>
              <a:gd name="connsiteY1126" fmla="*/ 332791 h 6757249"/>
              <a:gd name="connsiteX1127" fmla="*/ 7373278 w 11951120"/>
              <a:gd name="connsiteY1127" fmla="*/ 371133 h 6757249"/>
              <a:gd name="connsiteX1128" fmla="*/ 7382262 w 11951120"/>
              <a:gd name="connsiteY1128" fmla="*/ 367839 h 6757249"/>
              <a:gd name="connsiteX1129" fmla="*/ 7400108 w 11951120"/>
              <a:gd name="connsiteY1129" fmla="*/ 353123 h 6757249"/>
              <a:gd name="connsiteX1130" fmla="*/ 7399804 w 11951120"/>
              <a:gd name="connsiteY1130" fmla="*/ 351566 h 6757249"/>
              <a:gd name="connsiteX1131" fmla="*/ 7465285 w 11951120"/>
              <a:gd name="connsiteY1131" fmla="*/ 309996 h 6757249"/>
              <a:gd name="connsiteX1132" fmla="*/ 7479974 w 11951120"/>
              <a:gd name="connsiteY1132" fmla="*/ 322345 h 6757249"/>
              <a:gd name="connsiteX1133" fmla="*/ 7481203 w 11951120"/>
              <a:gd name="connsiteY1133" fmla="*/ 327908 h 6757249"/>
              <a:gd name="connsiteX1134" fmla="*/ 7489079 w 11951120"/>
              <a:gd name="connsiteY1134" fmla="*/ 332213 h 6757249"/>
              <a:gd name="connsiteX1135" fmla="*/ 7509343 w 11951120"/>
              <a:gd name="connsiteY1135" fmla="*/ 348870 h 6757249"/>
              <a:gd name="connsiteX1136" fmla="*/ 7515578 w 11951120"/>
              <a:gd name="connsiteY1136" fmla="*/ 381507 h 6757249"/>
              <a:gd name="connsiteX1137" fmla="*/ 7532307 w 11951120"/>
              <a:gd name="connsiteY1137" fmla="*/ 408600 h 6757249"/>
              <a:gd name="connsiteX1138" fmla="*/ 7540308 w 11951120"/>
              <a:gd name="connsiteY1138" fmla="*/ 402744 h 6757249"/>
              <a:gd name="connsiteX1139" fmla="*/ 7620748 w 11951120"/>
              <a:gd name="connsiteY1139" fmla="*/ 418021 h 6757249"/>
              <a:gd name="connsiteX1140" fmla="*/ 7620228 w 11951120"/>
              <a:gd name="connsiteY1140" fmla="*/ 418780 h 6757249"/>
              <a:gd name="connsiteX1141" fmla="*/ 7667482 w 11951120"/>
              <a:gd name="connsiteY1141" fmla="*/ 418780 h 6757249"/>
              <a:gd name="connsiteX1142" fmla="*/ 7668025 w 11951120"/>
              <a:gd name="connsiteY1142" fmla="*/ 418231 h 6757249"/>
              <a:gd name="connsiteX1143" fmla="*/ 7707398 w 11951120"/>
              <a:gd name="connsiteY1143" fmla="*/ 338409 h 6757249"/>
              <a:gd name="connsiteX1144" fmla="*/ 7735834 w 11951120"/>
              <a:gd name="connsiteY1144" fmla="*/ 357257 h 6757249"/>
              <a:gd name="connsiteX1145" fmla="*/ 7738018 w 11951120"/>
              <a:gd name="connsiteY1145" fmla="*/ 395976 h 6757249"/>
              <a:gd name="connsiteX1146" fmla="*/ 7738961 w 11951120"/>
              <a:gd name="connsiteY1146" fmla="*/ 395647 h 6757249"/>
              <a:gd name="connsiteX1147" fmla="*/ 7765541 w 11951120"/>
              <a:gd name="connsiteY1147" fmla="*/ 448201 h 6757249"/>
              <a:gd name="connsiteX1148" fmla="*/ 7763702 w 11951120"/>
              <a:gd name="connsiteY1148" fmla="*/ 449503 h 6757249"/>
              <a:gd name="connsiteX1149" fmla="*/ 7764725 w 11951120"/>
              <a:gd name="connsiteY1149" fmla="*/ 449334 h 6757249"/>
              <a:gd name="connsiteX1150" fmla="*/ 7786681 w 11951120"/>
              <a:gd name="connsiteY1150" fmla="*/ 449334 h 6757249"/>
              <a:gd name="connsiteX1151" fmla="*/ 7843767 w 11951120"/>
              <a:gd name="connsiteY1151" fmla="*/ 462430 h 6757249"/>
              <a:gd name="connsiteX1152" fmla="*/ 7846066 w 11951120"/>
              <a:gd name="connsiteY1152" fmla="*/ 465478 h 6757249"/>
              <a:gd name="connsiteX1153" fmla="*/ 8048757 w 11951120"/>
              <a:gd name="connsiteY1153" fmla="*/ 373576 h 6757249"/>
              <a:gd name="connsiteX1154" fmla="*/ 8048757 w 11951120"/>
              <a:gd name="connsiteY1154" fmla="*/ 351575 h 6757249"/>
              <a:gd name="connsiteX1155" fmla="*/ 8074356 w 11951120"/>
              <a:gd name="connsiteY1155" fmla="*/ 337824 h 6757249"/>
              <a:gd name="connsiteX1156" fmla="*/ 8096687 w 11951120"/>
              <a:gd name="connsiteY1156" fmla="*/ 347175 h 6757249"/>
              <a:gd name="connsiteX1157" fmla="*/ 8096687 w 11951120"/>
              <a:gd name="connsiteY1157" fmla="*/ 395577 h 6757249"/>
              <a:gd name="connsiteX1158" fmla="*/ 8098028 w 11951120"/>
              <a:gd name="connsiteY1158" fmla="*/ 400543 h 6757249"/>
              <a:gd name="connsiteX1159" fmla="*/ 8098028 w 11951120"/>
              <a:gd name="connsiteY1159" fmla="*/ 395263 h 6757249"/>
              <a:gd name="connsiteX1160" fmla="*/ 8178991 w 11951120"/>
              <a:gd name="connsiteY1160" fmla="*/ 373183 h 6757249"/>
              <a:gd name="connsiteX1161" fmla="*/ 8183265 w 11951120"/>
              <a:gd name="connsiteY1161" fmla="*/ 368833 h 6757249"/>
              <a:gd name="connsiteX1162" fmla="*/ 8186459 w 11951120"/>
              <a:gd name="connsiteY1162" fmla="*/ 371146 h 6757249"/>
              <a:gd name="connsiteX1163" fmla="*/ 8194940 w 11951120"/>
              <a:gd name="connsiteY1163" fmla="*/ 368833 h 6757249"/>
              <a:gd name="connsiteX1164" fmla="*/ 8195124 w 11951120"/>
              <a:gd name="connsiteY1164" fmla="*/ 369355 h 6757249"/>
              <a:gd name="connsiteX1165" fmla="*/ 8230306 w 11951120"/>
              <a:gd name="connsiteY1165" fmla="*/ 339339 h 6757249"/>
              <a:gd name="connsiteX1166" fmla="*/ 8237569 w 11951120"/>
              <a:gd name="connsiteY1166" fmla="*/ 393261 h 6757249"/>
              <a:gd name="connsiteX1167" fmla="*/ 8231321 w 11951120"/>
              <a:gd name="connsiteY1167" fmla="*/ 412796 h 6757249"/>
              <a:gd name="connsiteX1168" fmla="*/ 8242801 w 11951120"/>
              <a:gd name="connsiteY1168" fmla="*/ 432204 h 6757249"/>
              <a:gd name="connsiteX1169" fmla="*/ 8253081 w 11951120"/>
              <a:gd name="connsiteY1169" fmla="*/ 514806 h 6757249"/>
              <a:gd name="connsiteX1170" fmla="*/ 8254011 w 11951120"/>
              <a:gd name="connsiteY1170" fmla="*/ 514997 h 6757249"/>
              <a:gd name="connsiteX1171" fmla="*/ 8268851 w 11951120"/>
              <a:gd name="connsiteY1171" fmla="*/ 535156 h 6757249"/>
              <a:gd name="connsiteX1172" fmla="*/ 8279822 w 11951120"/>
              <a:gd name="connsiteY1172" fmla="*/ 518120 h 6757249"/>
              <a:gd name="connsiteX1173" fmla="*/ 8316235 w 11951120"/>
              <a:gd name="connsiteY1173" fmla="*/ 500678 h 6757249"/>
              <a:gd name="connsiteX1174" fmla="*/ 8324574 w 11951120"/>
              <a:gd name="connsiteY1174" fmla="*/ 483696 h 6757249"/>
              <a:gd name="connsiteX1175" fmla="*/ 8344435 w 11951120"/>
              <a:gd name="connsiteY1175" fmla="*/ 468929 h 6757249"/>
              <a:gd name="connsiteX1176" fmla="*/ 8353809 w 11951120"/>
              <a:gd name="connsiteY1176" fmla="*/ 448033 h 6757249"/>
              <a:gd name="connsiteX1177" fmla="*/ 8386846 w 11951120"/>
              <a:gd name="connsiteY1177" fmla="*/ 417098 h 6757249"/>
              <a:gd name="connsiteX1178" fmla="*/ 8388694 w 11951120"/>
              <a:gd name="connsiteY1178" fmla="*/ 418604 h 6757249"/>
              <a:gd name="connsiteX1179" fmla="*/ 8421292 w 11951120"/>
              <a:gd name="connsiteY1179" fmla="*/ 368147 h 6757249"/>
              <a:gd name="connsiteX1180" fmla="*/ 8468550 w 11951120"/>
              <a:gd name="connsiteY1180" fmla="*/ 351838 h 6757249"/>
              <a:gd name="connsiteX1181" fmla="*/ 8505926 w 11951120"/>
              <a:gd name="connsiteY1181" fmla="*/ 366474 h 6757249"/>
              <a:gd name="connsiteX1182" fmla="*/ 8501569 w 11951120"/>
              <a:gd name="connsiteY1182" fmla="*/ 485203 h 6757249"/>
              <a:gd name="connsiteX1183" fmla="*/ 8462500 w 11951120"/>
              <a:gd name="connsiteY1183" fmla="*/ 542160 h 6757249"/>
              <a:gd name="connsiteX1184" fmla="*/ 8487019 w 11951120"/>
              <a:gd name="connsiteY1184" fmla="*/ 567033 h 6757249"/>
              <a:gd name="connsiteX1185" fmla="*/ 8488254 w 11951120"/>
              <a:gd name="connsiteY1185" fmla="*/ 568156 h 6757249"/>
              <a:gd name="connsiteX1186" fmla="*/ 8488251 w 11951120"/>
              <a:gd name="connsiteY1186" fmla="*/ 568148 h 6757249"/>
              <a:gd name="connsiteX1187" fmla="*/ 8522741 w 11951120"/>
              <a:gd name="connsiteY1187" fmla="*/ 515712 h 6757249"/>
              <a:gd name="connsiteX1188" fmla="*/ 8579540 w 11951120"/>
              <a:gd name="connsiteY1188" fmla="*/ 489805 h 6757249"/>
              <a:gd name="connsiteX1189" fmla="*/ 8579774 w 11951120"/>
              <a:gd name="connsiteY1189" fmla="*/ 488275 h 6757249"/>
              <a:gd name="connsiteX1190" fmla="*/ 8606588 w 11951120"/>
              <a:gd name="connsiteY1190" fmla="*/ 470724 h 6757249"/>
              <a:gd name="connsiteX1191" fmla="*/ 8606699 w 11951120"/>
              <a:gd name="connsiteY1191" fmla="*/ 471184 h 6757249"/>
              <a:gd name="connsiteX1192" fmla="*/ 8606995 w 11951120"/>
              <a:gd name="connsiteY1192" fmla="*/ 470409 h 6757249"/>
              <a:gd name="connsiteX1193" fmla="*/ 8606995 w 11951120"/>
              <a:gd name="connsiteY1193" fmla="*/ 444497 h 6757249"/>
              <a:gd name="connsiteX1194" fmla="*/ 8580670 w 11951120"/>
              <a:gd name="connsiteY1194" fmla="*/ 444497 h 6757249"/>
              <a:gd name="connsiteX1195" fmla="*/ 8642097 w 11951120"/>
              <a:gd name="connsiteY1195" fmla="*/ 422293 h 6757249"/>
              <a:gd name="connsiteX1196" fmla="*/ 8685424 w 11951120"/>
              <a:gd name="connsiteY1196" fmla="*/ 437281 h 6757249"/>
              <a:gd name="connsiteX1197" fmla="*/ 8723665 w 11951120"/>
              <a:gd name="connsiteY1197" fmla="*/ 422965 h 6757249"/>
              <a:gd name="connsiteX1198" fmla="*/ 8723518 w 11951120"/>
              <a:gd name="connsiteY1198" fmla="*/ 421889 h 6757249"/>
              <a:gd name="connsiteX1199" fmla="*/ 8723518 w 11951120"/>
              <a:gd name="connsiteY1199" fmla="*/ 395532 h 6757249"/>
              <a:gd name="connsiteX1200" fmla="*/ 8850863 w 11951120"/>
              <a:gd name="connsiteY1200" fmla="*/ 364781 h 6757249"/>
              <a:gd name="connsiteX1201" fmla="*/ 8951861 w 11951120"/>
              <a:gd name="connsiteY1201" fmla="*/ 314813 h 6757249"/>
              <a:gd name="connsiteX1202" fmla="*/ 9013338 w 11951120"/>
              <a:gd name="connsiteY1202" fmla="*/ 399925 h 6757249"/>
              <a:gd name="connsiteX1203" fmla="*/ 9013117 w 11951120"/>
              <a:gd name="connsiteY1203" fmla="*/ 401692 h 6757249"/>
              <a:gd name="connsiteX1204" fmla="*/ 9013833 w 11951120"/>
              <a:gd name="connsiteY1204" fmla="*/ 401269 h 6757249"/>
              <a:gd name="connsiteX1205" fmla="*/ 9084257 w 11951120"/>
              <a:gd name="connsiteY1205" fmla="*/ 352745 h 6757249"/>
              <a:gd name="connsiteX1206" fmla="*/ 9086169 w 11951120"/>
              <a:gd name="connsiteY1206" fmla="*/ 354108 h 6757249"/>
              <a:gd name="connsiteX1207" fmla="*/ 9084762 w 11951120"/>
              <a:gd name="connsiteY1207" fmla="*/ 351404 h 6757249"/>
              <a:gd name="connsiteX1208" fmla="*/ 9154759 w 11951120"/>
              <a:gd name="connsiteY1208" fmla="*/ 360214 h 6757249"/>
              <a:gd name="connsiteX1209" fmla="*/ 9160229 w 11951120"/>
              <a:gd name="connsiteY1209" fmla="*/ 403715 h 6757249"/>
              <a:gd name="connsiteX1210" fmla="*/ 9133353 w 11951120"/>
              <a:gd name="connsiteY1210" fmla="*/ 443224 h 6757249"/>
              <a:gd name="connsiteX1211" fmla="*/ 9133109 w 11951120"/>
              <a:gd name="connsiteY1211" fmla="*/ 443999 h 6757249"/>
              <a:gd name="connsiteX1212" fmla="*/ 9133270 w 11951120"/>
              <a:gd name="connsiteY1212" fmla="*/ 443911 h 6757249"/>
              <a:gd name="connsiteX1213" fmla="*/ 9159595 w 11951120"/>
              <a:gd name="connsiteY1213" fmla="*/ 492312 h 6757249"/>
              <a:gd name="connsiteX1214" fmla="*/ 9160791 w 11951120"/>
              <a:gd name="connsiteY1214" fmla="*/ 491913 h 6757249"/>
              <a:gd name="connsiteX1215" fmla="*/ 9189405 w 11951120"/>
              <a:gd name="connsiteY1215" fmla="*/ 449934 h 6757249"/>
              <a:gd name="connsiteX1216" fmla="*/ 9302398 w 11951120"/>
              <a:gd name="connsiteY1216" fmla="*/ 471137 h 6757249"/>
              <a:gd name="connsiteX1217" fmla="*/ 9303161 w 11951120"/>
              <a:gd name="connsiteY1217" fmla="*/ 475062 h 6757249"/>
              <a:gd name="connsiteX1218" fmla="*/ 9303685 w 11951120"/>
              <a:gd name="connsiteY1218" fmla="*/ 469876 h 6757249"/>
              <a:gd name="connsiteX1219" fmla="*/ 9374348 w 11951120"/>
              <a:gd name="connsiteY1219" fmla="*/ 469876 h 6757249"/>
              <a:gd name="connsiteX1220" fmla="*/ 9372594 w 11951120"/>
              <a:gd name="connsiteY1220" fmla="*/ 471319 h 6757249"/>
              <a:gd name="connsiteX1221" fmla="*/ 9374155 w 11951120"/>
              <a:gd name="connsiteY1221" fmla="*/ 470724 h 6757249"/>
              <a:gd name="connsiteX1222" fmla="*/ 9400070 w 11951120"/>
              <a:gd name="connsiteY1222" fmla="*/ 470724 h 6757249"/>
              <a:gd name="connsiteX1223" fmla="*/ 9400110 w 11951120"/>
              <a:gd name="connsiteY1223" fmla="*/ 470265 h 6757249"/>
              <a:gd name="connsiteX1224" fmla="*/ 9422260 w 11951120"/>
              <a:gd name="connsiteY1224" fmla="*/ 374196 h 6757249"/>
              <a:gd name="connsiteX1225" fmla="*/ 9470991 w 11951120"/>
              <a:gd name="connsiteY1225" fmla="*/ 448431 h 6757249"/>
              <a:gd name="connsiteX1226" fmla="*/ 9471308 w 11951120"/>
              <a:gd name="connsiteY1226" fmla="*/ 448796 h 6757249"/>
              <a:gd name="connsiteX1227" fmla="*/ 9516963 w 11951120"/>
              <a:gd name="connsiteY1227" fmla="*/ 436317 h 6757249"/>
              <a:gd name="connsiteX1228" fmla="*/ 9517179 w 11951120"/>
              <a:gd name="connsiteY1228" fmla="*/ 435101 h 6757249"/>
              <a:gd name="connsiteX1229" fmla="*/ 9512745 w 11951120"/>
              <a:gd name="connsiteY1229" fmla="*/ 430696 h 6757249"/>
              <a:gd name="connsiteX1230" fmla="*/ 9513609 w 11951120"/>
              <a:gd name="connsiteY1230" fmla="*/ 429392 h 6757249"/>
              <a:gd name="connsiteX1231" fmla="*/ 9497228 w 11951120"/>
              <a:gd name="connsiteY1231" fmla="*/ 393245 h 6757249"/>
              <a:gd name="connsiteX1232" fmla="*/ 9496701 w 11951120"/>
              <a:gd name="connsiteY1232" fmla="*/ 354079 h 6757249"/>
              <a:gd name="connsiteX1233" fmla="*/ 9495007 w 11951120"/>
              <a:gd name="connsiteY1233" fmla="*/ 352279 h 6757249"/>
              <a:gd name="connsiteX1234" fmla="*/ 9663933 w 11951120"/>
              <a:gd name="connsiteY1234" fmla="*/ 299118 h 6757249"/>
              <a:gd name="connsiteX1235" fmla="*/ 9663933 w 11951120"/>
              <a:gd name="connsiteY1235" fmla="*/ 373777 h 6757249"/>
              <a:gd name="connsiteX1236" fmla="*/ 9664159 w 11951120"/>
              <a:gd name="connsiteY1236" fmla="*/ 373845 h 6757249"/>
              <a:gd name="connsiteX1237" fmla="*/ 9720199 w 11951120"/>
              <a:gd name="connsiteY1237" fmla="*/ 353296 h 6757249"/>
              <a:gd name="connsiteX1238" fmla="*/ 9720871 w 11951120"/>
              <a:gd name="connsiteY1238" fmla="*/ 344501 h 6757249"/>
              <a:gd name="connsiteX1239" fmla="*/ 9765873 w 11951120"/>
              <a:gd name="connsiteY1239" fmla="*/ 320469 h 6757249"/>
              <a:gd name="connsiteX1240" fmla="*/ 9807621 w 11951120"/>
              <a:gd name="connsiteY1240" fmla="*/ 348870 h 6757249"/>
              <a:gd name="connsiteX1241" fmla="*/ 9831478 w 11951120"/>
              <a:gd name="connsiteY1241" fmla="*/ 410046 h 6757249"/>
              <a:gd name="connsiteX1242" fmla="*/ 9854817 w 11951120"/>
              <a:gd name="connsiteY1242" fmla="*/ 469898 h 6757249"/>
              <a:gd name="connsiteX1243" fmla="*/ 9855648 w 11951120"/>
              <a:gd name="connsiteY1243" fmla="*/ 469767 h 6757249"/>
              <a:gd name="connsiteX1244" fmla="*/ 9855648 w 11951120"/>
              <a:gd name="connsiteY1244" fmla="*/ 491792 h 6757249"/>
              <a:gd name="connsiteX1245" fmla="*/ 9857683 w 11951120"/>
              <a:gd name="connsiteY1245" fmla="*/ 492640 h 6757249"/>
              <a:gd name="connsiteX1246" fmla="*/ 9880411 w 11951120"/>
              <a:gd name="connsiteY1246" fmla="*/ 489390 h 6757249"/>
              <a:gd name="connsiteX1247" fmla="*/ 9917469 w 11951120"/>
              <a:gd name="connsiteY1247" fmla="*/ 435866 h 6757249"/>
              <a:gd name="connsiteX1248" fmla="*/ 9908829 w 11951120"/>
              <a:gd name="connsiteY1248" fmla="*/ 518989 h 6757249"/>
              <a:gd name="connsiteX1249" fmla="*/ 9907816 w 11951120"/>
              <a:gd name="connsiteY1249" fmla="*/ 518818 h 6757249"/>
              <a:gd name="connsiteX1250" fmla="*/ 9903588 w 11951120"/>
              <a:gd name="connsiteY1250" fmla="*/ 540191 h 6757249"/>
              <a:gd name="connsiteX1251" fmla="*/ 9903633 w 11951120"/>
              <a:gd name="connsiteY1251" fmla="*/ 540194 h 6757249"/>
              <a:gd name="connsiteX1252" fmla="*/ 9991665 w 11951120"/>
              <a:gd name="connsiteY1252" fmla="*/ 566520 h 6757249"/>
              <a:gd name="connsiteX1253" fmla="*/ 10022475 w 11951120"/>
              <a:gd name="connsiteY1253" fmla="*/ 601621 h 6757249"/>
              <a:gd name="connsiteX1254" fmla="*/ 10020207 w 11951120"/>
              <a:gd name="connsiteY1254" fmla="*/ 604030 h 6757249"/>
              <a:gd name="connsiteX1255" fmla="*/ 10022713 w 11951120"/>
              <a:gd name="connsiteY1255" fmla="*/ 603934 h 6757249"/>
              <a:gd name="connsiteX1256" fmla="*/ 10077922 w 11951120"/>
              <a:gd name="connsiteY1256" fmla="*/ 572396 h 6757249"/>
              <a:gd name="connsiteX1257" fmla="*/ 10093294 w 11951120"/>
              <a:gd name="connsiteY1257" fmla="*/ 586344 h 6757249"/>
              <a:gd name="connsiteX1258" fmla="*/ 10027124 w 11951120"/>
              <a:gd name="connsiteY1258" fmla="*/ 691882 h 6757249"/>
              <a:gd name="connsiteX1259" fmla="*/ 10026908 w 11951120"/>
              <a:gd name="connsiteY1259" fmla="*/ 691750 h 6757249"/>
              <a:gd name="connsiteX1260" fmla="*/ 10026908 w 11951120"/>
              <a:gd name="connsiteY1260" fmla="*/ 707681 h 6757249"/>
              <a:gd name="connsiteX1261" fmla="*/ 10027298 w 11951120"/>
              <a:gd name="connsiteY1261" fmla="*/ 708270 h 6757249"/>
              <a:gd name="connsiteX1262" fmla="*/ 10081084 w 11951120"/>
              <a:gd name="connsiteY1262" fmla="*/ 699035 h 6757249"/>
              <a:gd name="connsiteX1263" fmla="*/ 10215941 w 11951120"/>
              <a:gd name="connsiteY1263" fmla="*/ 616257 h 6757249"/>
              <a:gd name="connsiteX1264" fmla="*/ 10218318 w 11951120"/>
              <a:gd name="connsiteY1264" fmla="*/ 616715 h 6757249"/>
              <a:gd name="connsiteX1265" fmla="*/ 10216289 w 11951120"/>
              <a:gd name="connsiteY1265" fmla="*/ 614892 h 6757249"/>
              <a:gd name="connsiteX1266" fmla="*/ 10264411 w 11951120"/>
              <a:gd name="connsiteY1266" fmla="*/ 540439 h 6757249"/>
              <a:gd name="connsiteX1267" fmla="*/ 10264559 w 11951120"/>
              <a:gd name="connsiteY1267" fmla="*/ 540534 h 6757249"/>
              <a:gd name="connsiteX1268" fmla="*/ 10276465 w 11951120"/>
              <a:gd name="connsiteY1268" fmla="*/ 512994 h 6757249"/>
              <a:gd name="connsiteX1269" fmla="*/ 10336951 w 11951120"/>
              <a:gd name="connsiteY1269" fmla="*/ 518559 h 6757249"/>
              <a:gd name="connsiteX1270" fmla="*/ 10336921 w 11951120"/>
              <a:gd name="connsiteY1270" fmla="*/ 518664 h 6757249"/>
              <a:gd name="connsiteX1271" fmla="*/ 10337743 w 11951120"/>
              <a:gd name="connsiteY1271" fmla="*/ 518022 h 6757249"/>
              <a:gd name="connsiteX1272" fmla="*/ 10381439 w 11951120"/>
              <a:gd name="connsiteY1272" fmla="*/ 513626 h 6757249"/>
              <a:gd name="connsiteX1273" fmla="*/ 10382938 w 11951120"/>
              <a:gd name="connsiteY1273" fmla="*/ 514703 h 6757249"/>
              <a:gd name="connsiteX1274" fmla="*/ 10400459 w 11951120"/>
              <a:gd name="connsiteY1274" fmla="*/ 464043 h 6757249"/>
              <a:gd name="connsiteX1275" fmla="*/ 10434679 w 11951120"/>
              <a:gd name="connsiteY1275" fmla="*/ 418829 h 6757249"/>
              <a:gd name="connsiteX1276" fmla="*/ 10433477 w 11951120"/>
              <a:gd name="connsiteY1276" fmla="*/ 417751 h 6757249"/>
              <a:gd name="connsiteX1277" fmla="*/ 10481543 w 11951120"/>
              <a:gd name="connsiteY1277" fmla="*/ 368833 h 6757249"/>
              <a:gd name="connsiteX1278" fmla="*/ 10541079 w 11951120"/>
              <a:gd name="connsiteY1278" fmla="*/ 432204 h 6757249"/>
              <a:gd name="connsiteX1279" fmla="*/ 10551359 w 11951120"/>
              <a:gd name="connsiteY1279" fmla="*/ 514806 h 6757249"/>
              <a:gd name="connsiteX1280" fmla="*/ 10552289 w 11951120"/>
              <a:gd name="connsiteY1280" fmla="*/ 514997 h 6757249"/>
              <a:gd name="connsiteX1281" fmla="*/ 10578363 w 11951120"/>
              <a:gd name="connsiteY1281" fmla="*/ 550416 h 6757249"/>
              <a:gd name="connsiteX1282" fmla="*/ 10578589 w 11951120"/>
              <a:gd name="connsiteY1282" fmla="*/ 550552 h 6757249"/>
              <a:gd name="connsiteX1283" fmla="*/ 10578270 w 11951120"/>
              <a:gd name="connsiteY1283" fmla="*/ 549927 h 6757249"/>
              <a:gd name="connsiteX1284" fmla="*/ 10604897 w 11951120"/>
              <a:gd name="connsiteY1284" fmla="*/ 519607 h 6757249"/>
              <a:gd name="connsiteX1285" fmla="*/ 10605215 w 11951120"/>
              <a:gd name="connsiteY1285" fmla="*/ 519614 h 6757249"/>
              <a:gd name="connsiteX1286" fmla="*/ 10622852 w 11951120"/>
              <a:gd name="connsiteY1286" fmla="*/ 483696 h 6757249"/>
              <a:gd name="connsiteX1287" fmla="*/ 10722727 w 11951120"/>
              <a:gd name="connsiteY1287" fmla="*/ 445598 h 6757249"/>
              <a:gd name="connsiteX1288" fmla="*/ 10744513 w 11951120"/>
              <a:gd name="connsiteY1288" fmla="*/ 471815 h 6757249"/>
              <a:gd name="connsiteX1289" fmla="*/ 10727084 w 11951120"/>
              <a:gd name="connsiteY1289" fmla="*/ 537360 h 6757249"/>
              <a:gd name="connsiteX1290" fmla="*/ 10722727 w 11951120"/>
              <a:gd name="connsiteY1290" fmla="*/ 541730 h 6757249"/>
              <a:gd name="connsiteX1291" fmla="*/ 10718749 w 11951120"/>
              <a:gd name="connsiteY1291" fmla="*/ 545719 h 6757249"/>
              <a:gd name="connsiteX1292" fmla="*/ 10718827 w 11951120"/>
              <a:gd name="connsiteY1292" fmla="*/ 548217 h 6757249"/>
              <a:gd name="connsiteX1293" fmla="*/ 10729219 w 11951120"/>
              <a:gd name="connsiteY1293" fmla="*/ 537757 h 6757249"/>
              <a:gd name="connsiteX1294" fmla="*/ 10774007 w 11951120"/>
              <a:gd name="connsiteY1294" fmla="*/ 597672 h 6757249"/>
              <a:gd name="connsiteX1295" fmla="*/ 10772948 w 11951120"/>
              <a:gd name="connsiteY1295" fmla="*/ 671784 h 6757249"/>
              <a:gd name="connsiteX1296" fmla="*/ 10792778 w 11951120"/>
              <a:gd name="connsiteY1296" fmla="*/ 663781 h 6757249"/>
              <a:gd name="connsiteX1297" fmla="*/ 10793984 w 11951120"/>
              <a:gd name="connsiteY1297" fmla="*/ 664757 h 6757249"/>
              <a:gd name="connsiteX1298" fmla="*/ 10824261 w 11951120"/>
              <a:gd name="connsiteY1298" fmla="*/ 630914 h 6757249"/>
              <a:gd name="connsiteX1299" fmla="*/ 10868374 w 11951120"/>
              <a:gd name="connsiteY1299" fmla="*/ 612835 h 6757249"/>
              <a:gd name="connsiteX1300" fmla="*/ 10884632 w 11951120"/>
              <a:gd name="connsiteY1300" fmla="*/ 637064 h 6757249"/>
              <a:gd name="connsiteX1301" fmla="*/ 10885256 w 11951120"/>
              <a:gd name="connsiteY1301" fmla="*/ 636573 h 6757249"/>
              <a:gd name="connsiteX1302" fmla="*/ 10867855 w 11951120"/>
              <a:gd name="connsiteY1302" fmla="*/ 610718 h 6757249"/>
              <a:gd name="connsiteX1303" fmla="*/ 10942933 w 11951120"/>
              <a:gd name="connsiteY1303" fmla="*/ 610718 h 6757249"/>
              <a:gd name="connsiteX1304" fmla="*/ 10939909 w 11951120"/>
              <a:gd name="connsiteY1304" fmla="*/ 613257 h 6757249"/>
              <a:gd name="connsiteX1305" fmla="*/ 10942788 w 11951120"/>
              <a:gd name="connsiteY1305" fmla="*/ 612835 h 6757249"/>
              <a:gd name="connsiteX1306" fmla="*/ 10983755 w 11951120"/>
              <a:gd name="connsiteY1306" fmla="*/ 742644 h 6757249"/>
              <a:gd name="connsiteX1307" fmla="*/ 11032943 w 11951120"/>
              <a:gd name="connsiteY1307" fmla="*/ 761835 h 6757249"/>
              <a:gd name="connsiteX1308" fmla="*/ 11035232 w 11951120"/>
              <a:gd name="connsiteY1308" fmla="*/ 760310 h 6757249"/>
              <a:gd name="connsiteX1309" fmla="*/ 11086886 w 11951120"/>
              <a:gd name="connsiteY1309" fmla="*/ 797100 h 6757249"/>
              <a:gd name="connsiteX1310" fmla="*/ 11109136 w 11951120"/>
              <a:gd name="connsiteY1310" fmla="*/ 856838 h 6757249"/>
              <a:gd name="connsiteX1311" fmla="*/ 11156674 w 11951120"/>
              <a:gd name="connsiteY1311" fmla="*/ 856838 h 6757249"/>
              <a:gd name="connsiteX1312" fmla="*/ 11156674 w 11951120"/>
              <a:gd name="connsiteY1312" fmla="*/ 808574 h 6757249"/>
              <a:gd name="connsiteX1313" fmla="*/ 11157907 w 11951120"/>
              <a:gd name="connsiteY1313" fmla="*/ 810748 h 6757249"/>
              <a:gd name="connsiteX1314" fmla="*/ 11157440 w 11951120"/>
              <a:gd name="connsiteY1314" fmla="*/ 809702 h 6757249"/>
              <a:gd name="connsiteX1315" fmla="*/ 11172524 w 11951120"/>
              <a:gd name="connsiteY1315" fmla="*/ 787827 h 6757249"/>
              <a:gd name="connsiteX1316" fmla="*/ 11197248 w 11951120"/>
              <a:gd name="connsiteY1316" fmla="*/ 779222 h 6757249"/>
              <a:gd name="connsiteX1317" fmla="*/ 11197248 w 11951120"/>
              <a:gd name="connsiteY1317" fmla="*/ 761997 h 6757249"/>
              <a:gd name="connsiteX1318" fmla="*/ 11198123 w 11951120"/>
              <a:gd name="connsiteY1318" fmla="*/ 762019 h 6757249"/>
              <a:gd name="connsiteX1319" fmla="*/ 11196601 w 11951120"/>
              <a:gd name="connsiteY1319" fmla="*/ 761039 h 6757249"/>
              <a:gd name="connsiteX1320" fmla="*/ 11178891 w 11951120"/>
              <a:gd name="connsiteY1320" fmla="*/ 739102 h 6757249"/>
              <a:gd name="connsiteX1321" fmla="*/ 11179335 w 11951120"/>
              <a:gd name="connsiteY1321" fmla="*/ 738786 h 6757249"/>
              <a:gd name="connsiteX1322" fmla="*/ 11178891 w 11951120"/>
              <a:gd name="connsiteY1322" fmla="*/ 738859 h 6757249"/>
              <a:gd name="connsiteX1323" fmla="*/ 11248606 w 11951120"/>
              <a:gd name="connsiteY1323" fmla="*/ 687019 h 6757249"/>
              <a:gd name="connsiteX1324" fmla="*/ 11248537 w 11951120"/>
              <a:gd name="connsiteY1324" fmla="*/ 687379 h 6757249"/>
              <a:gd name="connsiteX1325" fmla="*/ 11249729 w 11951120"/>
              <a:gd name="connsiteY1325" fmla="*/ 686450 h 6757249"/>
              <a:gd name="connsiteX1326" fmla="*/ 11250753 w 11951120"/>
              <a:gd name="connsiteY1326" fmla="*/ 686029 h 6757249"/>
              <a:gd name="connsiteX1327" fmla="*/ 11248606 w 11951120"/>
              <a:gd name="connsiteY1327" fmla="*/ 685066 h 6757249"/>
              <a:gd name="connsiteX1328" fmla="*/ 11323268 w 11951120"/>
              <a:gd name="connsiteY1328" fmla="*/ 588758 h 6757249"/>
              <a:gd name="connsiteX1329" fmla="*/ 11380363 w 11951120"/>
              <a:gd name="connsiteY1329" fmla="*/ 553735 h 6757249"/>
              <a:gd name="connsiteX1330" fmla="*/ 11464906 w 11951120"/>
              <a:gd name="connsiteY1330" fmla="*/ 530205 h 6757249"/>
              <a:gd name="connsiteX1331" fmla="*/ 11490158 w 11951120"/>
              <a:gd name="connsiteY1331" fmla="*/ 615024 h 6757249"/>
              <a:gd name="connsiteX1332" fmla="*/ 11487380 w 11951120"/>
              <a:gd name="connsiteY1332" fmla="*/ 615946 h 6757249"/>
              <a:gd name="connsiteX1333" fmla="*/ 11491091 w 11951120"/>
              <a:gd name="connsiteY1333" fmla="*/ 615946 h 6757249"/>
              <a:gd name="connsiteX1334" fmla="*/ 11582459 w 11951120"/>
              <a:gd name="connsiteY1334" fmla="*/ 563177 h 6757249"/>
              <a:gd name="connsiteX1335" fmla="*/ 11582914 w 11951120"/>
              <a:gd name="connsiteY1335" fmla="*/ 563868 h 6757249"/>
              <a:gd name="connsiteX1336" fmla="*/ 11582670 w 11951120"/>
              <a:gd name="connsiteY1336" fmla="*/ 562412 h 6757249"/>
              <a:gd name="connsiteX1337" fmla="*/ 11613585 w 11951120"/>
              <a:gd name="connsiteY1337" fmla="*/ 562412 h 6757249"/>
              <a:gd name="connsiteX1338" fmla="*/ 11613923 w 11951120"/>
              <a:gd name="connsiteY1338" fmla="*/ 562422 h 6757249"/>
              <a:gd name="connsiteX1339" fmla="*/ 11648600 w 11951120"/>
              <a:gd name="connsiteY1339" fmla="*/ 543233 h 6757249"/>
              <a:gd name="connsiteX1340" fmla="*/ 11683930 w 11951120"/>
              <a:gd name="connsiteY1340" fmla="*/ 540439 h 6757249"/>
              <a:gd name="connsiteX1341" fmla="*/ 11688238 w 11951120"/>
              <a:gd name="connsiteY1341" fmla="*/ 562233 h 6757249"/>
              <a:gd name="connsiteX1342" fmla="*/ 11688662 w 11951120"/>
              <a:gd name="connsiteY1342" fmla="*/ 562412 h 6757249"/>
              <a:gd name="connsiteX1343" fmla="*/ 11688336 w 11951120"/>
              <a:gd name="connsiteY1343" fmla="*/ 562735 h 6757249"/>
              <a:gd name="connsiteX1344" fmla="*/ 11688347 w 11951120"/>
              <a:gd name="connsiteY1344" fmla="*/ 562784 h 6757249"/>
              <a:gd name="connsiteX1345" fmla="*/ 11688279 w 11951120"/>
              <a:gd name="connsiteY1345" fmla="*/ 562792 h 6757249"/>
              <a:gd name="connsiteX1346" fmla="*/ 11684246 w 11951120"/>
              <a:gd name="connsiteY1346" fmla="*/ 566805 h 6757249"/>
              <a:gd name="connsiteX1347" fmla="*/ 11684335 w 11951120"/>
              <a:gd name="connsiteY1347" fmla="*/ 567253 h 6757249"/>
              <a:gd name="connsiteX1348" fmla="*/ 11731767 w 11951120"/>
              <a:gd name="connsiteY1348" fmla="*/ 567253 h 6757249"/>
              <a:gd name="connsiteX1349" fmla="*/ 11732143 w 11951120"/>
              <a:gd name="connsiteY1349" fmla="*/ 567253 h 6757249"/>
              <a:gd name="connsiteX1350" fmla="*/ 11732040 w 11951120"/>
              <a:gd name="connsiteY1350" fmla="*/ 567695 h 6757249"/>
              <a:gd name="connsiteX1351" fmla="*/ 11772312 w 11951120"/>
              <a:gd name="connsiteY1351" fmla="*/ 632875 h 6757249"/>
              <a:gd name="connsiteX1352" fmla="*/ 11757715 w 11951120"/>
              <a:gd name="connsiteY1352" fmla="*/ 711621 h 6757249"/>
              <a:gd name="connsiteX1353" fmla="*/ 11754270 w 11951120"/>
              <a:gd name="connsiteY1353" fmla="*/ 713395 h 6757249"/>
              <a:gd name="connsiteX1354" fmla="*/ 11758957 w 11951120"/>
              <a:gd name="connsiteY1354" fmla="*/ 713679 h 6757249"/>
              <a:gd name="connsiteX1355" fmla="*/ 11732143 w 11951120"/>
              <a:gd name="connsiteY1355" fmla="*/ 808576 h 6757249"/>
              <a:gd name="connsiteX1356" fmla="*/ 11729436 w 11951120"/>
              <a:gd name="connsiteY1356" fmla="*/ 808576 h 6757249"/>
              <a:gd name="connsiteX1357" fmla="*/ 11730927 w 11951120"/>
              <a:gd name="connsiteY1357" fmla="*/ 809352 h 6757249"/>
              <a:gd name="connsiteX1358" fmla="*/ 11752913 w 11951120"/>
              <a:gd name="connsiteY1358" fmla="*/ 831410 h 6757249"/>
              <a:gd name="connsiteX1359" fmla="*/ 11752331 w 11951120"/>
              <a:gd name="connsiteY1359" fmla="*/ 834144 h 6757249"/>
              <a:gd name="connsiteX1360" fmla="*/ 11754406 w 11951120"/>
              <a:gd name="connsiteY1360" fmla="*/ 831825 h 6757249"/>
              <a:gd name="connsiteX1361" fmla="*/ 11780732 w 11951120"/>
              <a:gd name="connsiteY1361" fmla="*/ 805598 h 6757249"/>
              <a:gd name="connsiteX1362" fmla="*/ 11782909 w 11951120"/>
              <a:gd name="connsiteY1362" fmla="*/ 805564 h 6757249"/>
              <a:gd name="connsiteX1363" fmla="*/ 11779514 w 11951120"/>
              <a:gd name="connsiteY1363" fmla="*/ 803699 h 6757249"/>
              <a:gd name="connsiteX1364" fmla="*/ 11792585 w 11951120"/>
              <a:gd name="connsiteY1364" fmla="*/ 751047 h 6757249"/>
              <a:gd name="connsiteX1365" fmla="*/ 11849229 w 11951120"/>
              <a:gd name="connsiteY1365" fmla="*/ 781760 h 6757249"/>
              <a:gd name="connsiteX1366" fmla="*/ 11848200 w 11951120"/>
              <a:gd name="connsiteY1366" fmla="*/ 784041 h 6757249"/>
              <a:gd name="connsiteX1367" fmla="*/ 11850234 w 11951120"/>
              <a:gd name="connsiteY1367" fmla="*/ 782311 h 6757249"/>
              <a:gd name="connsiteX1368" fmla="*/ 11854590 w 11951120"/>
              <a:gd name="connsiteY1368" fmla="*/ 760310 h 6757249"/>
              <a:gd name="connsiteX1369" fmla="*/ 11855980 w 11951120"/>
              <a:gd name="connsiteY1369" fmla="*/ 762961 h 6757249"/>
              <a:gd name="connsiteX1370" fmla="*/ 11855867 w 11951120"/>
              <a:gd name="connsiteY1370" fmla="*/ 761179 h 6757249"/>
              <a:gd name="connsiteX1371" fmla="*/ 11877573 w 11951120"/>
              <a:gd name="connsiteY1371" fmla="*/ 704654 h 6757249"/>
              <a:gd name="connsiteX1372" fmla="*/ 11925327 w 11951120"/>
              <a:gd name="connsiteY1372" fmla="*/ 756830 h 6757249"/>
              <a:gd name="connsiteX1373" fmla="*/ 11925004 w 11951120"/>
              <a:gd name="connsiteY1373" fmla="*/ 759004 h 6757249"/>
              <a:gd name="connsiteX1374" fmla="*/ 11948328 w 11951120"/>
              <a:gd name="connsiteY1374" fmla="*/ 805007 h 6757249"/>
              <a:gd name="connsiteX1375" fmla="*/ 11943790 w 11951120"/>
              <a:gd name="connsiteY1375" fmla="*/ 822907 h 6757249"/>
              <a:gd name="connsiteX1376" fmla="*/ 11904131 w 11951120"/>
              <a:gd name="connsiteY1376" fmla="*/ 829656 h 6757249"/>
              <a:gd name="connsiteX1377" fmla="*/ 11903621 w 11951120"/>
              <a:gd name="connsiteY1377" fmla="*/ 830749 h 6757249"/>
              <a:gd name="connsiteX1378" fmla="*/ 11881913 w 11951120"/>
              <a:gd name="connsiteY1378" fmla="*/ 856838 h 6757249"/>
              <a:gd name="connsiteX1379" fmla="*/ 11880645 w 11951120"/>
              <a:gd name="connsiteY1379" fmla="*/ 854357 h 6757249"/>
              <a:gd name="connsiteX1380" fmla="*/ 11880735 w 11951120"/>
              <a:gd name="connsiteY1380" fmla="*/ 857113 h 6757249"/>
              <a:gd name="connsiteX1381" fmla="*/ 11876389 w 11951120"/>
              <a:gd name="connsiteY1381" fmla="*/ 927330 h 6757249"/>
              <a:gd name="connsiteX1382" fmla="*/ 11876414 w 11951120"/>
              <a:gd name="connsiteY1382" fmla="*/ 927342 h 6757249"/>
              <a:gd name="connsiteX1383" fmla="*/ 11951120 w 11951120"/>
              <a:gd name="connsiteY1383" fmla="*/ 953841 h 6757249"/>
              <a:gd name="connsiteX1384" fmla="*/ 11854441 w 11951120"/>
              <a:gd name="connsiteY1384" fmla="*/ 1143743 h 6757249"/>
              <a:gd name="connsiteX1385" fmla="*/ 11854088 w 11951120"/>
              <a:gd name="connsiteY1385" fmla="*/ 1143663 h 6757249"/>
              <a:gd name="connsiteX1386" fmla="*/ 11828486 w 11951120"/>
              <a:gd name="connsiteY1386" fmla="*/ 1217111 h 6757249"/>
              <a:gd name="connsiteX1387" fmla="*/ 11827146 w 11951120"/>
              <a:gd name="connsiteY1387" fmla="*/ 1216638 h 6757249"/>
              <a:gd name="connsiteX1388" fmla="*/ 11827776 w 11951120"/>
              <a:gd name="connsiteY1388" fmla="*/ 1217525 h 6757249"/>
              <a:gd name="connsiteX1389" fmla="*/ 11805900 w 11951120"/>
              <a:gd name="connsiteY1389" fmla="*/ 1288336 h 6757249"/>
              <a:gd name="connsiteX1390" fmla="*/ 11806326 w 11951120"/>
              <a:gd name="connsiteY1390" fmla="*/ 1288723 h 6757249"/>
              <a:gd name="connsiteX1391" fmla="*/ 11640753 w 11951120"/>
              <a:gd name="connsiteY1391" fmla="*/ 1555953 h 6757249"/>
              <a:gd name="connsiteX1392" fmla="*/ 11639711 w 11951120"/>
              <a:gd name="connsiteY1392" fmla="*/ 1556496 h 6757249"/>
              <a:gd name="connsiteX1393" fmla="*/ 11640084 w 11951120"/>
              <a:gd name="connsiteY1393" fmla="*/ 1556496 h 6757249"/>
              <a:gd name="connsiteX1394" fmla="*/ 11592283 w 11951120"/>
              <a:gd name="connsiteY1394" fmla="*/ 1680012 h 6757249"/>
              <a:gd name="connsiteX1395" fmla="*/ 11590715 w 11951120"/>
              <a:gd name="connsiteY1395" fmla="*/ 1680012 h 6757249"/>
              <a:gd name="connsiteX1396" fmla="*/ 11590985 w 11951120"/>
              <a:gd name="connsiteY1396" fmla="*/ 1708877 h 6757249"/>
              <a:gd name="connsiteX1397" fmla="*/ 11647805 w 11951120"/>
              <a:gd name="connsiteY1397" fmla="*/ 1710109 h 6757249"/>
              <a:gd name="connsiteX1398" fmla="*/ 11731250 w 11951120"/>
              <a:gd name="connsiteY1398" fmla="*/ 1749508 h 6757249"/>
              <a:gd name="connsiteX1399" fmla="*/ 11682940 w 11951120"/>
              <a:gd name="connsiteY1399" fmla="*/ 1867707 h 6757249"/>
              <a:gd name="connsiteX1400" fmla="*/ 11682908 w 11951120"/>
              <a:gd name="connsiteY1400" fmla="*/ 1867686 h 6757249"/>
              <a:gd name="connsiteX1401" fmla="*/ 11639535 w 11951120"/>
              <a:gd name="connsiteY1401" fmla="*/ 1915936 h 6757249"/>
              <a:gd name="connsiteX1402" fmla="*/ 11640084 w 11951120"/>
              <a:gd name="connsiteY1402" fmla="*/ 1916624 h 6757249"/>
              <a:gd name="connsiteX1403" fmla="*/ 11635671 w 11951120"/>
              <a:gd name="connsiteY1403" fmla="*/ 1964822 h 6757249"/>
              <a:gd name="connsiteX1404" fmla="*/ 11635578 w 11951120"/>
              <a:gd name="connsiteY1404" fmla="*/ 1965107 h 6757249"/>
              <a:gd name="connsiteX1405" fmla="*/ 11655046 w 11951120"/>
              <a:gd name="connsiteY1405" fmla="*/ 2018326 h 6757249"/>
              <a:gd name="connsiteX1406" fmla="*/ 11565390 w 11951120"/>
              <a:gd name="connsiteY1406" fmla="*/ 2109027 h 6757249"/>
              <a:gd name="connsiteX1407" fmla="*/ 11565006 w 11951120"/>
              <a:gd name="connsiteY1407" fmla="*/ 2108562 h 6757249"/>
              <a:gd name="connsiteX1408" fmla="*/ 11565006 w 11951120"/>
              <a:gd name="connsiteY1408" fmla="*/ 2110535 h 6757249"/>
              <a:gd name="connsiteX1409" fmla="*/ 11539266 w 11951120"/>
              <a:gd name="connsiteY1409" fmla="*/ 2133160 h 6757249"/>
              <a:gd name="connsiteX1410" fmla="*/ 11539029 w 11951120"/>
              <a:gd name="connsiteY1410" fmla="*/ 2132219 h 6757249"/>
              <a:gd name="connsiteX1411" fmla="*/ 11538789 w 11951120"/>
              <a:gd name="connsiteY1411" fmla="*/ 2132861 h 6757249"/>
              <a:gd name="connsiteX1412" fmla="*/ 11538789 w 11951120"/>
              <a:gd name="connsiteY1412" fmla="*/ 2158073 h 6757249"/>
              <a:gd name="connsiteX1413" fmla="*/ 11538862 w 11951120"/>
              <a:gd name="connsiteY1413" fmla="*/ 2158095 h 6757249"/>
              <a:gd name="connsiteX1414" fmla="*/ 11565005 w 11951120"/>
              <a:gd name="connsiteY1414" fmla="*/ 2277549 h 6757249"/>
              <a:gd name="connsiteX1415" fmla="*/ 11495290 w 11951120"/>
              <a:gd name="connsiteY1415" fmla="*/ 2326215 h 6757249"/>
              <a:gd name="connsiteX1416" fmla="*/ 11495916 w 11951120"/>
              <a:gd name="connsiteY1416" fmla="*/ 2323418 h 6757249"/>
              <a:gd name="connsiteX1417" fmla="*/ 11494423 w 11951120"/>
              <a:gd name="connsiteY1417" fmla="*/ 2325727 h 6757249"/>
              <a:gd name="connsiteX1418" fmla="*/ 11446277 w 11951120"/>
              <a:gd name="connsiteY1418" fmla="*/ 2373991 h 6757249"/>
              <a:gd name="connsiteX1419" fmla="*/ 11424393 w 11951120"/>
              <a:gd name="connsiteY1419" fmla="*/ 2400318 h 6757249"/>
              <a:gd name="connsiteX1420" fmla="*/ 11418907 w 11951120"/>
              <a:gd name="connsiteY1420" fmla="*/ 2403679 h 6757249"/>
              <a:gd name="connsiteX1421" fmla="*/ 11427163 w 11951120"/>
              <a:gd name="connsiteY1421" fmla="*/ 2400047 h 6757249"/>
              <a:gd name="connsiteX1422" fmla="*/ 11464906 w 11951120"/>
              <a:gd name="connsiteY1422" fmla="*/ 2397105 h 6757249"/>
              <a:gd name="connsiteX1423" fmla="*/ 11490158 w 11951120"/>
              <a:gd name="connsiteY1423" fmla="*/ 2481924 h 6757249"/>
              <a:gd name="connsiteX1424" fmla="*/ 11487380 w 11951120"/>
              <a:gd name="connsiteY1424" fmla="*/ 2482846 h 6757249"/>
              <a:gd name="connsiteX1425" fmla="*/ 11491091 w 11951120"/>
              <a:gd name="connsiteY1425" fmla="*/ 2482846 h 6757249"/>
              <a:gd name="connsiteX1426" fmla="*/ 11582459 w 11951120"/>
              <a:gd name="connsiteY1426" fmla="*/ 2430077 h 6757249"/>
              <a:gd name="connsiteX1427" fmla="*/ 11582914 w 11951120"/>
              <a:gd name="connsiteY1427" fmla="*/ 2430768 h 6757249"/>
              <a:gd name="connsiteX1428" fmla="*/ 11582670 w 11951120"/>
              <a:gd name="connsiteY1428" fmla="*/ 2429312 h 6757249"/>
              <a:gd name="connsiteX1429" fmla="*/ 11613585 w 11951120"/>
              <a:gd name="connsiteY1429" fmla="*/ 2429312 h 6757249"/>
              <a:gd name="connsiteX1430" fmla="*/ 11613923 w 11951120"/>
              <a:gd name="connsiteY1430" fmla="*/ 2429322 h 6757249"/>
              <a:gd name="connsiteX1431" fmla="*/ 11648600 w 11951120"/>
              <a:gd name="connsiteY1431" fmla="*/ 2410133 h 6757249"/>
              <a:gd name="connsiteX1432" fmla="*/ 11683930 w 11951120"/>
              <a:gd name="connsiteY1432" fmla="*/ 2407339 h 6757249"/>
              <a:gd name="connsiteX1433" fmla="*/ 11688238 w 11951120"/>
              <a:gd name="connsiteY1433" fmla="*/ 2429133 h 6757249"/>
              <a:gd name="connsiteX1434" fmla="*/ 11688662 w 11951120"/>
              <a:gd name="connsiteY1434" fmla="*/ 2429312 h 6757249"/>
              <a:gd name="connsiteX1435" fmla="*/ 11688336 w 11951120"/>
              <a:gd name="connsiteY1435" fmla="*/ 2429635 h 6757249"/>
              <a:gd name="connsiteX1436" fmla="*/ 11688347 w 11951120"/>
              <a:gd name="connsiteY1436" fmla="*/ 2429684 h 6757249"/>
              <a:gd name="connsiteX1437" fmla="*/ 11688279 w 11951120"/>
              <a:gd name="connsiteY1437" fmla="*/ 2429692 h 6757249"/>
              <a:gd name="connsiteX1438" fmla="*/ 11684246 w 11951120"/>
              <a:gd name="connsiteY1438" fmla="*/ 2433705 h 6757249"/>
              <a:gd name="connsiteX1439" fmla="*/ 11684335 w 11951120"/>
              <a:gd name="connsiteY1439" fmla="*/ 2434153 h 6757249"/>
              <a:gd name="connsiteX1440" fmla="*/ 11731767 w 11951120"/>
              <a:gd name="connsiteY1440" fmla="*/ 2434153 h 6757249"/>
              <a:gd name="connsiteX1441" fmla="*/ 11732143 w 11951120"/>
              <a:gd name="connsiteY1441" fmla="*/ 2434153 h 6757249"/>
              <a:gd name="connsiteX1442" fmla="*/ 11732040 w 11951120"/>
              <a:gd name="connsiteY1442" fmla="*/ 2434595 h 6757249"/>
              <a:gd name="connsiteX1443" fmla="*/ 11772312 w 11951120"/>
              <a:gd name="connsiteY1443" fmla="*/ 2499775 h 6757249"/>
              <a:gd name="connsiteX1444" fmla="*/ 11757715 w 11951120"/>
              <a:gd name="connsiteY1444" fmla="*/ 2578521 h 6757249"/>
              <a:gd name="connsiteX1445" fmla="*/ 11754270 w 11951120"/>
              <a:gd name="connsiteY1445" fmla="*/ 2580295 h 6757249"/>
              <a:gd name="connsiteX1446" fmla="*/ 11758957 w 11951120"/>
              <a:gd name="connsiteY1446" fmla="*/ 2580579 h 6757249"/>
              <a:gd name="connsiteX1447" fmla="*/ 11732143 w 11951120"/>
              <a:gd name="connsiteY1447" fmla="*/ 2675476 h 6757249"/>
              <a:gd name="connsiteX1448" fmla="*/ 11729436 w 11951120"/>
              <a:gd name="connsiteY1448" fmla="*/ 2675476 h 6757249"/>
              <a:gd name="connsiteX1449" fmla="*/ 11730927 w 11951120"/>
              <a:gd name="connsiteY1449" fmla="*/ 2676252 h 6757249"/>
              <a:gd name="connsiteX1450" fmla="*/ 11752913 w 11951120"/>
              <a:gd name="connsiteY1450" fmla="*/ 2698310 h 6757249"/>
              <a:gd name="connsiteX1451" fmla="*/ 11752331 w 11951120"/>
              <a:gd name="connsiteY1451" fmla="*/ 2701044 h 6757249"/>
              <a:gd name="connsiteX1452" fmla="*/ 11754406 w 11951120"/>
              <a:gd name="connsiteY1452" fmla="*/ 2698725 h 6757249"/>
              <a:gd name="connsiteX1453" fmla="*/ 11780732 w 11951120"/>
              <a:gd name="connsiteY1453" fmla="*/ 2672498 h 6757249"/>
              <a:gd name="connsiteX1454" fmla="*/ 11782909 w 11951120"/>
              <a:gd name="connsiteY1454" fmla="*/ 2672464 h 6757249"/>
              <a:gd name="connsiteX1455" fmla="*/ 11779514 w 11951120"/>
              <a:gd name="connsiteY1455" fmla="*/ 2670599 h 6757249"/>
              <a:gd name="connsiteX1456" fmla="*/ 11792585 w 11951120"/>
              <a:gd name="connsiteY1456" fmla="*/ 2617947 h 6757249"/>
              <a:gd name="connsiteX1457" fmla="*/ 11849229 w 11951120"/>
              <a:gd name="connsiteY1457" fmla="*/ 2648660 h 6757249"/>
              <a:gd name="connsiteX1458" fmla="*/ 11848200 w 11951120"/>
              <a:gd name="connsiteY1458" fmla="*/ 2650941 h 6757249"/>
              <a:gd name="connsiteX1459" fmla="*/ 11850234 w 11951120"/>
              <a:gd name="connsiteY1459" fmla="*/ 2649211 h 6757249"/>
              <a:gd name="connsiteX1460" fmla="*/ 11854590 w 11951120"/>
              <a:gd name="connsiteY1460" fmla="*/ 2627210 h 6757249"/>
              <a:gd name="connsiteX1461" fmla="*/ 11855980 w 11951120"/>
              <a:gd name="connsiteY1461" fmla="*/ 2629861 h 6757249"/>
              <a:gd name="connsiteX1462" fmla="*/ 11855867 w 11951120"/>
              <a:gd name="connsiteY1462" fmla="*/ 2628079 h 6757249"/>
              <a:gd name="connsiteX1463" fmla="*/ 11877573 w 11951120"/>
              <a:gd name="connsiteY1463" fmla="*/ 2571554 h 6757249"/>
              <a:gd name="connsiteX1464" fmla="*/ 11925327 w 11951120"/>
              <a:gd name="connsiteY1464" fmla="*/ 2623730 h 6757249"/>
              <a:gd name="connsiteX1465" fmla="*/ 11925004 w 11951120"/>
              <a:gd name="connsiteY1465" fmla="*/ 2625904 h 6757249"/>
              <a:gd name="connsiteX1466" fmla="*/ 11948328 w 11951120"/>
              <a:gd name="connsiteY1466" fmla="*/ 2671907 h 6757249"/>
              <a:gd name="connsiteX1467" fmla="*/ 11943790 w 11951120"/>
              <a:gd name="connsiteY1467" fmla="*/ 2689807 h 6757249"/>
              <a:gd name="connsiteX1468" fmla="*/ 11904131 w 11951120"/>
              <a:gd name="connsiteY1468" fmla="*/ 2696556 h 6757249"/>
              <a:gd name="connsiteX1469" fmla="*/ 11903621 w 11951120"/>
              <a:gd name="connsiteY1469" fmla="*/ 2697649 h 6757249"/>
              <a:gd name="connsiteX1470" fmla="*/ 11881913 w 11951120"/>
              <a:gd name="connsiteY1470" fmla="*/ 2723738 h 6757249"/>
              <a:gd name="connsiteX1471" fmla="*/ 11880645 w 11951120"/>
              <a:gd name="connsiteY1471" fmla="*/ 2721257 h 6757249"/>
              <a:gd name="connsiteX1472" fmla="*/ 11880735 w 11951120"/>
              <a:gd name="connsiteY1472" fmla="*/ 2724013 h 6757249"/>
              <a:gd name="connsiteX1473" fmla="*/ 11876389 w 11951120"/>
              <a:gd name="connsiteY1473" fmla="*/ 2794230 h 6757249"/>
              <a:gd name="connsiteX1474" fmla="*/ 11876414 w 11951120"/>
              <a:gd name="connsiteY1474" fmla="*/ 2794242 h 6757249"/>
              <a:gd name="connsiteX1475" fmla="*/ 11951120 w 11951120"/>
              <a:gd name="connsiteY1475" fmla="*/ 2820741 h 6757249"/>
              <a:gd name="connsiteX1476" fmla="*/ 11854441 w 11951120"/>
              <a:gd name="connsiteY1476" fmla="*/ 3010643 h 6757249"/>
              <a:gd name="connsiteX1477" fmla="*/ 11854088 w 11951120"/>
              <a:gd name="connsiteY1477" fmla="*/ 3010563 h 6757249"/>
              <a:gd name="connsiteX1478" fmla="*/ 11828486 w 11951120"/>
              <a:gd name="connsiteY1478" fmla="*/ 3084011 h 6757249"/>
              <a:gd name="connsiteX1479" fmla="*/ 11827146 w 11951120"/>
              <a:gd name="connsiteY1479" fmla="*/ 3083538 h 6757249"/>
              <a:gd name="connsiteX1480" fmla="*/ 11827776 w 11951120"/>
              <a:gd name="connsiteY1480" fmla="*/ 3084425 h 6757249"/>
              <a:gd name="connsiteX1481" fmla="*/ 11805900 w 11951120"/>
              <a:gd name="connsiteY1481" fmla="*/ 3155236 h 6757249"/>
              <a:gd name="connsiteX1482" fmla="*/ 11806326 w 11951120"/>
              <a:gd name="connsiteY1482" fmla="*/ 3155623 h 6757249"/>
              <a:gd name="connsiteX1483" fmla="*/ 11640753 w 11951120"/>
              <a:gd name="connsiteY1483" fmla="*/ 3422852 h 6757249"/>
              <a:gd name="connsiteX1484" fmla="*/ 11639711 w 11951120"/>
              <a:gd name="connsiteY1484" fmla="*/ 3423396 h 6757249"/>
              <a:gd name="connsiteX1485" fmla="*/ 11640084 w 11951120"/>
              <a:gd name="connsiteY1485" fmla="*/ 3423396 h 6757249"/>
              <a:gd name="connsiteX1486" fmla="*/ 11592283 w 11951120"/>
              <a:gd name="connsiteY1486" fmla="*/ 3546912 h 6757249"/>
              <a:gd name="connsiteX1487" fmla="*/ 11590715 w 11951120"/>
              <a:gd name="connsiteY1487" fmla="*/ 3546912 h 6757249"/>
              <a:gd name="connsiteX1488" fmla="*/ 11590985 w 11951120"/>
              <a:gd name="connsiteY1488" fmla="*/ 3575777 h 6757249"/>
              <a:gd name="connsiteX1489" fmla="*/ 11647805 w 11951120"/>
              <a:gd name="connsiteY1489" fmla="*/ 3577009 h 6757249"/>
              <a:gd name="connsiteX1490" fmla="*/ 11731250 w 11951120"/>
              <a:gd name="connsiteY1490" fmla="*/ 3616407 h 6757249"/>
              <a:gd name="connsiteX1491" fmla="*/ 11682940 w 11951120"/>
              <a:gd name="connsiteY1491" fmla="*/ 3734606 h 6757249"/>
              <a:gd name="connsiteX1492" fmla="*/ 11682908 w 11951120"/>
              <a:gd name="connsiteY1492" fmla="*/ 3734586 h 6757249"/>
              <a:gd name="connsiteX1493" fmla="*/ 11639535 w 11951120"/>
              <a:gd name="connsiteY1493" fmla="*/ 3782836 h 6757249"/>
              <a:gd name="connsiteX1494" fmla="*/ 11640084 w 11951120"/>
              <a:gd name="connsiteY1494" fmla="*/ 3783524 h 6757249"/>
              <a:gd name="connsiteX1495" fmla="*/ 11635671 w 11951120"/>
              <a:gd name="connsiteY1495" fmla="*/ 3831722 h 6757249"/>
              <a:gd name="connsiteX1496" fmla="*/ 11635578 w 11951120"/>
              <a:gd name="connsiteY1496" fmla="*/ 3832006 h 6757249"/>
              <a:gd name="connsiteX1497" fmla="*/ 11655046 w 11951120"/>
              <a:gd name="connsiteY1497" fmla="*/ 3885226 h 6757249"/>
              <a:gd name="connsiteX1498" fmla="*/ 11565390 w 11951120"/>
              <a:gd name="connsiteY1498" fmla="*/ 3975927 h 6757249"/>
              <a:gd name="connsiteX1499" fmla="*/ 11565006 w 11951120"/>
              <a:gd name="connsiteY1499" fmla="*/ 3975462 h 6757249"/>
              <a:gd name="connsiteX1500" fmla="*/ 11565006 w 11951120"/>
              <a:gd name="connsiteY1500" fmla="*/ 3977435 h 6757249"/>
              <a:gd name="connsiteX1501" fmla="*/ 11554287 w 11951120"/>
              <a:gd name="connsiteY1501" fmla="*/ 3986857 h 6757249"/>
              <a:gd name="connsiteX1502" fmla="*/ 11563900 w 11951120"/>
              <a:gd name="connsiteY1502" fmla="*/ 3985607 h 6757249"/>
              <a:gd name="connsiteX1503" fmla="*/ 11582459 w 11951120"/>
              <a:gd name="connsiteY1503" fmla="*/ 3992177 h 6757249"/>
              <a:gd name="connsiteX1504" fmla="*/ 11582914 w 11951120"/>
              <a:gd name="connsiteY1504" fmla="*/ 3992868 h 6757249"/>
              <a:gd name="connsiteX1505" fmla="*/ 11582670 w 11951120"/>
              <a:gd name="connsiteY1505" fmla="*/ 3991412 h 6757249"/>
              <a:gd name="connsiteX1506" fmla="*/ 11613585 w 11951120"/>
              <a:gd name="connsiteY1506" fmla="*/ 3991412 h 6757249"/>
              <a:gd name="connsiteX1507" fmla="*/ 11613923 w 11951120"/>
              <a:gd name="connsiteY1507" fmla="*/ 3991422 h 6757249"/>
              <a:gd name="connsiteX1508" fmla="*/ 11648600 w 11951120"/>
              <a:gd name="connsiteY1508" fmla="*/ 3972233 h 6757249"/>
              <a:gd name="connsiteX1509" fmla="*/ 11683930 w 11951120"/>
              <a:gd name="connsiteY1509" fmla="*/ 3969439 h 6757249"/>
              <a:gd name="connsiteX1510" fmla="*/ 11688238 w 11951120"/>
              <a:gd name="connsiteY1510" fmla="*/ 3991233 h 6757249"/>
              <a:gd name="connsiteX1511" fmla="*/ 11688662 w 11951120"/>
              <a:gd name="connsiteY1511" fmla="*/ 3991412 h 6757249"/>
              <a:gd name="connsiteX1512" fmla="*/ 11688336 w 11951120"/>
              <a:gd name="connsiteY1512" fmla="*/ 3991735 h 6757249"/>
              <a:gd name="connsiteX1513" fmla="*/ 11688347 w 11951120"/>
              <a:gd name="connsiteY1513" fmla="*/ 3991784 h 6757249"/>
              <a:gd name="connsiteX1514" fmla="*/ 11688279 w 11951120"/>
              <a:gd name="connsiteY1514" fmla="*/ 3991792 h 6757249"/>
              <a:gd name="connsiteX1515" fmla="*/ 11684246 w 11951120"/>
              <a:gd name="connsiteY1515" fmla="*/ 3995805 h 6757249"/>
              <a:gd name="connsiteX1516" fmla="*/ 11684335 w 11951120"/>
              <a:gd name="connsiteY1516" fmla="*/ 3996253 h 6757249"/>
              <a:gd name="connsiteX1517" fmla="*/ 11731767 w 11951120"/>
              <a:gd name="connsiteY1517" fmla="*/ 3996253 h 6757249"/>
              <a:gd name="connsiteX1518" fmla="*/ 11732143 w 11951120"/>
              <a:gd name="connsiteY1518" fmla="*/ 3996253 h 6757249"/>
              <a:gd name="connsiteX1519" fmla="*/ 11732040 w 11951120"/>
              <a:gd name="connsiteY1519" fmla="*/ 3996695 h 6757249"/>
              <a:gd name="connsiteX1520" fmla="*/ 11772312 w 11951120"/>
              <a:gd name="connsiteY1520" fmla="*/ 4061875 h 6757249"/>
              <a:gd name="connsiteX1521" fmla="*/ 11757715 w 11951120"/>
              <a:gd name="connsiteY1521" fmla="*/ 4140621 h 6757249"/>
              <a:gd name="connsiteX1522" fmla="*/ 11754270 w 11951120"/>
              <a:gd name="connsiteY1522" fmla="*/ 4142395 h 6757249"/>
              <a:gd name="connsiteX1523" fmla="*/ 11758957 w 11951120"/>
              <a:gd name="connsiteY1523" fmla="*/ 4142679 h 6757249"/>
              <a:gd name="connsiteX1524" fmla="*/ 11732143 w 11951120"/>
              <a:gd name="connsiteY1524" fmla="*/ 4237576 h 6757249"/>
              <a:gd name="connsiteX1525" fmla="*/ 11729436 w 11951120"/>
              <a:gd name="connsiteY1525" fmla="*/ 4237576 h 6757249"/>
              <a:gd name="connsiteX1526" fmla="*/ 11730927 w 11951120"/>
              <a:gd name="connsiteY1526" fmla="*/ 4238352 h 6757249"/>
              <a:gd name="connsiteX1527" fmla="*/ 11752913 w 11951120"/>
              <a:gd name="connsiteY1527" fmla="*/ 4260410 h 6757249"/>
              <a:gd name="connsiteX1528" fmla="*/ 11752331 w 11951120"/>
              <a:gd name="connsiteY1528" fmla="*/ 4263144 h 6757249"/>
              <a:gd name="connsiteX1529" fmla="*/ 11754406 w 11951120"/>
              <a:gd name="connsiteY1529" fmla="*/ 4260825 h 6757249"/>
              <a:gd name="connsiteX1530" fmla="*/ 11780732 w 11951120"/>
              <a:gd name="connsiteY1530" fmla="*/ 4234598 h 6757249"/>
              <a:gd name="connsiteX1531" fmla="*/ 11782909 w 11951120"/>
              <a:gd name="connsiteY1531" fmla="*/ 4234564 h 6757249"/>
              <a:gd name="connsiteX1532" fmla="*/ 11779514 w 11951120"/>
              <a:gd name="connsiteY1532" fmla="*/ 4232699 h 6757249"/>
              <a:gd name="connsiteX1533" fmla="*/ 11792585 w 11951120"/>
              <a:gd name="connsiteY1533" fmla="*/ 4180047 h 6757249"/>
              <a:gd name="connsiteX1534" fmla="*/ 11849229 w 11951120"/>
              <a:gd name="connsiteY1534" fmla="*/ 4210760 h 6757249"/>
              <a:gd name="connsiteX1535" fmla="*/ 11848200 w 11951120"/>
              <a:gd name="connsiteY1535" fmla="*/ 4213041 h 6757249"/>
              <a:gd name="connsiteX1536" fmla="*/ 11850234 w 11951120"/>
              <a:gd name="connsiteY1536" fmla="*/ 4211311 h 6757249"/>
              <a:gd name="connsiteX1537" fmla="*/ 11854590 w 11951120"/>
              <a:gd name="connsiteY1537" fmla="*/ 4189310 h 6757249"/>
              <a:gd name="connsiteX1538" fmla="*/ 11855980 w 11951120"/>
              <a:gd name="connsiteY1538" fmla="*/ 4191961 h 6757249"/>
              <a:gd name="connsiteX1539" fmla="*/ 11855867 w 11951120"/>
              <a:gd name="connsiteY1539" fmla="*/ 4190179 h 6757249"/>
              <a:gd name="connsiteX1540" fmla="*/ 11877573 w 11951120"/>
              <a:gd name="connsiteY1540" fmla="*/ 4133654 h 6757249"/>
              <a:gd name="connsiteX1541" fmla="*/ 11925327 w 11951120"/>
              <a:gd name="connsiteY1541" fmla="*/ 4185830 h 6757249"/>
              <a:gd name="connsiteX1542" fmla="*/ 11925004 w 11951120"/>
              <a:gd name="connsiteY1542" fmla="*/ 4188004 h 6757249"/>
              <a:gd name="connsiteX1543" fmla="*/ 11948328 w 11951120"/>
              <a:gd name="connsiteY1543" fmla="*/ 4234007 h 6757249"/>
              <a:gd name="connsiteX1544" fmla="*/ 11943790 w 11951120"/>
              <a:gd name="connsiteY1544" fmla="*/ 4251907 h 6757249"/>
              <a:gd name="connsiteX1545" fmla="*/ 11904131 w 11951120"/>
              <a:gd name="connsiteY1545" fmla="*/ 4258656 h 6757249"/>
              <a:gd name="connsiteX1546" fmla="*/ 11903621 w 11951120"/>
              <a:gd name="connsiteY1546" fmla="*/ 4259749 h 6757249"/>
              <a:gd name="connsiteX1547" fmla="*/ 11881913 w 11951120"/>
              <a:gd name="connsiteY1547" fmla="*/ 4285838 h 6757249"/>
              <a:gd name="connsiteX1548" fmla="*/ 11880645 w 11951120"/>
              <a:gd name="connsiteY1548" fmla="*/ 4283357 h 6757249"/>
              <a:gd name="connsiteX1549" fmla="*/ 11880735 w 11951120"/>
              <a:gd name="connsiteY1549" fmla="*/ 4286113 h 6757249"/>
              <a:gd name="connsiteX1550" fmla="*/ 11876389 w 11951120"/>
              <a:gd name="connsiteY1550" fmla="*/ 4356330 h 6757249"/>
              <a:gd name="connsiteX1551" fmla="*/ 11876414 w 11951120"/>
              <a:gd name="connsiteY1551" fmla="*/ 4356342 h 6757249"/>
              <a:gd name="connsiteX1552" fmla="*/ 11951120 w 11951120"/>
              <a:gd name="connsiteY1552" fmla="*/ 4382841 h 6757249"/>
              <a:gd name="connsiteX1553" fmla="*/ 11854441 w 11951120"/>
              <a:gd name="connsiteY1553" fmla="*/ 4572743 h 6757249"/>
              <a:gd name="connsiteX1554" fmla="*/ 11854088 w 11951120"/>
              <a:gd name="connsiteY1554" fmla="*/ 4572663 h 6757249"/>
              <a:gd name="connsiteX1555" fmla="*/ 11828486 w 11951120"/>
              <a:gd name="connsiteY1555" fmla="*/ 4646111 h 6757249"/>
              <a:gd name="connsiteX1556" fmla="*/ 11827146 w 11951120"/>
              <a:gd name="connsiteY1556" fmla="*/ 4645638 h 6757249"/>
              <a:gd name="connsiteX1557" fmla="*/ 11827776 w 11951120"/>
              <a:gd name="connsiteY1557" fmla="*/ 4646525 h 6757249"/>
              <a:gd name="connsiteX1558" fmla="*/ 11805900 w 11951120"/>
              <a:gd name="connsiteY1558" fmla="*/ 4717336 h 6757249"/>
              <a:gd name="connsiteX1559" fmla="*/ 11806326 w 11951120"/>
              <a:gd name="connsiteY1559" fmla="*/ 4717723 h 6757249"/>
              <a:gd name="connsiteX1560" fmla="*/ 11640753 w 11951120"/>
              <a:gd name="connsiteY1560" fmla="*/ 4984952 h 6757249"/>
              <a:gd name="connsiteX1561" fmla="*/ 11639711 w 11951120"/>
              <a:gd name="connsiteY1561" fmla="*/ 4985496 h 6757249"/>
              <a:gd name="connsiteX1562" fmla="*/ 11640084 w 11951120"/>
              <a:gd name="connsiteY1562" fmla="*/ 4985496 h 6757249"/>
              <a:gd name="connsiteX1563" fmla="*/ 11592283 w 11951120"/>
              <a:gd name="connsiteY1563" fmla="*/ 5109012 h 6757249"/>
              <a:gd name="connsiteX1564" fmla="*/ 11590715 w 11951120"/>
              <a:gd name="connsiteY1564" fmla="*/ 5109012 h 6757249"/>
              <a:gd name="connsiteX1565" fmla="*/ 11590985 w 11951120"/>
              <a:gd name="connsiteY1565" fmla="*/ 5137877 h 6757249"/>
              <a:gd name="connsiteX1566" fmla="*/ 11647805 w 11951120"/>
              <a:gd name="connsiteY1566" fmla="*/ 5139109 h 6757249"/>
              <a:gd name="connsiteX1567" fmla="*/ 11731250 w 11951120"/>
              <a:gd name="connsiteY1567" fmla="*/ 5178507 h 6757249"/>
              <a:gd name="connsiteX1568" fmla="*/ 11682940 w 11951120"/>
              <a:gd name="connsiteY1568" fmla="*/ 5296706 h 6757249"/>
              <a:gd name="connsiteX1569" fmla="*/ 11682908 w 11951120"/>
              <a:gd name="connsiteY1569" fmla="*/ 5296686 h 6757249"/>
              <a:gd name="connsiteX1570" fmla="*/ 11639535 w 11951120"/>
              <a:gd name="connsiteY1570" fmla="*/ 5344936 h 6757249"/>
              <a:gd name="connsiteX1571" fmla="*/ 11640084 w 11951120"/>
              <a:gd name="connsiteY1571" fmla="*/ 5345624 h 6757249"/>
              <a:gd name="connsiteX1572" fmla="*/ 11635671 w 11951120"/>
              <a:gd name="connsiteY1572" fmla="*/ 5393822 h 6757249"/>
              <a:gd name="connsiteX1573" fmla="*/ 11635578 w 11951120"/>
              <a:gd name="connsiteY1573" fmla="*/ 5394106 h 6757249"/>
              <a:gd name="connsiteX1574" fmla="*/ 11655046 w 11951120"/>
              <a:gd name="connsiteY1574" fmla="*/ 5447326 h 6757249"/>
              <a:gd name="connsiteX1575" fmla="*/ 11565390 w 11951120"/>
              <a:gd name="connsiteY1575" fmla="*/ 5538027 h 6757249"/>
              <a:gd name="connsiteX1576" fmla="*/ 11565006 w 11951120"/>
              <a:gd name="connsiteY1576" fmla="*/ 5537562 h 6757249"/>
              <a:gd name="connsiteX1577" fmla="*/ 11565006 w 11951120"/>
              <a:gd name="connsiteY1577" fmla="*/ 5539535 h 6757249"/>
              <a:gd name="connsiteX1578" fmla="*/ 11539266 w 11951120"/>
              <a:gd name="connsiteY1578" fmla="*/ 5562160 h 6757249"/>
              <a:gd name="connsiteX1579" fmla="*/ 11539029 w 11951120"/>
              <a:gd name="connsiteY1579" fmla="*/ 5561219 h 6757249"/>
              <a:gd name="connsiteX1580" fmla="*/ 11538789 w 11951120"/>
              <a:gd name="connsiteY1580" fmla="*/ 5561861 h 6757249"/>
              <a:gd name="connsiteX1581" fmla="*/ 11538789 w 11951120"/>
              <a:gd name="connsiteY1581" fmla="*/ 5587073 h 6757249"/>
              <a:gd name="connsiteX1582" fmla="*/ 11538862 w 11951120"/>
              <a:gd name="connsiteY1582" fmla="*/ 5587095 h 6757249"/>
              <a:gd name="connsiteX1583" fmla="*/ 11565005 w 11951120"/>
              <a:gd name="connsiteY1583" fmla="*/ 5706549 h 6757249"/>
              <a:gd name="connsiteX1584" fmla="*/ 11495290 w 11951120"/>
              <a:gd name="connsiteY1584" fmla="*/ 5755215 h 6757249"/>
              <a:gd name="connsiteX1585" fmla="*/ 11495916 w 11951120"/>
              <a:gd name="connsiteY1585" fmla="*/ 5752418 h 6757249"/>
              <a:gd name="connsiteX1586" fmla="*/ 11494423 w 11951120"/>
              <a:gd name="connsiteY1586" fmla="*/ 5754727 h 6757249"/>
              <a:gd name="connsiteX1587" fmla="*/ 11446277 w 11951120"/>
              <a:gd name="connsiteY1587" fmla="*/ 5802991 h 6757249"/>
              <a:gd name="connsiteX1588" fmla="*/ 11424393 w 11951120"/>
              <a:gd name="connsiteY1588" fmla="*/ 5829318 h 6757249"/>
              <a:gd name="connsiteX1589" fmla="*/ 11345609 w 11951120"/>
              <a:gd name="connsiteY1589" fmla="*/ 5877582 h 6757249"/>
              <a:gd name="connsiteX1590" fmla="*/ 11344055 w 11951120"/>
              <a:gd name="connsiteY1590" fmla="*/ 5878981 h 6757249"/>
              <a:gd name="connsiteX1591" fmla="*/ 11345136 w 11951120"/>
              <a:gd name="connsiteY1591" fmla="*/ 5878557 h 6757249"/>
              <a:gd name="connsiteX1592" fmla="*/ 11323261 w 11951120"/>
              <a:gd name="connsiteY1592" fmla="*/ 5947199 h 6757249"/>
              <a:gd name="connsiteX1593" fmla="*/ 11321398 w 11951120"/>
              <a:gd name="connsiteY1593" fmla="*/ 5948483 h 6757249"/>
              <a:gd name="connsiteX1594" fmla="*/ 11323684 w 11951120"/>
              <a:gd name="connsiteY1594" fmla="*/ 5948272 h 6757249"/>
              <a:gd name="connsiteX1595" fmla="*/ 11323684 w 11951120"/>
              <a:gd name="connsiteY1595" fmla="*/ 5973831 h 6757249"/>
              <a:gd name="connsiteX1596" fmla="*/ 11324069 w 11951120"/>
              <a:gd name="connsiteY1596" fmla="*/ 5973905 h 6757249"/>
              <a:gd name="connsiteX1597" fmla="*/ 11350499 w 11951120"/>
              <a:gd name="connsiteY1597" fmla="*/ 5995892 h 6757249"/>
              <a:gd name="connsiteX1598" fmla="*/ 11271207 w 11951120"/>
              <a:gd name="connsiteY1598" fmla="*/ 6105827 h 6757249"/>
              <a:gd name="connsiteX1599" fmla="*/ 11178700 w 11951120"/>
              <a:gd name="connsiteY1599" fmla="*/ 6097032 h 6757249"/>
              <a:gd name="connsiteX1600" fmla="*/ 11178700 w 11951120"/>
              <a:gd name="connsiteY1600" fmla="*/ 6096539 h 6757249"/>
              <a:gd name="connsiteX1601" fmla="*/ 11111747 w 11951120"/>
              <a:gd name="connsiteY1601" fmla="*/ 6158971 h 6757249"/>
              <a:gd name="connsiteX1602" fmla="*/ 10859432 w 11951120"/>
              <a:gd name="connsiteY1602" fmla="*/ 6211099 h 6757249"/>
              <a:gd name="connsiteX1603" fmla="*/ 10723772 w 11951120"/>
              <a:gd name="connsiteY1603" fmla="*/ 6237578 h 6757249"/>
              <a:gd name="connsiteX1604" fmla="*/ 10724152 w 11951120"/>
              <a:gd name="connsiteY1604" fmla="*/ 6234315 h 6757249"/>
              <a:gd name="connsiteX1605" fmla="*/ 10723063 w 11951120"/>
              <a:gd name="connsiteY1605" fmla="*/ 6237857 h 6757249"/>
              <a:gd name="connsiteX1606" fmla="*/ 10650130 w 11951120"/>
              <a:gd name="connsiteY1606" fmla="*/ 6189927 h 6757249"/>
              <a:gd name="connsiteX1607" fmla="*/ 10693032 w 11951120"/>
              <a:gd name="connsiteY1607" fmla="*/ 6133284 h 6757249"/>
              <a:gd name="connsiteX1608" fmla="*/ 10708956 w 11951120"/>
              <a:gd name="connsiteY1608" fmla="*/ 6138108 h 6757249"/>
              <a:gd name="connsiteX1609" fmla="*/ 10742909 w 11951120"/>
              <a:gd name="connsiteY1609" fmla="*/ 6100682 h 6757249"/>
              <a:gd name="connsiteX1610" fmla="*/ 10793296 w 11951120"/>
              <a:gd name="connsiteY1610" fmla="*/ 6072080 h 6757249"/>
              <a:gd name="connsiteX1611" fmla="*/ 10793408 w 11951120"/>
              <a:gd name="connsiteY1611" fmla="*/ 6071701 h 6757249"/>
              <a:gd name="connsiteX1612" fmla="*/ 10793544 w 11951120"/>
              <a:gd name="connsiteY1612" fmla="*/ 6071452 h 6757249"/>
              <a:gd name="connsiteX1613" fmla="*/ 10793544 w 11951120"/>
              <a:gd name="connsiteY1613" fmla="*/ 6050156 h 6757249"/>
              <a:gd name="connsiteX1614" fmla="*/ 10723628 w 11951120"/>
              <a:gd name="connsiteY1614" fmla="*/ 6045797 h 6757249"/>
              <a:gd name="connsiteX1615" fmla="*/ 10706508 w 11951120"/>
              <a:gd name="connsiteY1615" fmla="*/ 6071923 h 6757249"/>
              <a:gd name="connsiteX1616" fmla="*/ 10654079 w 11951120"/>
              <a:gd name="connsiteY1616" fmla="*/ 6023015 h 6757249"/>
              <a:gd name="connsiteX1617" fmla="*/ 10653226 w 11951120"/>
              <a:gd name="connsiteY1617" fmla="*/ 6022591 h 6757249"/>
              <a:gd name="connsiteX1618" fmla="*/ 10627321 w 11951120"/>
              <a:gd name="connsiteY1618" fmla="*/ 6081078 h 6757249"/>
              <a:gd name="connsiteX1619" fmla="*/ 10578037 w 11951120"/>
              <a:gd name="connsiteY1619" fmla="*/ 6119880 h 6757249"/>
              <a:gd name="connsiteX1620" fmla="*/ 10556183 w 11951120"/>
              <a:gd name="connsiteY1620" fmla="*/ 6098003 h 6757249"/>
              <a:gd name="connsiteX1621" fmla="*/ 10524423 w 11951120"/>
              <a:gd name="connsiteY1621" fmla="*/ 6110217 h 6757249"/>
              <a:gd name="connsiteX1622" fmla="*/ 10420643 w 11951120"/>
              <a:gd name="connsiteY1622" fmla="*/ 6150044 h 6757249"/>
              <a:gd name="connsiteX1623" fmla="*/ 10359141 w 11951120"/>
              <a:gd name="connsiteY1623" fmla="*/ 6119543 h 6757249"/>
              <a:gd name="connsiteX1624" fmla="*/ 10358791 w 11951120"/>
              <a:gd name="connsiteY1624" fmla="*/ 6118851 h 6757249"/>
              <a:gd name="connsiteX1625" fmla="*/ 10331132 w 11951120"/>
              <a:gd name="connsiteY1625" fmla="*/ 6100192 h 6757249"/>
              <a:gd name="connsiteX1626" fmla="*/ 10311860 w 11951120"/>
              <a:gd name="connsiteY1626" fmla="*/ 6067381 h 6757249"/>
              <a:gd name="connsiteX1627" fmla="*/ 10311905 w 11951120"/>
              <a:gd name="connsiteY1627" fmla="*/ 6067266 h 6757249"/>
              <a:gd name="connsiteX1628" fmla="*/ 10264553 w 11951120"/>
              <a:gd name="connsiteY1628" fmla="*/ 6071614 h 6757249"/>
              <a:gd name="connsiteX1629" fmla="*/ 10264883 w 11951120"/>
              <a:gd name="connsiteY1629" fmla="*/ 6066293 h 6757249"/>
              <a:gd name="connsiteX1630" fmla="*/ 10264011 w 11951120"/>
              <a:gd name="connsiteY1630" fmla="*/ 6070639 h 6757249"/>
              <a:gd name="connsiteX1631" fmla="*/ 10264011 w 11951120"/>
              <a:gd name="connsiteY1631" fmla="*/ 6088190 h 6757249"/>
              <a:gd name="connsiteX1632" fmla="*/ 10261693 w 11951120"/>
              <a:gd name="connsiteY1632" fmla="*/ 6090435 h 6757249"/>
              <a:gd name="connsiteX1633" fmla="*/ 10272874 w 11951120"/>
              <a:gd name="connsiteY1633" fmla="*/ 6091906 h 6757249"/>
              <a:gd name="connsiteX1634" fmla="*/ 10281628 w 11951120"/>
              <a:gd name="connsiteY1634" fmla="*/ 6127131 h 6757249"/>
              <a:gd name="connsiteX1635" fmla="*/ 9988405 w 11951120"/>
              <a:gd name="connsiteY1635" fmla="*/ 6492584 h 6757249"/>
              <a:gd name="connsiteX1636" fmla="*/ 9953395 w 11951120"/>
              <a:gd name="connsiteY1636" fmla="*/ 6479376 h 6757249"/>
              <a:gd name="connsiteX1637" fmla="*/ 9931511 w 11951120"/>
              <a:gd name="connsiteY1637" fmla="*/ 6479376 h 6757249"/>
              <a:gd name="connsiteX1638" fmla="*/ 9930071 w 11951120"/>
              <a:gd name="connsiteY1638" fmla="*/ 6477927 h 6757249"/>
              <a:gd name="connsiteX1639" fmla="*/ 9929777 w 11951120"/>
              <a:gd name="connsiteY1639" fmla="*/ 6479178 h 6757249"/>
              <a:gd name="connsiteX1640" fmla="*/ 9883207 w 11951120"/>
              <a:gd name="connsiteY1640" fmla="*/ 6479178 h 6757249"/>
              <a:gd name="connsiteX1641" fmla="*/ 9883036 w 11951120"/>
              <a:gd name="connsiteY1641" fmla="*/ 6479715 h 6757249"/>
              <a:gd name="connsiteX1642" fmla="*/ 9785281 w 11951120"/>
              <a:gd name="connsiteY1642" fmla="*/ 6527750 h 6757249"/>
              <a:gd name="connsiteX1643" fmla="*/ 9785035 w 11951120"/>
              <a:gd name="connsiteY1643" fmla="*/ 6527142 h 6757249"/>
              <a:gd name="connsiteX1644" fmla="*/ 9734024 w 11951120"/>
              <a:gd name="connsiteY1644" fmla="*/ 6501137 h 6757249"/>
              <a:gd name="connsiteX1645" fmla="*/ 9733916 w 11951120"/>
              <a:gd name="connsiteY1645" fmla="*/ 6501794 h 6757249"/>
              <a:gd name="connsiteX1646" fmla="*/ 9690121 w 11951120"/>
              <a:gd name="connsiteY1646" fmla="*/ 6532805 h 6757249"/>
              <a:gd name="connsiteX1647" fmla="*/ 9687768 w 11951120"/>
              <a:gd name="connsiteY1647" fmla="*/ 6531966 h 6757249"/>
              <a:gd name="connsiteX1648" fmla="*/ 9662535 w 11951120"/>
              <a:gd name="connsiteY1648" fmla="*/ 6574823 h 6757249"/>
              <a:gd name="connsiteX1649" fmla="*/ 9663933 w 11951120"/>
              <a:gd name="connsiteY1649" fmla="*/ 6576195 h 6757249"/>
              <a:gd name="connsiteX1650" fmla="*/ 9663933 w 11951120"/>
              <a:gd name="connsiteY1650" fmla="*/ 6624459 h 6757249"/>
              <a:gd name="connsiteX1651" fmla="*/ 9641587 w 11951120"/>
              <a:gd name="connsiteY1651" fmla="*/ 6650784 h 6757249"/>
              <a:gd name="connsiteX1652" fmla="*/ 9626505 w 11951120"/>
              <a:gd name="connsiteY1652" fmla="*/ 6600875 h 6757249"/>
              <a:gd name="connsiteX1653" fmla="*/ 9641237 w 11951120"/>
              <a:gd name="connsiteY1653" fmla="*/ 6555338 h 6757249"/>
              <a:gd name="connsiteX1654" fmla="*/ 9640309 w 11951120"/>
              <a:gd name="connsiteY1654" fmla="*/ 6553585 h 6757249"/>
              <a:gd name="connsiteX1655" fmla="*/ 9597942 w 11951120"/>
              <a:gd name="connsiteY1655" fmla="*/ 6553585 h 6757249"/>
              <a:gd name="connsiteX1656" fmla="*/ 9596898 w 11951120"/>
              <a:gd name="connsiteY1656" fmla="*/ 6554639 h 6757249"/>
              <a:gd name="connsiteX1657" fmla="*/ 9543271 w 11951120"/>
              <a:gd name="connsiteY1657" fmla="*/ 6554639 h 6757249"/>
              <a:gd name="connsiteX1658" fmla="*/ 9543499 w 11951120"/>
              <a:gd name="connsiteY1658" fmla="*/ 6554173 h 6757249"/>
              <a:gd name="connsiteX1659" fmla="*/ 9517890 w 11951120"/>
              <a:gd name="connsiteY1659" fmla="*/ 6549927 h 6757249"/>
              <a:gd name="connsiteX1660" fmla="*/ 9521291 w 11951120"/>
              <a:gd name="connsiteY1660" fmla="*/ 6556985 h 6757249"/>
              <a:gd name="connsiteX1661" fmla="*/ 9521822 w 11951120"/>
              <a:gd name="connsiteY1661" fmla="*/ 6558086 h 6757249"/>
              <a:gd name="connsiteX1662" fmla="*/ 9470875 w 11951120"/>
              <a:gd name="connsiteY1662" fmla="*/ 6575707 h 6757249"/>
              <a:gd name="connsiteX1663" fmla="*/ 9470875 w 11951120"/>
              <a:gd name="connsiteY1663" fmla="*/ 6529577 h 6757249"/>
              <a:gd name="connsiteX1664" fmla="*/ 9470387 w 11951120"/>
              <a:gd name="connsiteY1664" fmla="*/ 6529373 h 6757249"/>
              <a:gd name="connsiteX1665" fmla="*/ 9444063 w 11951120"/>
              <a:gd name="connsiteY1665" fmla="*/ 6454616 h 6757249"/>
              <a:gd name="connsiteX1666" fmla="*/ 9445093 w 11951120"/>
              <a:gd name="connsiteY1666" fmla="*/ 6454013 h 6757249"/>
              <a:gd name="connsiteX1667" fmla="*/ 9443817 w 11951120"/>
              <a:gd name="connsiteY1667" fmla="*/ 6454295 h 6757249"/>
              <a:gd name="connsiteX1668" fmla="*/ 9435041 w 11951120"/>
              <a:gd name="connsiteY1668" fmla="*/ 6454295 h 6757249"/>
              <a:gd name="connsiteX1669" fmla="*/ 9426267 w 11951120"/>
              <a:gd name="connsiteY1669" fmla="*/ 6458693 h 6757249"/>
              <a:gd name="connsiteX1670" fmla="*/ 9425267 w 11951120"/>
              <a:gd name="connsiteY1670" fmla="*/ 6458155 h 6757249"/>
              <a:gd name="connsiteX1671" fmla="*/ 9425292 w 11951120"/>
              <a:gd name="connsiteY1671" fmla="*/ 6458187 h 6757249"/>
              <a:gd name="connsiteX1672" fmla="*/ 9377028 w 11951120"/>
              <a:gd name="connsiteY1672" fmla="*/ 6554256 h 6757249"/>
              <a:gd name="connsiteX1673" fmla="*/ 9376471 w 11951120"/>
              <a:gd name="connsiteY1673" fmla="*/ 6553616 h 6757249"/>
              <a:gd name="connsiteX1674" fmla="*/ 9377028 w 11951120"/>
              <a:gd name="connsiteY1674" fmla="*/ 6555374 h 6757249"/>
              <a:gd name="connsiteX1675" fmla="*/ 9276112 w 11951120"/>
              <a:gd name="connsiteY1675" fmla="*/ 6572952 h 6757249"/>
              <a:gd name="connsiteX1676" fmla="*/ 9227847 w 11951120"/>
              <a:gd name="connsiteY1676" fmla="*/ 6485063 h 6757249"/>
              <a:gd name="connsiteX1677" fmla="*/ 9231972 w 11951120"/>
              <a:gd name="connsiteY1677" fmla="*/ 6483401 h 6757249"/>
              <a:gd name="connsiteX1678" fmla="*/ 9229818 w 11951120"/>
              <a:gd name="connsiteY1678" fmla="*/ 6483163 h 6757249"/>
              <a:gd name="connsiteX1679" fmla="*/ 9084762 w 11951120"/>
              <a:gd name="connsiteY1679" fmla="*/ 6500629 h 6757249"/>
              <a:gd name="connsiteX1680" fmla="*/ 9084801 w 11951120"/>
              <a:gd name="connsiteY1680" fmla="*/ 6500511 h 6757249"/>
              <a:gd name="connsiteX1681" fmla="*/ 9083306 w 11951120"/>
              <a:gd name="connsiteY1681" fmla="*/ 6502198 h 6757249"/>
              <a:gd name="connsiteX1682" fmla="*/ 9083306 w 11951120"/>
              <a:gd name="connsiteY1682" fmla="*/ 6550398 h 6757249"/>
              <a:gd name="connsiteX1683" fmla="*/ 9030906 w 11951120"/>
              <a:gd name="connsiteY1683" fmla="*/ 6528489 h 6757249"/>
              <a:gd name="connsiteX1684" fmla="*/ 8995971 w 11951120"/>
              <a:gd name="connsiteY1684" fmla="*/ 6489054 h 6757249"/>
              <a:gd name="connsiteX1685" fmla="*/ 8995819 w 11951120"/>
              <a:gd name="connsiteY1685" fmla="*/ 6488850 h 6757249"/>
              <a:gd name="connsiteX1686" fmla="*/ 8952693 w 11951120"/>
              <a:gd name="connsiteY1686" fmla="*/ 6509167 h 6757249"/>
              <a:gd name="connsiteX1687" fmla="*/ 8816172 w 11951120"/>
              <a:gd name="connsiteY1687" fmla="*/ 6502181 h 6757249"/>
              <a:gd name="connsiteX1688" fmla="*/ 8804090 w 11951120"/>
              <a:gd name="connsiteY1688" fmla="*/ 6479601 h 6757249"/>
              <a:gd name="connsiteX1689" fmla="*/ 8824739 w 11951120"/>
              <a:gd name="connsiteY1689" fmla="*/ 6457256 h 6757249"/>
              <a:gd name="connsiteX1690" fmla="*/ 8824671 w 11951120"/>
              <a:gd name="connsiteY1690" fmla="*/ 6457190 h 6757249"/>
              <a:gd name="connsiteX1691" fmla="*/ 8864374 w 11951120"/>
              <a:gd name="connsiteY1691" fmla="*/ 6402138 h 6757249"/>
              <a:gd name="connsiteX1692" fmla="*/ 8864556 w 11951120"/>
              <a:gd name="connsiteY1692" fmla="*/ 6400444 h 6757249"/>
              <a:gd name="connsiteX1693" fmla="*/ 8868905 w 11951120"/>
              <a:gd name="connsiteY1693" fmla="*/ 6361027 h 6757249"/>
              <a:gd name="connsiteX1694" fmla="*/ 8839685 w 11951120"/>
              <a:gd name="connsiteY1694" fmla="*/ 6382102 h 6757249"/>
              <a:gd name="connsiteX1695" fmla="*/ 8746227 w 11951120"/>
              <a:gd name="connsiteY1695" fmla="*/ 6372254 h 6757249"/>
              <a:gd name="connsiteX1696" fmla="*/ 8703844 w 11951120"/>
              <a:gd name="connsiteY1696" fmla="*/ 6364943 h 6757249"/>
              <a:gd name="connsiteX1697" fmla="*/ 8629420 w 11951120"/>
              <a:gd name="connsiteY1697" fmla="*/ 6440746 h 6757249"/>
              <a:gd name="connsiteX1698" fmla="*/ 8572382 w 11951120"/>
              <a:gd name="connsiteY1698" fmla="*/ 6440746 h 6757249"/>
              <a:gd name="connsiteX1699" fmla="*/ 8603095 w 11951120"/>
              <a:gd name="connsiteY1699" fmla="*/ 6382650 h 6757249"/>
              <a:gd name="connsiteX1700" fmla="*/ 8603293 w 11951120"/>
              <a:gd name="connsiteY1700" fmla="*/ 6382420 h 6757249"/>
              <a:gd name="connsiteX1701" fmla="*/ 8602607 w 11951120"/>
              <a:gd name="connsiteY1701" fmla="*/ 6382650 h 6757249"/>
              <a:gd name="connsiteX1702" fmla="*/ 8580847 w 11951120"/>
              <a:gd name="connsiteY1702" fmla="*/ 6334521 h 6757249"/>
              <a:gd name="connsiteX1703" fmla="*/ 8536809 w 11951120"/>
              <a:gd name="connsiteY1703" fmla="*/ 6360560 h 6757249"/>
              <a:gd name="connsiteX1704" fmla="*/ 8534191 w 11951120"/>
              <a:gd name="connsiteY1704" fmla="*/ 6361794 h 6757249"/>
              <a:gd name="connsiteX1705" fmla="*/ 8506511 w 11951120"/>
              <a:gd name="connsiteY1705" fmla="*/ 6409386 h 6757249"/>
              <a:gd name="connsiteX1706" fmla="*/ 8461758 w 11951120"/>
              <a:gd name="connsiteY1706" fmla="*/ 6422082 h 6757249"/>
              <a:gd name="connsiteX1707" fmla="*/ 8453669 w 11951120"/>
              <a:gd name="connsiteY1707" fmla="*/ 6397792 h 6757249"/>
              <a:gd name="connsiteX1708" fmla="*/ 8461530 w 11951120"/>
              <a:gd name="connsiteY1708" fmla="*/ 6361307 h 6757249"/>
              <a:gd name="connsiteX1709" fmla="*/ 8461471 w 11951120"/>
              <a:gd name="connsiteY1709" fmla="*/ 6361275 h 6757249"/>
              <a:gd name="connsiteX1710" fmla="*/ 8447211 w 11951120"/>
              <a:gd name="connsiteY1710" fmla="*/ 6325172 h 6757249"/>
              <a:gd name="connsiteX1711" fmla="*/ 8413538 w 11951120"/>
              <a:gd name="connsiteY1711" fmla="*/ 6312523 h 6757249"/>
              <a:gd name="connsiteX1712" fmla="*/ 8387302 w 11951120"/>
              <a:gd name="connsiteY1712" fmla="*/ 6334385 h 6757249"/>
              <a:gd name="connsiteX1713" fmla="*/ 8386902 w 11951120"/>
              <a:gd name="connsiteY1713" fmla="*/ 6333985 h 6757249"/>
              <a:gd name="connsiteX1714" fmla="*/ 8386914 w 11951120"/>
              <a:gd name="connsiteY1714" fmla="*/ 6334521 h 6757249"/>
              <a:gd name="connsiteX1715" fmla="*/ 8194556 w 11951120"/>
              <a:gd name="connsiteY1715" fmla="*/ 6312399 h 6757249"/>
              <a:gd name="connsiteX1716" fmla="*/ 8194556 w 11951120"/>
              <a:gd name="connsiteY1716" fmla="*/ 6311002 h 6757249"/>
              <a:gd name="connsiteX1717" fmla="*/ 8193318 w 11951120"/>
              <a:gd name="connsiteY1717" fmla="*/ 6312876 h 6757249"/>
              <a:gd name="connsiteX1718" fmla="*/ 8076369 w 11951120"/>
              <a:gd name="connsiteY1718" fmla="*/ 6430914 h 6757249"/>
              <a:gd name="connsiteX1719" fmla="*/ 8076270 w 11951120"/>
              <a:gd name="connsiteY1719" fmla="*/ 6430856 h 6757249"/>
              <a:gd name="connsiteX1720" fmla="*/ 8076577 w 11951120"/>
              <a:gd name="connsiteY1720" fmla="*/ 6431110 h 6757249"/>
              <a:gd name="connsiteX1721" fmla="*/ 7953235 w 11951120"/>
              <a:gd name="connsiteY1721" fmla="*/ 6479308 h 6757249"/>
              <a:gd name="connsiteX1722" fmla="*/ 7953598 w 11951120"/>
              <a:gd name="connsiteY1722" fmla="*/ 6478947 h 6757249"/>
              <a:gd name="connsiteX1723" fmla="*/ 7883596 w 11951120"/>
              <a:gd name="connsiteY1723" fmla="*/ 6409386 h 6757249"/>
              <a:gd name="connsiteX1724" fmla="*/ 7862129 w 11951120"/>
              <a:gd name="connsiteY1724" fmla="*/ 6405082 h 6757249"/>
              <a:gd name="connsiteX1725" fmla="*/ 7861527 w 11951120"/>
              <a:gd name="connsiteY1725" fmla="*/ 6404938 h 6757249"/>
              <a:gd name="connsiteX1726" fmla="*/ 7862069 w 11951120"/>
              <a:gd name="connsiteY1726" fmla="*/ 6405318 h 6757249"/>
              <a:gd name="connsiteX1727" fmla="*/ 7817906 w 11951120"/>
              <a:gd name="connsiteY1727" fmla="*/ 6414094 h 6757249"/>
              <a:gd name="connsiteX1728" fmla="*/ 7815195 w 11951120"/>
              <a:gd name="connsiteY1728" fmla="*/ 6412622 h 6757249"/>
              <a:gd name="connsiteX1729" fmla="*/ 7816487 w 11951120"/>
              <a:gd name="connsiteY1729" fmla="*/ 6414316 h 6757249"/>
              <a:gd name="connsiteX1730" fmla="*/ 7756305 w 11951120"/>
              <a:gd name="connsiteY1730" fmla="*/ 6449045 h 6757249"/>
              <a:gd name="connsiteX1731" fmla="*/ 7738879 w 11951120"/>
              <a:gd name="connsiteY1731" fmla="*/ 6451209 h 6757249"/>
              <a:gd name="connsiteX1732" fmla="*/ 7690126 w 11951120"/>
              <a:gd name="connsiteY1732" fmla="*/ 6492584 h 6757249"/>
              <a:gd name="connsiteX1733" fmla="*/ 7655116 w 11951120"/>
              <a:gd name="connsiteY1733" fmla="*/ 6479376 h 6757249"/>
              <a:gd name="connsiteX1734" fmla="*/ 7633232 w 11951120"/>
              <a:gd name="connsiteY1734" fmla="*/ 6479376 h 6757249"/>
              <a:gd name="connsiteX1735" fmla="*/ 7631792 w 11951120"/>
              <a:gd name="connsiteY1735" fmla="*/ 6477927 h 6757249"/>
              <a:gd name="connsiteX1736" fmla="*/ 7631498 w 11951120"/>
              <a:gd name="connsiteY1736" fmla="*/ 6479178 h 6757249"/>
              <a:gd name="connsiteX1737" fmla="*/ 7584928 w 11951120"/>
              <a:gd name="connsiteY1737" fmla="*/ 6479178 h 6757249"/>
              <a:gd name="connsiteX1738" fmla="*/ 7584757 w 11951120"/>
              <a:gd name="connsiteY1738" fmla="*/ 6479715 h 6757249"/>
              <a:gd name="connsiteX1739" fmla="*/ 7487002 w 11951120"/>
              <a:gd name="connsiteY1739" fmla="*/ 6527750 h 6757249"/>
              <a:gd name="connsiteX1740" fmla="*/ 7486756 w 11951120"/>
              <a:gd name="connsiteY1740" fmla="*/ 6527142 h 6757249"/>
              <a:gd name="connsiteX1741" fmla="*/ 7435745 w 11951120"/>
              <a:gd name="connsiteY1741" fmla="*/ 6501137 h 6757249"/>
              <a:gd name="connsiteX1742" fmla="*/ 7435637 w 11951120"/>
              <a:gd name="connsiteY1742" fmla="*/ 6501794 h 6757249"/>
              <a:gd name="connsiteX1743" fmla="*/ 7391842 w 11951120"/>
              <a:gd name="connsiteY1743" fmla="*/ 6532805 h 6757249"/>
              <a:gd name="connsiteX1744" fmla="*/ 7389489 w 11951120"/>
              <a:gd name="connsiteY1744" fmla="*/ 6531966 h 6757249"/>
              <a:gd name="connsiteX1745" fmla="*/ 7364256 w 11951120"/>
              <a:gd name="connsiteY1745" fmla="*/ 6574823 h 6757249"/>
              <a:gd name="connsiteX1746" fmla="*/ 7365654 w 11951120"/>
              <a:gd name="connsiteY1746" fmla="*/ 6576195 h 6757249"/>
              <a:gd name="connsiteX1747" fmla="*/ 7365654 w 11951120"/>
              <a:gd name="connsiteY1747" fmla="*/ 6624459 h 6757249"/>
              <a:gd name="connsiteX1748" fmla="*/ 7343308 w 11951120"/>
              <a:gd name="connsiteY1748" fmla="*/ 6650784 h 6757249"/>
              <a:gd name="connsiteX1749" fmla="*/ 7328226 w 11951120"/>
              <a:gd name="connsiteY1749" fmla="*/ 6600875 h 6757249"/>
              <a:gd name="connsiteX1750" fmla="*/ 7342958 w 11951120"/>
              <a:gd name="connsiteY1750" fmla="*/ 6555338 h 6757249"/>
              <a:gd name="connsiteX1751" fmla="*/ 7342030 w 11951120"/>
              <a:gd name="connsiteY1751" fmla="*/ 6553585 h 6757249"/>
              <a:gd name="connsiteX1752" fmla="*/ 7299663 w 11951120"/>
              <a:gd name="connsiteY1752" fmla="*/ 6553585 h 6757249"/>
              <a:gd name="connsiteX1753" fmla="*/ 7298619 w 11951120"/>
              <a:gd name="connsiteY1753" fmla="*/ 6554639 h 6757249"/>
              <a:gd name="connsiteX1754" fmla="*/ 7244992 w 11951120"/>
              <a:gd name="connsiteY1754" fmla="*/ 6554639 h 6757249"/>
              <a:gd name="connsiteX1755" fmla="*/ 7245220 w 11951120"/>
              <a:gd name="connsiteY1755" fmla="*/ 6554173 h 6757249"/>
              <a:gd name="connsiteX1756" fmla="*/ 7219611 w 11951120"/>
              <a:gd name="connsiteY1756" fmla="*/ 6549927 h 6757249"/>
              <a:gd name="connsiteX1757" fmla="*/ 7223012 w 11951120"/>
              <a:gd name="connsiteY1757" fmla="*/ 6556985 h 6757249"/>
              <a:gd name="connsiteX1758" fmla="*/ 7223543 w 11951120"/>
              <a:gd name="connsiteY1758" fmla="*/ 6558086 h 6757249"/>
              <a:gd name="connsiteX1759" fmla="*/ 7172596 w 11951120"/>
              <a:gd name="connsiteY1759" fmla="*/ 6575707 h 6757249"/>
              <a:gd name="connsiteX1760" fmla="*/ 7172596 w 11951120"/>
              <a:gd name="connsiteY1760" fmla="*/ 6529577 h 6757249"/>
              <a:gd name="connsiteX1761" fmla="*/ 7172108 w 11951120"/>
              <a:gd name="connsiteY1761" fmla="*/ 6529373 h 6757249"/>
              <a:gd name="connsiteX1762" fmla="*/ 7145784 w 11951120"/>
              <a:gd name="connsiteY1762" fmla="*/ 6454616 h 6757249"/>
              <a:gd name="connsiteX1763" fmla="*/ 7146814 w 11951120"/>
              <a:gd name="connsiteY1763" fmla="*/ 6454013 h 6757249"/>
              <a:gd name="connsiteX1764" fmla="*/ 7145538 w 11951120"/>
              <a:gd name="connsiteY1764" fmla="*/ 6454295 h 6757249"/>
              <a:gd name="connsiteX1765" fmla="*/ 7136762 w 11951120"/>
              <a:gd name="connsiteY1765" fmla="*/ 6454295 h 6757249"/>
              <a:gd name="connsiteX1766" fmla="*/ 7127988 w 11951120"/>
              <a:gd name="connsiteY1766" fmla="*/ 6458693 h 6757249"/>
              <a:gd name="connsiteX1767" fmla="*/ 7126988 w 11951120"/>
              <a:gd name="connsiteY1767" fmla="*/ 6458155 h 6757249"/>
              <a:gd name="connsiteX1768" fmla="*/ 7127013 w 11951120"/>
              <a:gd name="connsiteY1768" fmla="*/ 6458187 h 6757249"/>
              <a:gd name="connsiteX1769" fmla="*/ 7078749 w 11951120"/>
              <a:gd name="connsiteY1769" fmla="*/ 6554256 h 6757249"/>
              <a:gd name="connsiteX1770" fmla="*/ 7078192 w 11951120"/>
              <a:gd name="connsiteY1770" fmla="*/ 6553616 h 6757249"/>
              <a:gd name="connsiteX1771" fmla="*/ 7078749 w 11951120"/>
              <a:gd name="connsiteY1771" fmla="*/ 6555374 h 6757249"/>
              <a:gd name="connsiteX1772" fmla="*/ 6977833 w 11951120"/>
              <a:gd name="connsiteY1772" fmla="*/ 6572952 h 6757249"/>
              <a:gd name="connsiteX1773" fmla="*/ 6929568 w 11951120"/>
              <a:gd name="connsiteY1773" fmla="*/ 6485063 h 6757249"/>
              <a:gd name="connsiteX1774" fmla="*/ 6933693 w 11951120"/>
              <a:gd name="connsiteY1774" fmla="*/ 6483401 h 6757249"/>
              <a:gd name="connsiteX1775" fmla="*/ 6931539 w 11951120"/>
              <a:gd name="connsiteY1775" fmla="*/ 6483163 h 6757249"/>
              <a:gd name="connsiteX1776" fmla="*/ 6786483 w 11951120"/>
              <a:gd name="connsiteY1776" fmla="*/ 6500629 h 6757249"/>
              <a:gd name="connsiteX1777" fmla="*/ 6786522 w 11951120"/>
              <a:gd name="connsiteY1777" fmla="*/ 6500511 h 6757249"/>
              <a:gd name="connsiteX1778" fmla="*/ 6785027 w 11951120"/>
              <a:gd name="connsiteY1778" fmla="*/ 6502198 h 6757249"/>
              <a:gd name="connsiteX1779" fmla="*/ 6785027 w 11951120"/>
              <a:gd name="connsiteY1779" fmla="*/ 6550398 h 6757249"/>
              <a:gd name="connsiteX1780" fmla="*/ 6732627 w 11951120"/>
              <a:gd name="connsiteY1780" fmla="*/ 6528489 h 6757249"/>
              <a:gd name="connsiteX1781" fmla="*/ 6732675 w 11951120"/>
              <a:gd name="connsiteY1781" fmla="*/ 6513808 h 6757249"/>
              <a:gd name="connsiteX1782" fmla="*/ 6723529 w 11951120"/>
              <a:gd name="connsiteY1782" fmla="*/ 6517592 h 6757249"/>
              <a:gd name="connsiteX1783" fmla="*/ 6674302 w 11951120"/>
              <a:gd name="connsiteY1783" fmla="*/ 6508759 h 6757249"/>
              <a:gd name="connsiteX1784" fmla="*/ 6669289 w 11951120"/>
              <a:gd name="connsiteY1784" fmla="*/ 6502160 h 6757249"/>
              <a:gd name="connsiteX1785" fmla="*/ 6654414 w 11951120"/>
              <a:gd name="connsiteY1785" fmla="*/ 6509167 h 6757249"/>
              <a:gd name="connsiteX1786" fmla="*/ 6586849 w 11951120"/>
              <a:gd name="connsiteY1786" fmla="*/ 6517343 h 6757249"/>
              <a:gd name="connsiteX1787" fmla="*/ 6540846 w 11951120"/>
              <a:gd name="connsiteY1787" fmla="*/ 6507228 h 6757249"/>
              <a:gd name="connsiteX1788" fmla="*/ 6490780 w 11951120"/>
              <a:gd name="connsiteY1788" fmla="*/ 6529871 h 6757249"/>
              <a:gd name="connsiteX1789" fmla="*/ 6440003 w 11951120"/>
              <a:gd name="connsiteY1789" fmla="*/ 6567663 h 6757249"/>
              <a:gd name="connsiteX1790" fmla="*/ 6437798 w 11951120"/>
              <a:gd name="connsiteY1790" fmla="*/ 6519465 h 6757249"/>
              <a:gd name="connsiteX1791" fmla="*/ 6435625 w 11951120"/>
              <a:gd name="connsiteY1791" fmla="*/ 6484914 h 6757249"/>
              <a:gd name="connsiteX1792" fmla="*/ 6414630 w 11951120"/>
              <a:gd name="connsiteY1792" fmla="*/ 6505991 h 6757249"/>
              <a:gd name="connsiteX1793" fmla="*/ 6411735 w 11951120"/>
              <a:gd name="connsiteY1793" fmla="*/ 6474018 h 6757249"/>
              <a:gd name="connsiteX1794" fmla="*/ 6411542 w 11951120"/>
              <a:gd name="connsiteY1794" fmla="*/ 6474486 h 6757249"/>
              <a:gd name="connsiteX1795" fmla="*/ 6413670 w 11951120"/>
              <a:gd name="connsiteY1795" fmla="*/ 6506885 h 6757249"/>
              <a:gd name="connsiteX1796" fmla="*/ 6392576 w 11951120"/>
              <a:gd name="connsiteY1796" fmla="*/ 6529022 h 6757249"/>
              <a:gd name="connsiteX1797" fmla="*/ 6392576 w 11951120"/>
              <a:gd name="connsiteY1797" fmla="*/ 6574826 h 6757249"/>
              <a:gd name="connsiteX1798" fmla="*/ 6353754 w 11951120"/>
              <a:gd name="connsiteY1798" fmla="*/ 6592801 h 6757249"/>
              <a:gd name="connsiteX1799" fmla="*/ 6332725 w 11951120"/>
              <a:gd name="connsiteY1799" fmla="*/ 6579728 h 6757249"/>
              <a:gd name="connsiteX1800" fmla="*/ 6340811 w 11951120"/>
              <a:gd name="connsiteY1800" fmla="*/ 6553594 h 6757249"/>
              <a:gd name="connsiteX1801" fmla="*/ 6340442 w 11951120"/>
              <a:gd name="connsiteY1801" fmla="*/ 6553569 h 6757249"/>
              <a:gd name="connsiteX1802" fmla="*/ 6269712 w 11951120"/>
              <a:gd name="connsiteY1802" fmla="*/ 6431297 h 6757249"/>
              <a:gd name="connsiteX1803" fmla="*/ 6270376 w 11951120"/>
              <a:gd name="connsiteY1803" fmla="*/ 6430914 h 6757249"/>
              <a:gd name="connsiteX1804" fmla="*/ 6269351 w 11951120"/>
              <a:gd name="connsiteY1804" fmla="*/ 6430914 h 6757249"/>
              <a:gd name="connsiteX1805" fmla="*/ 6269351 w 11951120"/>
              <a:gd name="connsiteY1805" fmla="*/ 6409365 h 6757249"/>
              <a:gd name="connsiteX1806" fmla="*/ 6268863 w 11951120"/>
              <a:gd name="connsiteY1806" fmla="*/ 6409465 h 6757249"/>
              <a:gd name="connsiteX1807" fmla="*/ 6230471 w 11951120"/>
              <a:gd name="connsiteY1807" fmla="*/ 6412257 h 6757249"/>
              <a:gd name="connsiteX1808" fmla="*/ 6199582 w 11951120"/>
              <a:gd name="connsiteY1808" fmla="*/ 6431242 h 6757249"/>
              <a:gd name="connsiteX1809" fmla="*/ 6199636 w 11951120"/>
              <a:gd name="connsiteY1809" fmla="*/ 6431250 h 6757249"/>
              <a:gd name="connsiteX1810" fmla="*/ 6095063 w 11951120"/>
              <a:gd name="connsiteY1810" fmla="*/ 6479178 h 6757249"/>
              <a:gd name="connsiteX1811" fmla="*/ 6114669 w 11951120"/>
              <a:gd name="connsiteY1811" fmla="*/ 6432883 h 6757249"/>
              <a:gd name="connsiteX1812" fmla="*/ 6146155 w 11951120"/>
              <a:gd name="connsiteY1812" fmla="*/ 6410319 h 6757249"/>
              <a:gd name="connsiteX1813" fmla="*/ 6146009 w 11951120"/>
              <a:gd name="connsiteY1813" fmla="*/ 6409465 h 6757249"/>
              <a:gd name="connsiteX1814" fmla="*/ 6155566 w 11951120"/>
              <a:gd name="connsiteY1814" fmla="*/ 6396976 h 6757249"/>
              <a:gd name="connsiteX1815" fmla="*/ 6163251 w 11951120"/>
              <a:gd name="connsiteY1815" fmla="*/ 6361307 h 6757249"/>
              <a:gd name="connsiteX1816" fmla="*/ 6163192 w 11951120"/>
              <a:gd name="connsiteY1816" fmla="*/ 6361275 h 6757249"/>
              <a:gd name="connsiteX1817" fmla="*/ 6150099 w 11951120"/>
              <a:gd name="connsiteY1817" fmla="*/ 6328126 h 6757249"/>
              <a:gd name="connsiteX1818" fmla="*/ 6138298 w 11951120"/>
              <a:gd name="connsiteY1818" fmla="*/ 6340350 h 6757249"/>
              <a:gd name="connsiteX1819" fmla="*/ 6085956 w 11951120"/>
              <a:gd name="connsiteY1819" fmla="*/ 6355836 h 6757249"/>
              <a:gd name="connsiteX1820" fmla="*/ 6086108 w 11951120"/>
              <a:gd name="connsiteY1820" fmla="*/ 6337310 h 6757249"/>
              <a:gd name="connsiteX1821" fmla="*/ 6061542 w 11951120"/>
              <a:gd name="connsiteY1821" fmla="*/ 6364419 h 6757249"/>
              <a:gd name="connsiteX1822" fmla="*/ 5896277 w 11951120"/>
              <a:gd name="connsiteY1822" fmla="*/ 6312399 h 6757249"/>
              <a:gd name="connsiteX1823" fmla="*/ 5896277 w 11951120"/>
              <a:gd name="connsiteY1823" fmla="*/ 6311002 h 6757249"/>
              <a:gd name="connsiteX1824" fmla="*/ 5895039 w 11951120"/>
              <a:gd name="connsiteY1824" fmla="*/ 6312876 h 6757249"/>
              <a:gd name="connsiteX1825" fmla="*/ 5886696 w 11951120"/>
              <a:gd name="connsiteY1825" fmla="*/ 6323084 h 6757249"/>
              <a:gd name="connsiteX1826" fmla="*/ 5884195 w 11951120"/>
              <a:gd name="connsiteY1826" fmla="*/ 6338039 h 6757249"/>
              <a:gd name="connsiteX1827" fmla="*/ 5875851 w 11951120"/>
              <a:gd name="connsiteY1827" fmla="*/ 6336351 h 6757249"/>
              <a:gd name="connsiteX1828" fmla="*/ 5841438 w 11951120"/>
              <a:gd name="connsiteY1828" fmla="*/ 6378453 h 6757249"/>
              <a:gd name="connsiteX1829" fmla="*/ 5778090 w 11951120"/>
              <a:gd name="connsiteY1829" fmla="*/ 6430914 h 6757249"/>
              <a:gd name="connsiteX1830" fmla="*/ 5777991 w 11951120"/>
              <a:gd name="connsiteY1830" fmla="*/ 6430856 h 6757249"/>
              <a:gd name="connsiteX1831" fmla="*/ 5778298 w 11951120"/>
              <a:gd name="connsiteY1831" fmla="*/ 6431110 h 6757249"/>
              <a:gd name="connsiteX1832" fmla="*/ 5654957 w 11951120"/>
              <a:gd name="connsiteY1832" fmla="*/ 6479308 h 6757249"/>
              <a:gd name="connsiteX1833" fmla="*/ 5655319 w 11951120"/>
              <a:gd name="connsiteY1833" fmla="*/ 6478947 h 6757249"/>
              <a:gd name="connsiteX1834" fmla="*/ 5585317 w 11951120"/>
              <a:gd name="connsiteY1834" fmla="*/ 6409386 h 6757249"/>
              <a:gd name="connsiteX1835" fmla="*/ 5563850 w 11951120"/>
              <a:gd name="connsiteY1835" fmla="*/ 6405082 h 6757249"/>
              <a:gd name="connsiteX1836" fmla="*/ 5563248 w 11951120"/>
              <a:gd name="connsiteY1836" fmla="*/ 6404938 h 6757249"/>
              <a:gd name="connsiteX1837" fmla="*/ 5563790 w 11951120"/>
              <a:gd name="connsiteY1837" fmla="*/ 6405318 h 6757249"/>
              <a:gd name="connsiteX1838" fmla="*/ 5519628 w 11951120"/>
              <a:gd name="connsiteY1838" fmla="*/ 6414094 h 6757249"/>
              <a:gd name="connsiteX1839" fmla="*/ 5516917 w 11951120"/>
              <a:gd name="connsiteY1839" fmla="*/ 6412622 h 6757249"/>
              <a:gd name="connsiteX1840" fmla="*/ 5518208 w 11951120"/>
              <a:gd name="connsiteY1840" fmla="*/ 6414316 h 6757249"/>
              <a:gd name="connsiteX1841" fmla="*/ 5388083 w 11951120"/>
              <a:gd name="connsiteY1841" fmla="*/ 6457728 h 6757249"/>
              <a:gd name="connsiteX1842" fmla="*/ 5414108 w 11951120"/>
              <a:gd name="connsiteY1842" fmla="*/ 6383927 h 6757249"/>
              <a:gd name="connsiteX1843" fmla="*/ 5414370 w 11951120"/>
              <a:gd name="connsiteY1843" fmla="*/ 6383900 h 6757249"/>
              <a:gd name="connsiteX1844" fmla="*/ 5413635 w 11951120"/>
              <a:gd name="connsiteY1844" fmla="*/ 6383381 h 6757249"/>
              <a:gd name="connsiteX1845" fmla="*/ 5413635 w 11951120"/>
              <a:gd name="connsiteY1845" fmla="*/ 6361442 h 6757249"/>
              <a:gd name="connsiteX1846" fmla="*/ 5414436 w 11951120"/>
              <a:gd name="connsiteY1846" fmla="*/ 6360434 h 6757249"/>
              <a:gd name="connsiteX1847" fmla="*/ 5413328 w 11951120"/>
              <a:gd name="connsiteY1847" fmla="*/ 6361199 h 6757249"/>
              <a:gd name="connsiteX1848" fmla="*/ 5380863 w 11951120"/>
              <a:gd name="connsiteY1848" fmla="*/ 6313199 h 6757249"/>
              <a:gd name="connsiteX1849" fmla="*/ 5331774 w 11951120"/>
              <a:gd name="connsiteY1849" fmla="*/ 6335318 h 6757249"/>
              <a:gd name="connsiteX1850" fmla="*/ 5330808 w 11951120"/>
              <a:gd name="connsiteY1850" fmla="*/ 6335228 h 6757249"/>
              <a:gd name="connsiteX1851" fmla="*/ 5319169 w 11951120"/>
              <a:gd name="connsiteY1851" fmla="*/ 6369244 h 6757249"/>
              <a:gd name="connsiteX1852" fmla="*/ 5288293 w 11951120"/>
              <a:gd name="connsiteY1852" fmla="*/ 6370347 h 6757249"/>
              <a:gd name="connsiteX1853" fmla="*/ 5276879 w 11951120"/>
              <a:gd name="connsiteY1853" fmla="*/ 6355846 h 6757249"/>
              <a:gd name="connsiteX1854" fmla="*/ 5247392 w 11951120"/>
              <a:gd name="connsiteY1854" fmla="*/ 6388281 h 6757249"/>
              <a:gd name="connsiteX1855" fmla="*/ 5243597 w 11951120"/>
              <a:gd name="connsiteY1855" fmla="*/ 6388658 h 6757249"/>
              <a:gd name="connsiteX1856" fmla="*/ 5204379 w 11951120"/>
              <a:gd name="connsiteY1856" fmla="*/ 6410370 h 6757249"/>
              <a:gd name="connsiteX1857" fmla="*/ 5129413 w 11951120"/>
              <a:gd name="connsiteY1857" fmla="*/ 6338524 h 6757249"/>
              <a:gd name="connsiteX1858" fmla="*/ 5129413 w 11951120"/>
              <a:gd name="connsiteY1858" fmla="*/ 6337929 h 6757249"/>
              <a:gd name="connsiteX1859" fmla="*/ 5128632 w 11951120"/>
              <a:gd name="connsiteY1859" fmla="*/ 6339197 h 6757249"/>
              <a:gd name="connsiteX1860" fmla="*/ 5102684 w 11951120"/>
              <a:gd name="connsiteY1860" fmla="*/ 6361199 h 6757249"/>
              <a:gd name="connsiteX1861" fmla="*/ 5101991 w 11951120"/>
              <a:gd name="connsiteY1861" fmla="*/ 6360802 h 6757249"/>
              <a:gd name="connsiteX1862" fmla="*/ 5085860 w 11951120"/>
              <a:gd name="connsiteY1862" fmla="*/ 6378685 h 6757249"/>
              <a:gd name="connsiteX1863" fmla="*/ 5072359 w 11951120"/>
              <a:gd name="connsiteY1863" fmla="*/ 6390695 h 6757249"/>
              <a:gd name="connsiteX1864" fmla="*/ 5036807 w 11951120"/>
              <a:gd name="connsiteY1864" fmla="*/ 6347135 h 6757249"/>
              <a:gd name="connsiteX1865" fmla="*/ 4994442 w 11951120"/>
              <a:gd name="connsiteY1865" fmla="*/ 6361199 h 6757249"/>
              <a:gd name="connsiteX1866" fmla="*/ 4987237 w 11951120"/>
              <a:gd name="connsiteY1866" fmla="*/ 6319158 h 6757249"/>
              <a:gd name="connsiteX1867" fmla="*/ 4984463 w 11951120"/>
              <a:gd name="connsiteY1867" fmla="*/ 6320980 h 6757249"/>
              <a:gd name="connsiteX1868" fmla="*/ 5001497 w 11951120"/>
              <a:gd name="connsiteY1868" fmla="*/ 6211044 h 6757249"/>
              <a:gd name="connsiteX1869" fmla="*/ 5001672 w 11951120"/>
              <a:gd name="connsiteY1869" fmla="*/ 6211440 h 6757249"/>
              <a:gd name="connsiteX1870" fmla="*/ 5026495 w 11951120"/>
              <a:gd name="connsiteY1870" fmla="*/ 6165780 h 6757249"/>
              <a:gd name="connsiteX1871" fmla="*/ 5014373 w 11951120"/>
              <a:gd name="connsiteY1871" fmla="*/ 6183172 h 6757249"/>
              <a:gd name="connsiteX1872" fmla="*/ 4943117 w 11951120"/>
              <a:gd name="connsiteY1872" fmla="*/ 6190555 h 6757249"/>
              <a:gd name="connsiteX1873" fmla="*/ 4934533 w 11951120"/>
              <a:gd name="connsiteY1873" fmla="*/ 6186162 h 6757249"/>
              <a:gd name="connsiteX1874" fmla="*/ 4910113 w 11951120"/>
              <a:gd name="connsiteY1874" fmla="*/ 6194955 h 6757249"/>
              <a:gd name="connsiteX1875" fmla="*/ 4910049 w 11951120"/>
              <a:gd name="connsiteY1875" fmla="*/ 6194915 h 6757249"/>
              <a:gd name="connsiteX1876" fmla="*/ 4899263 w 11951120"/>
              <a:gd name="connsiteY1876" fmla="*/ 6231197 h 6757249"/>
              <a:gd name="connsiteX1877" fmla="*/ 4861278 w 11951120"/>
              <a:gd name="connsiteY1877" fmla="*/ 6245902 h 6757249"/>
              <a:gd name="connsiteX1878" fmla="*/ 4859861 w 11951120"/>
              <a:gd name="connsiteY1878" fmla="*/ 6243250 h 6757249"/>
              <a:gd name="connsiteX1879" fmla="*/ 4860564 w 11951120"/>
              <a:gd name="connsiteY1879" fmla="*/ 6246726 h 6757249"/>
              <a:gd name="connsiteX1880" fmla="*/ 4860564 w 11951120"/>
              <a:gd name="connsiteY1880" fmla="*/ 6285709 h 6757249"/>
              <a:gd name="connsiteX1881" fmla="*/ 4812389 w 11951120"/>
              <a:gd name="connsiteY1881" fmla="*/ 6285709 h 6757249"/>
              <a:gd name="connsiteX1882" fmla="*/ 4768592 w 11951120"/>
              <a:gd name="connsiteY1882" fmla="*/ 6255389 h 6757249"/>
              <a:gd name="connsiteX1883" fmla="*/ 4772426 w 11951120"/>
              <a:gd name="connsiteY1883" fmla="*/ 6229400 h 6757249"/>
              <a:gd name="connsiteX1884" fmla="*/ 4768873 w 11951120"/>
              <a:gd name="connsiteY1884" fmla="*/ 6227606 h 6757249"/>
              <a:gd name="connsiteX1885" fmla="*/ 4753460 w 11951120"/>
              <a:gd name="connsiteY1885" fmla="*/ 6237859 h 6757249"/>
              <a:gd name="connsiteX1886" fmla="*/ 4731893 w 11951120"/>
              <a:gd name="connsiteY1886" fmla="*/ 6237859 h 6757249"/>
              <a:gd name="connsiteX1887" fmla="*/ 4732304 w 11951120"/>
              <a:gd name="connsiteY1887" fmla="*/ 6227582 h 6757249"/>
              <a:gd name="connsiteX1888" fmla="*/ 4727210 w 11951120"/>
              <a:gd name="connsiteY1888" fmla="*/ 6231864 h 6757249"/>
              <a:gd name="connsiteX1889" fmla="*/ 4668179 w 11951120"/>
              <a:gd name="connsiteY1889" fmla="*/ 6285608 h 6757249"/>
              <a:gd name="connsiteX1890" fmla="*/ 4628825 w 11951120"/>
              <a:gd name="connsiteY1890" fmla="*/ 6307572 h 6757249"/>
              <a:gd name="connsiteX1891" fmla="*/ 4623761 w 11951120"/>
              <a:gd name="connsiteY1891" fmla="*/ 6306119 h 6757249"/>
              <a:gd name="connsiteX1892" fmla="*/ 4620908 w 11951120"/>
              <a:gd name="connsiteY1892" fmla="*/ 6334798 h 6757249"/>
              <a:gd name="connsiteX1893" fmla="*/ 4555152 w 11951120"/>
              <a:gd name="connsiteY1893" fmla="*/ 6381569 h 6757249"/>
              <a:gd name="connsiteX1894" fmla="*/ 4528390 w 11951120"/>
              <a:gd name="connsiteY1894" fmla="*/ 6387985 h 6757249"/>
              <a:gd name="connsiteX1895" fmla="*/ 4528792 w 11951120"/>
              <a:gd name="connsiteY1895" fmla="*/ 6388303 h 6757249"/>
              <a:gd name="connsiteX1896" fmla="*/ 4453989 w 11951120"/>
              <a:gd name="connsiteY1896" fmla="*/ 6505703 h 6757249"/>
              <a:gd name="connsiteX1897" fmla="*/ 4357186 w 11951120"/>
              <a:gd name="connsiteY1897" fmla="*/ 6483961 h 6757249"/>
              <a:gd name="connsiteX1898" fmla="*/ 4379119 w 11951120"/>
              <a:gd name="connsiteY1898" fmla="*/ 6436277 h 6757249"/>
              <a:gd name="connsiteX1899" fmla="*/ 4357903 w 11951120"/>
              <a:gd name="connsiteY1899" fmla="*/ 6431868 h 6757249"/>
              <a:gd name="connsiteX1900" fmla="*/ 4336010 w 11951120"/>
              <a:gd name="connsiteY1900" fmla="*/ 6436277 h 6757249"/>
              <a:gd name="connsiteX1901" fmla="*/ 4335705 w 11951120"/>
              <a:gd name="connsiteY1901" fmla="*/ 6436168 h 6757249"/>
              <a:gd name="connsiteX1902" fmla="*/ 4335736 w 11951120"/>
              <a:gd name="connsiteY1902" fmla="*/ 6436212 h 6757249"/>
              <a:gd name="connsiteX1903" fmla="*/ 4141724 w 11951120"/>
              <a:gd name="connsiteY1903" fmla="*/ 6567663 h 6757249"/>
              <a:gd name="connsiteX1904" fmla="*/ 4139519 w 11951120"/>
              <a:gd name="connsiteY1904" fmla="*/ 6519465 h 6757249"/>
              <a:gd name="connsiteX1905" fmla="*/ 4137346 w 11951120"/>
              <a:gd name="connsiteY1905" fmla="*/ 6484914 h 6757249"/>
              <a:gd name="connsiteX1906" fmla="*/ 4116351 w 11951120"/>
              <a:gd name="connsiteY1906" fmla="*/ 6505991 h 6757249"/>
              <a:gd name="connsiteX1907" fmla="*/ 4113456 w 11951120"/>
              <a:gd name="connsiteY1907" fmla="*/ 6474018 h 6757249"/>
              <a:gd name="connsiteX1908" fmla="*/ 4113263 w 11951120"/>
              <a:gd name="connsiteY1908" fmla="*/ 6474486 h 6757249"/>
              <a:gd name="connsiteX1909" fmla="*/ 4115391 w 11951120"/>
              <a:gd name="connsiteY1909" fmla="*/ 6506885 h 6757249"/>
              <a:gd name="connsiteX1910" fmla="*/ 4094297 w 11951120"/>
              <a:gd name="connsiteY1910" fmla="*/ 6529022 h 6757249"/>
              <a:gd name="connsiteX1911" fmla="*/ 4094297 w 11951120"/>
              <a:gd name="connsiteY1911" fmla="*/ 6574826 h 6757249"/>
              <a:gd name="connsiteX1912" fmla="*/ 4055475 w 11951120"/>
              <a:gd name="connsiteY1912" fmla="*/ 6592801 h 6757249"/>
              <a:gd name="connsiteX1913" fmla="*/ 4034446 w 11951120"/>
              <a:gd name="connsiteY1913" fmla="*/ 6579728 h 6757249"/>
              <a:gd name="connsiteX1914" fmla="*/ 4042532 w 11951120"/>
              <a:gd name="connsiteY1914" fmla="*/ 6553594 h 6757249"/>
              <a:gd name="connsiteX1915" fmla="*/ 4042163 w 11951120"/>
              <a:gd name="connsiteY1915" fmla="*/ 6553569 h 6757249"/>
              <a:gd name="connsiteX1916" fmla="*/ 3971987 w 11951120"/>
              <a:gd name="connsiteY1916" fmla="*/ 6513720 h 6757249"/>
              <a:gd name="connsiteX1917" fmla="*/ 3963263 w 11951120"/>
              <a:gd name="connsiteY1917" fmla="*/ 6496522 h 6757249"/>
              <a:gd name="connsiteX1918" fmla="*/ 3960316 w 11951120"/>
              <a:gd name="connsiteY1918" fmla="*/ 6505991 h 6757249"/>
              <a:gd name="connsiteX1919" fmla="*/ 3864184 w 11951120"/>
              <a:gd name="connsiteY1919" fmla="*/ 6457728 h 6757249"/>
              <a:gd name="connsiteX1920" fmla="*/ 3865552 w 11951120"/>
              <a:gd name="connsiteY1920" fmla="*/ 6455668 h 6757249"/>
              <a:gd name="connsiteX1921" fmla="*/ 3862846 w 11951120"/>
              <a:gd name="connsiteY1921" fmla="*/ 6456878 h 6757249"/>
              <a:gd name="connsiteX1922" fmla="*/ 3862846 w 11951120"/>
              <a:gd name="connsiteY1922" fmla="*/ 6457728 h 6757249"/>
              <a:gd name="connsiteX1923" fmla="*/ 3860945 w 11951120"/>
              <a:gd name="connsiteY1923" fmla="*/ 6457728 h 6757249"/>
              <a:gd name="connsiteX1924" fmla="*/ 3855607 w 11951120"/>
              <a:gd name="connsiteY1924" fmla="*/ 6460116 h 6757249"/>
              <a:gd name="connsiteX1925" fmla="*/ 3835763 w 11951120"/>
              <a:gd name="connsiteY1925" fmla="*/ 6466546 h 6757249"/>
              <a:gd name="connsiteX1926" fmla="*/ 3809814 w 11951120"/>
              <a:gd name="connsiteY1926" fmla="*/ 6521510 h 6757249"/>
              <a:gd name="connsiteX1927" fmla="*/ 3766615 w 11951120"/>
              <a:gd name="connsiteY1927" fmla="*/ 6575707 h 6757249"/>
              <a:gd name="connsiteX1928" fmla="*/ 3770935 w 11951120"/>
              <a:gd name="connsiteY1928" fmla="*/ 6479357 h 6757249"/>
              <a:gd name="connsiteX1929" fmla="*/ 3771155 w 11951120"/>
              <a:gd name="connsiteY1929" fmla="*/ 6478957 h 6757249"/>
              <a:gd name="connsiteX1930" fmla="*/ 3741730 w 11951120"/>
              <a:gd name="connsiteY1930" fmla="*/ 6458023 h 6757249"/>
              <a:gd name="connsiteX1931" fmla="*/ 3739663 w 11951120"/>
              <a:gd name="connsiteY1931" fmla="*/ 6457935 h 6757249"/>
              <a:gd name="connsiteX1932" fmla="*/ 3673703 w 11951120"/>
              <a:gd name="connsiteY1932" fmla="*/ 6466735 h 6757249"/>
              <a:gd name="connsiteX1933" fmla="*/ 3616535 w 11951120"/>
              <a:gd name="connsiteY1933" fmla="*/ 6444734 h 6757249"/>
              <a:gd name="connsiteX1934" fmla="*/ 3642919 w 11951120"/>
              <a:gd name="connsiteY1934" fmla="*/ 6409532 h 6757249"/>
              <a:gd name="connsiteX1935" fmla="*/ 3642919 w 11951120"/>
              <a:gd name="connsiteY1935" fmla="*/ 6408943 h 6757249"/>
              <a:gd name="connsiteX1936" fmla="*/ 3611687 w 11951120"/>
              <a:gd name="connsiteY1936" fmla="*/ 6380831 h 6757249"/>
              <a:gd name="connsiteX1937" fmla="*/ 3596106 w 11951120"/>
              <a:gd name="connsiteY1937" fmla="*/ 6339134 h 6757249"/>
              <a:gd name="connsiteX1938" fmla="*/ 3587104 w 11951120"/>
              <a:gd name="connsiteY1938" fmla="*/ 6330936 h 6757249"/>
              <a:gd name="connsiteX1939" fmla="*/ 3585916 w 11951120"/>
              <a:gd name="connsiteY1939" fmla="*/ 6338039 h 6757249"/>
              <a:gd name="connsiteX1940" fmla="*/ 3489004 w 11951120"/>
              <a:gd name="connsiteY1940" fmla="*/ 6289728 h 6757249"/>
              <a:gd name="connsiteX1941" fmla="*/ 3475149 w 11951120"/>
              <a:gd name="connsiteY1941" fmla="*/ 6278570 h 6757249"/>
              <a:gd name="connsiteX1942" fmla="*/ 3472833 w 11951120"/>
              <a:gd name="connsiteY1942" fmla="*/ 6280164 h 6757249"/>
              <a:gd name="connsiteX1943" fmla="*/ 3488430 w 11951120"/>
              <a:gd name="connsiteY1943" fmla="*/ 6291484 h 6757249"/>
              <a:gd name="connsiteX1944" fmla="*/ 3458306 w 11951120"/>
              <a:gd name="connsiteY1944" fmla="*/ 6290166 h 6757249"/>
              <a:gd name="connsiteX1945" fmla="*/ 3447663 w 11951120"/>
              <a:gd name="connsiteY1945" fmla="*/ 6297494 h 6757249"/>
              <a:gd name="connsiteX1946" fmla="*/ 3407398 w 11951120"/>
              <a:gd name="connsiteY1946" fmla="*/ 6307572 h 6757249"/>
              <a:gd name="connsiteX1947" fmla="*/ 3407006 w 11951120"/>
              <a:gd name="connsiteY1947" fmla="*/ 6301316 h 6757249"/>
              <a:gd name="connsiteX1948" fmla="*/ 3392825 w 11951120"/>
              <a:gd name="connsiteY1948" fmla="*/ 6313828 h 6757249"/>
              <a:gd name="connsiteX1949" fmla="*/ 3392258 w 11951120"/>
              <a:gd name="connsiteY1949" fmla="*/ 6313786 h 6757249"/>
              <a:gd name="connsiteX1950" fmla="*/ 3392780 w 11951120"/>
              <a:gd name="connsiteY1950" fmla="*/ 6346276 h 6757249"/>
              <a:gd name="connsiteX1951" fmla="*/ 3370449 w 11951120"/>
              <a:gd name="connsiteY1951" fmla="*/ 6360495 h 6757249"/>
              <a:gd name="connsiteX1952" fmla="*/ 3370449 w 11951120"/>
              <a:gd name="connsiteY1952" fmla="*/ 6286121 h 6757249"/>
              <a:gd name="connsiteX1953" fmla="*/ 3371145 w 11951120"/>
              <a:gd name="connsiteY1953" fmla="*/ 6286961 h 6757249"/>
              <a:gd name="connsiteX1954" fmla="*/ 3403789 w 11951120"/>
              <a:gd name="connsiteY1954" fmla="*/ 6250035 h 6757249"/>
              <a:gd name="connsiteX1955" fmla="*/ 3403069 w 11951120"/>
              <a:gd name="connsiteY1955" fmla="*/ 6238573 h 6757249"/>
              <a:gd name="connsiteX1956" fmla="*/ 3342861 w 11951120"/>
              <a:gd name="connsiteY1956" fmla="*/ 6211064 h 6757249"/>
              <a:gd name="connsiteX1957" fmla="*/ 3318583 w 11951120"/>
              <a:gd name="connsiteY1957" fmla="*/ 6178495 h 6757249"/>
              <a:gd name="connsiteX1958" fmla="*/ 3334413 w 11951120"/>
              <a:gd name="connsiteY1958" fmla="*/ 6144566 h 6757249"/>
              <a:gd name="connsiteX1959" fmla="*/ 3332611 w 11951120"/>
              <a:gd name="connsiteY1959" fmla="*/ 6143410 h 6757249"/>
              <a:gd name="connsiteX1960" fmla="*/ 3301041 w 11951120"/>
              <a:gd name="connsiteY1960" fmla="*/ 6141974 h 6757249"/>
              <a:gd name="connsiteX1961" fmla="*/ 3230969 w 11951120"/>
              <a:gd name="connsiteY1961" fmla="*/ 6168351 h 6757249"/>
              <a:gd name="connsiteX1962" fmla="*/ 3230590 w 11951120"/>
              <a:gd name="connsiteY1962" fmla="*/ 6168419 h 6757249"/>
              <a:gd name="connsiteX1963" fmla="*/ 3231021 w 11951120"/>
              <a:gd name="connsiteY1963" fmla="*/ 6168767 h 6757249"/>
              <a:gd name="connsiteX1964" fmla="*/ 3178159 w 11951120"/>
              <a:gd name="connsiteY1964" fmla="*/ 6221322 h 6757249"/>
              <a:gd name="connsiteX1965" fmla="*/ 3177219 w 11951120"/>
              <a:gd name="connsiteY1965" fmla="*/ 6221747 h 6757249"/>
              <a:gd name="connsiteX1966" fmla="*/ 3166093 w 11951120"/>
              <a:gd name="connsiteY1966" fmla="*/ 6258247 h 6757249"/>
              <a:gd name="connsiteX1967" fmla="*/ 3142536 w 11951120"/>
              <a:gd name="connsiteY1967" fmla="*/ 6281801 h 6757249"/>
              <a:gd name="connsiteX1968" fmla="*/ 3082578 w 11951120"/>
              <a:gd name="connsiteY1968" fmla="*/ 6312403 h 6757249"/>
              <a:gd name="connsiteX1969" fmla="*/ 3082653 w 11951120"/>
              <a:gd name="connsiteY1969" fmla="*/ 6313168 h 6757249"/>
              <a:gd name="connsiteX1970" fmla="*/ 3033495 w 11951120"/>
              <a:gd name="connsiteY1970" fmla="*/ 6335318 h 6757249"/>
              <a:gd name="connsiteX1971" fmla="*/ 3032529 w 11951120"/>
              <a:gd name="connsiteY1971" fmla="*/ 6335228 h 6757249"/>
              <a:gd name="connsiteX1972" fmla="*/ 3020890 w 11951120"/>
              <a:gd name="connsiteY1972" fmla="*/ 6369244 h 6757249"/>
              <a:gd name="connsiteX1973" fmla="*/ 2990014 w 11951120"/>
              <a:gd name="connsiteY1973" fmla="*/ 6370347 h 6757249"/>
              <a:gd name="connsiteX1974" fmla="*/ 2968722 w 11951120"/>
              <a:gd name="connsiteY1974" fmla="*/ 6343297 h 6757249"/>
              <a:gd name="connsiteX1975" fmla="*/ 2985165 w 11951120"/>
              <a:gd name="connsiteY1975" fmla="*/ 6313989 h 6757249"/>
              <a:gd name="connsiteX1976" fmla="*/ 2984337 w 11951120"/>
              <a:gd name="connsiteY1976" fmla="*/ 6313168 h 6757249"/>
              <a:gd name="connsiteX1977" fmla="*/ 3033289 w 11951120"/>
              <a:gd name="connsiteY1977" fmla="*/ 6264642 h 6757249"/>
              <a:gd name="connsiteX1978" fmla="*/ 3003106 w 11951120"/>
              <a:gd name="connsiteY1978" fmla="*/ 6243022 h 6757249"/>
              <a:gd name="connsiteX1979" fmla="*/ 3011820 w 11951120"/>
              <a:gd name="connsiteY1979" fmla="*/ 6234282 h 6757249"/>
              <a:gd name="connsiteX1980" fmla="*/ 3014108 w 11951120"/>
              <a:gd name="connsiteY1980" fmla="*/ 6231748 h 6757249"/>
              <a:gd name="connsiteX1981" fmla="*/ 3013211 w 11951120"/>
              <a:gd name="connsiteY1981" fmla="*/ 6231966 h 6757249"/>
              <a:gd name="connsiteX1982" fmla="*/ 3003379 w 11951120"/>
              <a:gd name="connsiteY1982" fmla="*/ 6241950 h 6757249"/>
              <a:gd name="connsiteX1983" fmla="*/ 2819516 w 11951120"/>
              <a:gd name="connsiteY1983" fmla="*/ 6339748 h 6757249"/>
              <a:gd name="connsiteX1984" fmla="*/ 2815138 w 11951120"/>
              <a:gd name="connsiteY1984" fmla="*/ 6330857 h 6757249"/>
              <a:gd name="connsiteX1985" fmla="*/ 2815187 w 11951120"/>
              <a:gd name="connsiteY1985" fmla="*/ 6330295 h 6757249"/>
              <a:gd name="connsiteX1986" fmla="*/ 2814552 w 11951120"/>
              <a:gd name="connsiteY1986" fmla="*/ 6331352 h 6757249"/>
              <a:gd name="connsiteX1987" fmla="*/ 2761734 w 11951120"/>
              <a:gd name="connsiteY1987" fmla="*/ 6340155 h 6757249"/>
              <a:gd name="connsiteX1988" fmla="*/ 2761307 w 11951120"/>
              <a:gd name="connsiteY1988" fmla="*/ 6339572 h 6757249"/>
              <a:gd name="connsiteX1989" fmla="*/ 2696163 w 11951120"/>
              <a:gd name="connsiteY1989" fmla="*/ 6361199 h 6757249"/>
              <a:gd name="connsiteX1990" fmla="*/ 2688508 w 11951120"/>
              <a:gd name="connsiteY1990" fmla="*/ 6316538 h 6757249"/>
              <a:gd name="connsiteX1991" fmla="*/ 2726398 w 11951120"/>
              <a:gd name="connsiteY1991" fmla="*/ 6291739 h 6757249"/>
              <a:gd name="connsiteX1992" fmla="*/ 2722121 w 11951120"/>
              <a:gd name="connsiteY1992" fmla="*/ 6291739 h 6757249"/>
              <a:gd name="connsiteX1993" fmla="*/ 2723104 w 11951120"/>
              <a:gd name="connsiteY1993" fmla="*/ 6290293 h 6757249"/>
              <a:gd name="connsiteX1994" fmla="*/ 2724510 w 11951120"/>
              <a:gd name="connsiteY1994" fmla="*/ 6245576 h 6757249"/>
              <a:gd name="connsiteX1995" fmla="*/ 2734073 w 11951120"/>
              <a:gd name="connsiteY1995" fmla="*/ 6233002 h 6757249"/>
              <a:gd name="connsiteX1996" fmla="*/ 2724247 w 11951120"/>
              <a:gd name="connsiteY1996" fmla="*/ 6226838 h 6757249"/>
              <a:gd name="connsiteX1997" fmla="*/ 2712122 w 11951120"/>
              <a:gd name="connsiteY1997" fmla="*/ 6202138 h 6757249"/>
              <a:gd name="connsiteX1998" fmla="*/ 2710263 w 11951120"/>
              <a:gd name="connsiteY1998" fmla="*/ 6186647 h 6757249"/>
              <a:gd name="connsiteX1999" fmla="*/ 2697282 w 11951120"/>
              <a:gd name="connsiteY1999" fmla="*/ 6194383 h 6757249"/>
              <a:gd name="connsiteX2000" fmla="*/ 2673891 w 11951120"/>
              <a:gd name="connsiteY2000" fmla="*/ 6197390 h 6757249"/>
              <a:gd name="connsiteX2001" fmla="*/ 2645346 w 11951120"/>
              <a:gd name="connsiteY2001" fmla="*/ 6190674 h 6757249"/>
              <a:gd name="connsiteX2002" fmla="*/ 2643430 w 11951120"/>
              <a:gd name="connsiteY2002" fmla="*/ 6193128 h 6757249"/>
              <a:gd name="connsiteX2003" fmla="*/ 2561803 w 11951120"/>
              <a:gd name="connsiteY2003" fmla="*/ 6237857 h 6757249"/>
              <a:gd name="connsiteX2004" fmla="*/ 2561803 w 11951120"/>
              <a:gd name="connsiteY2004" fmla="*/ 6236089 h 6757249"/>
              <a:gd name="connsiteX2005" fmla="*/ 2561333 w 11951120"/>
              <a:gd name="connsiteY2005" fmla="*/ 6237972 h 6757249"/>
              <a:gd name="connsiteX2006" fmla="*/ 2561333 w 11951120"/>
              <a:gd name="connsiteY2006" fmla="*/ 6286294 h 6757249"/>
              <a:gd name="connsiteX2007" fmla="*/ 2453058 w 11951120"/>
              <a:gd name="connsiteY2007" fmla="*/ 6241198 h 6757249"/>
              <a:gd name="connsiteX2008" fmla="*/ 2450065 w 11951120"/>
              <a:gd name="connsiteY2008" fmla="*/ 6237859 h 6757249"/>
              <a:gd name="connsiteX2009" fmla="*/ 2433614 w 11951120"/>
              <a:gd name="connsiteY2009" fmla="*/ 6237859 h 6757249"/>
              <a:gd name="connsiteX2010" fmla="*/ 2434213 w 11951120"/>
              <a:gd name="connsiteY2010" fmla="*/ 6222869 h 6757249"/>
              <a:gd name="connsiteX2011" fmla="*/ 2421340 w 11951120"/>
              <a:gd name="connsiteY2011" fmla="*/ 6216008 h 6757249"/>
              <a:gd name="connsiteX2012" fmla="*/ 2434464 w 11951120"/>
              <a:gd name="connsiteY2012" fmla="*/ 6162195 h 6757249"/>
              <a:gd name="connsiteX2013" fmla="*/ 2454910 w 11951120"/>
              <a:gd name="connsiteY2013" fmla="*/ 6152166 h 6757249"/>
              <a:gd name="connsiteX2014" fmla="*/ 2453799 w 11951120"/>
              <a:gd name="connsiteY2014" fmla="*/ 6146692 h 6757249"/>
              <a:gd name="connsiteX2015" fmla="*/ 2384968 w 11951120"/>
              <a:gd name="connsiteY2015" fmla="*/ 6146692 h 6757249"/>
              <a:gd name="connsiteX2016" fmla="*/ 2383625 w 11951120"/>
              <a:gd name="connsiteY2016" fmla="*/ 6146477 h 6757249"/>
              <a:gd name="connsiteX2017" fmla="*/ 2374628 w 11951120"/>
              <a:gd name="connsiteY2017" fmla="*/ 6173216 h 6757249"/>
              <a:gd name="connsiteX2018" fmla="*/ 2356584 w 11951120"/>
              <a:gd name="connsiteY2018" fmla="*/ 6191177 h 6757249"/>
              <a:gd name="connsiteX2019" fmla="*/ 2310394 w 11951120"/>
              <a:gd name="connsiteY2019" fmla="*/ 6216148 h 6757249"/>
              <a:gd name="connsiteX2020" fmla="*/ 2310392 w 11951120"/>
              <a:gd name="connsiteY2020" fmla="*/ 6216157 h 6757249"/>
              <a:gd name="connsiteX2021" fmla="*/ 2213966 w 11951120"/>
              <a:gd name="connsiteY2021" fmla="*/ 6312936 h 6757249"/>
              <a:gd name="connsiteX2022" fmla="*/ 2165753 w 11951120"/>
              <a:gd name="connsiteY2022" fmla="*/ 6312936 h 6757249"/>
              <a:gd name="connsiteX2023" fmla="*/ 2192051 w 11951120"/>
              <a:gd name="connsiteY2023" fmla="*/ 6167767 h 6757249"/>
              <a:gd name="connsiteX2024" fmla="*/ 2191994 w 11951120"/>
              <a:gd name="connsiteY2024" fmla="*/ 6167588 h 6757249"/>
              <a:gd name="connsiteX2025" fmla="*/ 2191732 w 11951120"/>
              <a:gd name="connsiteY2025" fmla="*/ 6168375 h 6757249"/>
              <a:gd name="connsiteX2026" fmla="*/ 2122436 w 11951120"/>
              <a:gd name="connsiteY2026" fmla="*/ 6194396 h 6757249"/>
              <a:gd name="connsiteX2027" fmla="*/ 2122255 w 11951120"/>
              <a:gd name="connsiteY2027" fmla="*/ 6194640 h 6757249"/>
              <a:gd name="connsiteX2028" fmla="*/ 2016432 w 11951120"/>
              <a:gd name="connsiteY2028" fmla="*/ 6282966 h 6757249"/>
              <a:gd name="connsiteX2029" fmla="*/ 1972338 w 11951120"/>
              <a:gd name="connsiteY2029" fmla="*/ 6238803 h 6757249"/>
              <a:gd name="connsiteX2030" fmla="*/ 1972221 w 11951120"/>
              <a:gd name="connsiteY2030" fmla="*/ 6237972 h 6757249"/>
              <a:gd name="connsiteX2031" fmla="*/ 1936828 w 11951120"/>
              <a:gd name="connsiteY2031" fmla="*/ 6263171 h 6757249"/>
              <a:gd name="connsiteX2032" fmla="*/ 1832077 w 11951120"/>
              <a:gd name="connsiteY2032" fmla="*/ 6339750 h 6757249"/>
              <a:gd name="connsiteX2033" fmla="*/ 1828204 w 11951120"/>
              <a:gd name="connsiteY2033" fmla="*/ 6333880 h 6757249"/>
              <a:gd name="connsiteX2034" fmla="*/ 1827904 w 11951120"/>
              <a:gd name="connsiteY2034" fmla="*/ 6334385 h 6757249"/>
              <a:gd name="connsiteX2035" fmla="*/ 1825324 w 11951120"/>
              <a:gd name="connsiteY2035" fmla="*/ 6334385 h 6757249"/>
              <a:gd name="connsiteX2036" fmla="*/ 1826985 w 11951120"/>
              <a:gd name="connsiteY2036" fmla="*/ 6335458 h 6757249"/>
              <a:gd name="connsiteX2037" fmla="*/ 1831359 w 11951120"/>
              <a:gd name="connsiteY2037" fmla="*/ 6339748 h 6757249"/>
              <a:gd name="connsiteX2038" fmla="*/ 1779575 w 11951120"/>
              <a:gd name="connsiteY2038" fmla="*/ 6382065 h 6757249"/>
              <a:gd name="connsiteX2039" fmla="*/ 1780415 w 11951120"/>
              <a:gd name="connsiteY2039" fmla="*/ 6383780 h 6757249"/>
              <a:gd name="connsiteX2040" fmla="*/ 1741937 w 11951120"/>
              <a:gd name="connsiteY2040" fmla="*/ 6426435 h 6757249"/>
              <a:gd name="connsiteX2041" fmla="*/ 1683736 w 11951120"/>
              <a:gd name="connsiteY2041" fmla="*/ 6436268 h 6757249"/>
              <a:gd name="connsiteX2042" fmla="*/ 1662037 w 11951120"/>
              <a:gd name="connsiteY2042" fmla="*/ 6505991 h 6757249"/>
              <a:gd name="connsiteX2043" fmla="*/ 1565905 w 11951120"/>
              <a:gd name="connsiteY2043" fmla="*/ 6457728 h 6757249"/>
              <a:gd name="connsiteX2044" fmla="*/ 1569136 w 11951120"/>
              <a:gd name="connsiteY2044" fmla="*/ 6452861 h 6757249"/>
              <a:gd name="connsiteX2045" fmla="*/ 1565905 w 11951120"/>
              <a:gd name="connsiteY2045" fmla="*/ 6452581 h 6757249"/>
              <a:gd name="connsiteX2046" fmla="*/ 1566140 w 11951120"/>
              <a:gd name="connsiteY2046" fmla="*/ 6452287 h 6757249"/>
              <a:gd name="connsiteX2047" fmla="*/ 1564566 w 11951120"/>
              <a:gd name="connsiteY2047" fmla="*/ 6453294 h 6757249"/>
              <a:gd name="connsiteX2048" fmla="*/ 1564566 w 11951120"/>
              <a:gd name="connsiteY2048" fmla="*/ 6457728 h 6757249"/>
              <a:gd name="connsiteX2049" fmla="*/ 1555947 w 11951120"/>
              <a:gd name="connsiteY2049" fmla="*/ 6457728 h 6757249"/>
              <a:gd name="connsiteX2050" fmla="*/ 1543019 w 11951120"/>
              <a:gd name="connsiteY2050" fmla="*/ 6457728 h 6757249"/>
              <a:gd name="connsiteX2051" fmla="*/ 1541647 w 11951120"/>
              <a:gd name="connsiteY2051" fmla="*/ 6457728 h 6757249"/>
              <a:gd name="connsiteX2052" fmla="*/ 1511534 w 11951120"/>
              <a:gd name="connsiteY2052" fmla="*/ 6521510 h 6757249"/>
              <a:gd name="connsiteX2053" fmla="*/ 1468335 w 11951120"/>
              <a:gd name="connsiteY2053" fmla="*/ 6575707 h 6757249"/>
              <a:gd name="connsiteX2054" fmla="*/ 1472655 w 11951120"/>
              <a:gd name="connsiteY2054" fmla="*/ 6479357 h 6757249"/>
              <a:gd name="connsiteX2055" fmla="*/ 1472875 w 11951120"/>
              <a:gd name="connsiteY2055" fmla="*/ 6478957 h 6757249"/>
              <a:gd name="connsiteX2056" fmla="*/ 1443450 w 11951120"/>
              <a:gd name="connsiteY2056" fmla="*/ 6458023 h 6757249"/>
              <a:gd name="connsiteX2057" fmla="*/ 1441383 w 11951120"/>
              <a:gd name="connsiteY2057" fmla="*/ 6457935 h 6757249"/>
              <a:gd name="connsiteX2058" fmla="*/ 1375423 w 11951120"/>
              <a:gd name="connsiteY2058" fmla="*/ 6466735 h 6757249"/>
              <a:gd name="connsiteX2059" fmla="*/ 1318255 w 11951120"/>
              <a:gd name="connsiteY2059" fmla="*/ 6444734 h 6757249"/>
              <a:gd name="connsiteX2060" fmla="*/ 1344640 w 11951120"/>
              <a:gd name="connsiteY2060" fmla="*/ 6409532 h 6757249"/>
              <a:gd name="connsiteX2061" fmla="*/ 1344640 w 11951120"/>
              <a:gd name="connsiteY2061" fmla="*/ 6408943 h 6757249"/>
              <a:gd name="connsiteX2062" fmla="*/ 1313408 w 11951120"/>
              <a:gd name="connsiteY2062" fmla="*/ 6380831 h 6757249"/>
              <a:gd name="connsiteX2063" fmla="*/ 1297827 w 11951120"/>
              <a:gd name="connsiteY2063" fmla="*/ 6339134 h 6757249"/>
              <a:gd name="connsiteX2064" fmla="*/ 1253804 w 11951120"/>
              <a:gd name="connsiteY2064" fmla="*/ 6299043 h 6757249"/>
              <a:gd name="connsiteX2065" fmla="*/ 1260112 w 11951120"/>
              <a:gd name="connsiteY2065" fmla="*/ 6267074 h 6757249"/>
              <a:gd name="connsiteX2066" fmla="*/ 1318384 w 11951120"/>
              <a:gd name="connsiteY2066" fmla="*/ 6212954 h 6757249"/>
              <a:gd name="connsiteX2067" fmla="*/ 1318264 w 11951120"/>
              <a:gd name="connsiteY2067" fmla="*/ 6211989 h 6757249"/>
              <a:gd name="connsiteX2068" fmla="*/ 1322669 w 11951120"/>
              <a:gd name="connsiteY2068" fmla="*/ 6189909 h 6757249"/>
              <a:gd name="connsiteX2069" fmla="*/ 1323588 w 11951120"/>
              <a:gd name="connsiteY2069" fmla="*/ 6188804 h 6757249"/>
              <a:gd name="connsiteX2070" fmla="*/ 1323512 w 11951120"/>
              <a:gd name="connsiteY2070" fmla="*/ 6188838 h 6757249"/>
              <a:gd name="connsiteX2071" fmla="*/ 1273491 w 11951120"/>
              <a:gd name="connsiteY2071" fmla="*/ 6192113 h 6757249"/>
              <a:gd name="connsiteX2072" fmla="*/ 1227059 w 11951120"/>
              <a:gd name="connsiteY2072" fmla="*/ 6214891 h 6757249"/>
              <a:gd name="connsiteX2073" fmla="*/ 1228056 w 11951120"/>
              <a:gd name="connsiteY2073" fmla="*/ 6215432 h 6757249"/>
              <a:gd name="connsiteX2074" fmla="*/ 1109119 w 11951120"/>
              <a:gd name="connsiteY2074" fmla="*/ 6307572 h 6757249"/>
              <a:gd name="connsiteX2075" fmla="*/ 1104790 w 11951120"/>
              <a:gd name="connsiteY2075" fmla="*/ 6238573 h 6757249"/>
              <a:gd name="connsiteX2076" fmla="*/ 1044581 w 11951120"/>
              <a:gd name="connsiteY2076" fmla="*/ 6211064 h 6757249"/>
              <a:gd name="connsiteX2077" fmla="*/ 1040938 w 11951120"/>
              <a:gd name="connsiteY2077" fmla="*/ 6134267 h 6757249"/>
              <a:gd name="connsiteX2078" fmla="*/ 1078595 w 11951120"/>
              <a:gd name="connsiteY2078" fmla="*/ 6093257 h 6757249"/>
              <a:gd name="connsiteX2079" fmla="*/ 1082929 w 11951120"/>
              <a:gd name="connsiteY2079" fmla="*/ 6075566 h 6757249"/>
              <a:gd name="connsiteX2080" fmla="*/ 1082583 w 11951120"/>
              <a:gd name="connsiteY2080" fmla="*/ 6073804 h 6757249"/>
              <a:gd name="connsiteX2081" fmla="*/ 1053217 w 11951120"/>
              <a:gd name="connsiteY2081" fmla="*/ 6059280 h 6757249"/>
              <a:gd name="connsiteX2082" fmla="*/ 968754 w 11951120"/>
              <a:gd name="connsiteY2082" fmla="*/ 6005346 h 6757249"/>
              <a:gd name="connsiteX2083" fmla="*/ 968287 w 11951120"/>
              <a:gd name="connsiteY2083" fmla="*/ 6004662 h 6757249"/>
              <a:gd name="connsiteX2084" fmla="*/ 908401 w 11951120"/>
              <a:gd name="connsiteY2084" fmla="*/ 6044096 h 6757249"/>
              <a:gd name="connsiteX2085" fmla="*/ 844160 w 11951120"/>
              <a:gd name="connsiteY2085" fmla="*/ 6072830 h 6757249"/>
              <a:gd name="connsiteX2086" fmla="*/ 842365 w 11951120"/>
              <a:gd name="connsiteY2086" fmla="*/ 6075615 h 6757249"/>
              <a:gd name="connsiteX2087" fmla="*/ 772123 w 11951120"/>
              <a:gd name="connsiteY2087" fmla="*/ 6167439 h 6757249"/>
              <a:gd name="connsiteX2088" fmla="*/ 754564 w 11951120"/>
              <a:gd name="connsiteY2088" fmla="*/ 6045006 h 6757249"/>
              <a:gd name="connsiteX2089" fmla="*/ 552621 w 11951120"/>
              <a:gd name="connsiteY2089" fmla="*/ 6167439 h 6757249"/>
              <a:gd name="connsiteX2090" fmla="*/ 552351 w 11951120"/>
              <a:gd name="connsiteY2090" fmla="*/ 6167448 h 6757249"/>
              <a:gd name="connsiteX2091" fmla="*/ 533295 w 11951120"/>
              <a:gd name="connsiteY2091" fmla="*/ 6185162 h 6757249"/>
              <a:gd name="connsiteX2092" fmla="*/ 504427 w 11951120"/>
              <a:gd name="connsiteY2092" fmla="*/ 6189593 h 6757249"/>
              <a:gd name="connsiteX2093" fmla="*/ 504253 w 11951120"/>
              <a:gd name="connsiteY2093" fmla="*/ 6189027 h 6757249"/>
              <a:gd name="connsiteX2094" fmla="*/ 504196 w 11951120"/>
              <a:gd name="connsiteY2094" fmla="*/ 6190130 h 6757249"/>
              <a:gd name="connsiteX2095" fmla="*/ 450981 w 11951120"/>
              <a:gd name="connsiteY2095" fmla="*/ 6242531 h 6757249"/>
              <a:gd name="connsiteX2096" fmla="*/ 406636 w 11951120"/>
              <a:gd name="connsiteY2096" fmla="*/ 6142096 h 6757249"/>
              <a:gd name="connsiteX2097" fmla="*/ 406722 w 11951120"/>
              <a:gd name="connsiteY2097" fmla="*/ 6141511 h 6757249"/>
              <a:gd name="connsiteX2098" fmla="*/ 363536 w 11951120"/>
              <a:gd name="connsiteY2098" fmla="*/ 6167185 h 6757249"/>
              <a:gd name="connsiteX2099" fmla="*/ 364665 w 11951120"/>
              <a:gd name="connsiteY2099" fmla="*/ 6168142 h 6757249"/>
              <a:gd name="connsiteX2100" fmla="*/ 263524 w 11951120"/>
              <a:gd name="connsiteY2100" fmla="*/ 6237857 h 6757249"/>
              <a:gd name="connsiteX2101" fmla="*/ 263524 w 11951120"/>
              <a:gd name="connsiteY2101" fmla="*/ 6236089 h 6757249"/>
              <a:gd name="connsiteX2102" fmla="*/ 263054 w 11951120"/>
              <a:gd name="connsiteY2102" fmla="*/ 6237972 h 6757249"/>
              <a:gd name="connsiteX2103" fmla="*/ 263054 w 11951120"/>
              <a:gd name="connsiteY2103" fmla="*/ 6286294 h 6757249"/>
              <a:gd name="connsiteX2104" fmla="*/ 123060 w 11951120"/>
              <a:gd name="connsiteY2104" fmla="*/ 6216008 h 6757249"/>
              <a:gd name="connsiteX2105" fmla="*/ 188683 w 11951120"/>
              <a:gd name="connsiteY2105" fmla="*/ 6141329 h 6757249"/>
              <a:gd name="connsiteX2106" fmla="*/ 197366 w 11951120"/>
              <a:gd name="connsiteY2106" fmla="*/ 6143935 h 6757249"/>
              <a:gd name="connsiteX2107" fmla="*/ 198416 w 11951120"/>
              <a:gd name="connsiteY2107" fmla="*/ 6138079 h 6757249"/>
              <a:gd name="connsiteX2108" fmla="*/ 262517 w 11951120"/>
              <a:gd name="connsiteY2108" fmla="*/ 6119494 h 6757249"/>
              <a:gd name="connsiteX2109" fmla="*/ 262824 w 11951120"/>
              <a:gd name="connsiteY2109" fmla="*/ 6120207 h 6757249"/>
              <a:gd name="connsiteX2110" fmla="*/ 262772 w 11951120"/>
              <a:gd name="connsiteY2110" fmla="*/ 6119390 h 6757249"/>
              <a:gd name="connsiteX2111" fmla="*/ 289352 w 11951120"/>
              <a:gd name="connsiteY2111" fmla="*/ 6071126 h 6757249"/>
              <a:gd name="connsiteX2112" fmla="*/ 290207 w 11951120"/>
              <a:gd name="connsiteY2112" fmla="*/ 6070740 h 6757249"/>
              <a:gd name="connsiteX2113" fmla="*/ 358773 w 11951120"/>
              <a:gd name="connsiteY2113" fmla="*/ 5974457 h 6757249"/>
              <a:gd name="connsiteX2114" fmla="*/ 336037 w 11951120"/>
              <a:gd name="connsiteY2114" fmla="*/ 5960179 h 6757249"/>
              <a:gd name="connsiteX2115" fmla="*/ 328860 w 11951120"/>
              <a:gd name="connsiteY2115" fmla="*/ 5935339 h 6757249"/>
              <a:gd name="connsiteX2116" fmla="*/ 348734 w 11951120"/>
              <a:gd name="connsiteY2116" fmla="*/ 5909392 h 6757249"/>
              <a:gd name="connsiteX2117" fmla="*/ 380756 w 11951120"/>
              <a:gd name="connsiteY2117" fmla="*/ 5900320 h 6757249"/>
              <a:gd name="connsiteX2118" fmla="*/ 385109 w 11951120"/>
              <a:gd name="connsiteY2118" fmla="*/ 5878557 h 6757249"/>
              <a:gd name="connsiteX2119" fmla="*/ 386901 w 11951120"/>
              <a:gd name="connsiteY2119" fmla="*/ 5878557 h 6757249"/>
              <a:gd name="connsiteX2120" fmla="*/ 385577 w 11951120"/>
              <a:gd name="connsiteY2120" fmla="*/ 5877780 h 6757249"/>
              <a:gd name="connsiteX2121" fmla="*/ 359300 w 11951120"/>
              <a:gd name="connsiteY2121" fmla="*/ 5851311 h 6757249"/>
              <a:gd name="connsiteX2122" fmla="*/ 360334 w 11951120"/>
              <a:gd name="connsiteY2122" fmla="*/ 5849656 h 6757249"/>
              <a:gd name="connsiteX2123" fmla="*/ 359300 w 11951120"/>
              <a:gd name="connsiteY2123" fmla="*/ 5850080 h 6757249"/>
              <a:gd name="connsiteX2124" fmla="*/ 315728 w 11951120"/>
              <a:gd name="connsiteY2124" fmla="*/ 5854426 h 6757249"/>
              <a:gd name="connsiteX2125" fmla="*/ 315026 w 11951120"/>
              <a:gd name="connsiteY2125" fmla="*/ 5853725 h 6757249"/>
              <a:gd name="connsiteX2126" fmla="*/ 314509 w 11951120"/>
              <a:gd name="connsiteY2126" fmla="*/ 5855667 h 6757249"/>
              <a:gd name="connsiteX2127" fmla="*/ 313126 w 11951120"/>
              <a:gd name="connsiteY2127" fmla="*/ 5855981 h 6757249"/>
              <a:gd name="connsiteX2128" fmla="*/ 315695 w 11951120"/>
              <a:gd name="connsiteY2128" fmla="*/ 5856618 h 6757249"/>
              <a:gd name="connsiteX2129" fmla="*/ 304756 w 11951120"/>
              <a:gd name="connsiteY2129" fmla="*/ 5901592 h 6757249"/>
              <a:gd name="connsiteX2130" fmla="*/ 267962 w 11951120"/>
              <a:gd name="connsiteY2130" fmla="*/ 5926556 h 6757249"/>
              <a:gd name="connsiteX2131" fmla="*/ 268135 w 11951120"/>
              <a:gd name="connsiteY2131" fmla="*/ 5926899 h 6757249"/>
              <a:gd name="connsiteX2132" fmla="*/ 140530 w 11951120"/>
              <a:gd name="connsiteY2132" fmla="*/ 6040436 h 6757249"/>
              <a:gd name="connsiteX2133" fmla="*/ 139878 w 11951120"/>
              <a:gd name="connsiteY2133" fmla="*/ 6040223 h 6757249"/>
              <a:gd name="connsiteX2134" fmla="*/ 140388 w 11951120"/>
              <a:gd name="connsiteY2134" fmla="*/ 6041081 h 6757249"/>
              <a:gd name="connsiteX2135" fmla="*/ 144793 w 11951120"/>
              <a:gd name="connsiteY2135" fmla="*/ 6071960 h 6757249"/>
              <a:gd name="connsiteX2136" fmla="*/ 25856 w 11951120"/>
              <a:gd name="connsiteY2136" fmla="*/ 6094015 h 6757249"/>
              <a:gd name="connsiteX2137" fmla="*/ 25856 w 11951120"/>
              <a:gd name="connsiteY2137" fmla="*/ 6045493 h 6757249"/>
              <a:gd name="connsiteX2138" fmla="*/ 58688 w 11951120"/>
              <a:gd name="connsiteY2138" fmla="*/ 5982218 h 6757249"/>
              <a:gd name="connsiteX2139" fmla="*/ 96336 w 11951120"/>
              <a:gd name="connsiteY2139" fmla="*/ 5996968 h 6757249"/>
              <a:gd name="connsiteX2140" fmla="*/ 96670 w 11951120"/>
              <a:gd name="connsiteY2140" fmla="*/ 5997159 h 6757249"/>
              <a:gd name="connsiteX2141" fmla="*/ 96529 w 11951120"/>
              <a:gd name="connsiteY2141" fmla="*/ 5996767 h 6757249"/>
              <a:gd name="connsiteX2142" fmla="*/ 153731 w 11951120"/>
              <a:gd name="connsiteY2142" fmla="*/ 5926899 h 6757249"/>
              <a:gd name="connsiteX2143" fmla="*/ 158352 w 11951120"/>
              <a:gd name="connsiteY2143" fmla="*/ 5924350 h 6757249"/>
              <a:gd name="connsiteX2144" fmla="*/ 153220 w 11951120"/>
              <a:gd name="connsiteY2144" fmla="*/ 5925156 h 6757249"/>
              <a:gd name="connsiteX2145" fmla="*/ 0 w 11951120"/>
              <a:gd name="connsiteY2145" fmla="*/ 5803408 h 6757249"/>
              <a:gd name="connsiteX2146" fmla="*/ 48155 w 11951120"/>
              <a:gd name="connsiteY2146" fmla="*/ 5772970 h 6757249"/>
              <a:gd name="connsiteX2147" fmla="*/ 54521 w 11951120"/>
              <a:gd name="connsiteY2147" fmla="*/ 5775296 h 6757249"/>
              <a:gd name="connsiteX2148" fmla="*/ 77954 w 11951120"/>
              <a:gd name="connsiteY2148" fmla="*/ 5746407 h 6757249"/>
              <a:gd name="connsiteX2149" fmla="*/ 123344 w 11951120"/>
              <a:gd name="connsiteY2149" fmla="*/ 5733764 h 6757249"/>
              <a:gd name="connsiteX2150" fmla="*/ 123344 w 11951120"/>
              <a:gd name="connsiteY2150" fmla="*/ 5790497 h 6757249"/>
              <a:gd name="connsiteX2151" fmla="*/ 123548 w 11951120"/>
              <a:gd name="connsiteY2151" fmla="*/ 5790533 h 6757249"/>
              <a:gd name="connsiteX2152" fmla="*/ 123548 w 11951120"/>
              <a:gd name="connsiteY2152" fmla="*/ 5733381 h 6757249"/>
              <a:gd name="connsiteX2153" fmla="*/ 119218 w 11951120"/>
              <a:gd name="connsiteY2153" fmla="*/ 5733381 h 6757249"/>
              <a:gd name="connsiteX2154" fmla="*/ 187740 w 11951120"/>
              <a:gd name="connsiteY2154" fmla="*/ 5707248 h 6757249"/>
              <a:gd name="connsiteX2155" fmla="*/ 214161 w 11951120"/>
              <a:gd name="connsiteY2155" fmla="*/ 5685500 h 6757249"/>
              <a:gd name="connsiteX2156" fmla="*/ 216048 w 11951120"/>
              <a:gd name="connsiteY2156" fmla="*/ 5686615 h 6757249"/>
              <a:gd name="connsiteX2157" fmla="*/ 214508 w 11951120"/>
              <a:gd name="connsiteY2157" fmla="*/ 5684427 h 6757249"/>
              <a:gd name="connsiteX2158" fmla="*/ 238343 w 11951120"/>
              <a:gd name="connsiteY2158" fmla="*/ 5623041 h 6757249"/>
              <a:gd name="connsiteX2159" fmla="*/ 284354 w 11951120"/>
              <a:gd name="connsiteY2159" fmla="*/ 5579299 h 6757249"/>
              <a:gd name="connsiteX2160" fmla="*/ 284223 w 11951120"/>
              <a:gd name="connsiteY2160" fmla="*/ 5577604 h 6757249"/>
              <a:gd name="connsiteX2161" fmla="*/ 337850 w 11951120"/>
              <a:gd name="connsiteY2161" fmla="*/ 5538027 h 6757249"/>
              <a:gd name="connsiteX2162" fmla="*/ 337850 w 11951120"/>
              <a:gd name="connsiteY2162" fmla="*/ 5538130 h 6757249"/>
              <a:gd name="connsiteX2163" fmla="*/ 362771 w 11951120"/>
              <a:gd name="connsiteY2163" fmla="*/ 5517042 h 6757249"/>
              <a:gd name="connsiteX2164" fmla="*/ 362759 w 11951120"/>
              <a:gd name="connsiteY2164" fmla="*/ 5516848 h 6757249"/>
              <a:gd name="connsiteX2165" fmla="*/ 481487 w 11951120"/>
              <a:gd name="connsiteY2165" fmla="*/ 5368980 h 6757249"/>
              <a:gd name="connsiteX2166" fmla="*/ 445593 w 11951120"/>
              <a:gd name="connsiteY2166" fmla="*/ 5365695 h 6757249"/>
              <a:gd name="connsiteX2167" fmla="*/ 446097 w 11951120"/>
              <a:gd name="connsiteY2167" fmla="*/ 5371724 h 6757249"/>
              <a:gd name="connsiteX2168" fmla="*/ 411122 w 11951120"/>
              <a:gd name="connsiteY2168" fmla="*/ 5411071 h 6757249"/>
              <a:gd name="connsiteX2169" fmla="*/ 387837 w 11951120"/>
              <a:gd name="connsiteY2169" fmla="*/ 5425829 h 6757249"/>
              <a:gd name="connsiteX2170" fmla="*/ 383276 w 11951120"/>
              <a:gd name="connsiteY2170" fmla="*/ 5433982 h 6757249"/>
              <a:gd name="connsiteX2171" fmla="*/ 267829 w 11951120"/>
              <a:gd name="connsiteY2171" fmla="*/ 5513894 h 6757249"/>
              <a:gd name="connsiteX2172" fmla="*/ 267826 w 11951120"/>
              <a:gd name="connsiteY2172" fmla="*/ 5513889 h 6757249"/>
              <a:gd name="connsiteX2173" fmla="*/ 242189 w 11951120"/>
              <a:gd name="connsiteY2173" fmla="*/ 5553992 h 6757249"/>
              <a:gd name="connsiteX2174" fmla="*/ 193057 w 11951120"/>
              <a:gd name="connsiteY2174" fmla="*/ 5561670 h 6757249"/>
              <a:gd name="connsiteX2175" fmla="*/ 193057 w 11951120"/>
              <a:gd name="connsiteY2175" fmla="*/ 5560204 h 6757249"/>
              <a:gd name="connsiteX2176" fmla="*/ 96529 w 11951120"/>
              <a:gd name="connsiteY2176" fmla="*/ 5586289 h 6757249"/>
              <a:gd name="connsiteX2177" fmla="*/ 171285 w 11951120"/>
              <a:gd name="connsiteY2177" fmla="*/ 5516575 h 6757249"/>
              <a:gd name="connsiteX2178" fmla="*/ 171748 w 11951120"/>
              <a:gd name="connsiteY2178" fmla="*/ 5516575 h 6757249"/>
              <a:gd name="connsiteX2179" fmla="*/ 171606 w 11951120"/>
              <a:gd name="connsiteY2179" fmla="*/ 5516480 h 6757249"/>
              <a:gd name="connsiteX2180" fmla="*/ 193174 w 11951120"/>
              <a:gd name="connsiteY2180" fmla="*/ 5469077 h 6757249"/>
              <a:gd name="connsiteX2181" fmla="*/ 262189 w 11951120"/>
              <a:gd name="connsiteY2181" fmla="*/ 5417366 h 6757249"/>
              <a:gd name="connsiteX2182" fmla="*/ 262189 w 11951120"/>
              <a:gd name="connsiteY2182" fmla="*/ 5418653 h 6757249"/>
              <a:gd name="connsiteX2183" fmla="*/ 262481 w 11951120"/>
              <a:gd name="connsiteY2183" fmla="*/ 5415442 h 6757249"/>
              <a:gd name="connsiteX2184" fmla="*/ 288712 w 11951120"/>
              <a:gd name="connsiteY2184" fmla="*/ 5371724 h 6757249"/>
              <a:gd name="connsiteX2185" fmla="*/ 290035 w 11951120"/>
              <a:gd name="connsiteY2185" fmla="*/ 5370159 h 6757249"/>
              <a:gd name="connsiteX2186" fmla="*/ 302282 w 11951120"/>
              <a:gd name="connsiteY2186" fmla="*/ 5325962 h 6757249"/>
              <a:gd name="connsiteX2187" fmla="*/ 337049 w 11951120"/>
              <a:gd name="connsiteY2187" fmla="*/ 5297615 h 6757249"/>
              <a:gd name="connsiteX2188" fmla="*/ 316399 w 11951120"/>
              <a:gd name="connsiteY2188" fmla="*/ 5276552 h 6757249"/>
              <a:gd name="connsiteX2189" fmla="*/ 317639 w 11951120"/>
              <a:gd name="connsiteY2189" fmla="*/ 5274046 h 6757249"/>
              <a:gd name="connsiteX2190" fmla="*/ 315987 w 11951120"/>
              <a:gd name="connsiteY2190" fmla="*/ 5275253 h 6757249"/>
              <a:gd name="connsiteX2191" fmla="*/ 170328 w 11951120"/>
              <a:gd name="connsiteY2191" fmla="*/ 5200451 h 6757249"/>
              <a:gd name="connsiteX2192" fmla="*/ 214467 w 11951120"/>
              <a:gd name="connsiteY2192" fmla="*/ 5103647 h 6757249"/>
              <a:gd name="connsiteX2193" fmla="*/ 214893 w 11951120"/>
              <a:gd name="connsiteY2193" fmla="*/ 5103717 h 6757249"/>
              <a:gd name="connsiteX2194" fmla="*/ 262937 w 11951120"/>
              <a:gd name="connsiteY2194" fmla="*/ 5055214 h 6757249"/>
              <a:gd name="connsiteX2195" fmla="*/ 262772 w 11951120"/>
              <a:gd name="connsiteY2195" fmla="*/ 5055049 h 6757249"/>
              <a:gd name="connsiteX2196" fmla="*/ 305721 w 11951120"/>
              <a:gd name="connsiteY2196" fmla="*/ 4978253 h 6757249"/>
              <a:gd name="connsiteX2197" fmla="*/ 380760 w 11951120"/>
              <a:gd name="connsiteY2197" fmla="*/ 4937916 h 6757249"/>
              <a:gd name="connsiteX2198" fmla="*/ 381134 w 11951120"/>
              <a:gd name="connsiteY2198" fmla="*/ 4937255 h 6757249"/>
              <a:gd name="connsiteX2199" fmla="*/ 385492 w 11951120"/>
              <a:gd name="connsiteY2199" fmla="*/ 4915327 h 6757249"/>
              <a:gd name="connsiteX2200" fmla="*/ 359971 w 11951120"/>
              <a:gd name="connsiteY2200" fmla="*/ 4889525 h 6757249"/>
              <a:gd name="connsiteX2201" fmla="*/ 359300 w 11951120"/>
              <a:gd name="connsiteY2201" fmla="*/ 4887148 h 6757249"/>
              <a:gd name="connsiteX2202" fmla="*/ 359300 w 11951120"/>
              <a:gd name="connsiteY2202" fmla="*/ 4889408 h 6757249"/>
              <a:gd name="connsiteX2203" fmla="*/ 262772 w 11951120"/>
              <a:gd name="connsiteY2203" fmla="*/ 4862863 h 6757249"/>
              <a:gd name="connsiteX2204" fmla="*/ 263335 w 11951120"/>
              <a:gd name="connsiteY2204" fmla="*/ 4862605 h 6757249"/>
              <a:gd name="connsiteX2205" fmla="*/ 262772 w 11951120"/>
              <a:gd name="connsiteY2205" fmla="*/ 4862524 h 6757249"/>
              <a:gd name="connsiteX2206" fmla="*/ 341826 w 11951120"/>
              <a:gd name="connsiteY2206" fmla="*/ 4589505 h 6757249"/>
              <a:gd name="connsiteX2207" fmla="*/ 412095 w 11951120"/>
              <a:gd name="connsiteY2207" fmla="*/ 4514647 h 6757249"/>
              <a:gd name="connsiteX2208" fmla="*/ 504324 w 11951120"/>
              <a:gd name="connsiteY2208" fmla="*/ 4404559 h 6757249"/>
              <a:gd name="connsiteX2209" fmla="*/ 658038 w 11951120"/>
              <a:gd name="connsiteY2209" fmla="*/ 4338506 h 6757249"/>
              <a:gd name="connsiteX2210" fmla="*/ 662167 w 11951120"/>
              <a:gd name="connsiteY2210" fmla="*/ 4339178 h 6757249"/>
              <a:gd name="connsiteX2211" fmla="*/ 714133 w 11951120"/>
              <a:gd name="connsiteY2211" fmla="*/ 4276884 h 6757249"/>
              <a:gd name="connsiteX2212" fmla="*/ 761734 w 11951120"/>
              <a:gd name="connsiteY2212" fmla="*/ 4237260 h 6757249"/>
              <a:gd name="connsiteX2213" fmla="*/ 749222 w 11951120"/>
              <a:gd name="connsiteY2213" fmla="*/ 4229879 h 6757249"/>
              <a:gd name="connsiteX2214" fmla="*/ 748528 w 11951120"/>
              <a:gd name="connsiteY2214" fmla="*/ 4185453 h 6757249"/>
              <a:gd name="connsiteX2215" fmla="*/ 760611 w 11951120"/>
              <a:gd name="connsiteY2215" fmla="*/ 4160747 h 6757249"/>
              <a:gd name="connsiteX2216" fmla="*/ 748125 w 11951120"/>
              <a:gd name="connsiteY2216" fmla="*/ 4123975 h 6757249"/>
              <a:gd name="connsiteX2217" fmla="*/ 703256 w 11951120"/>
              <a:gd name="connsiteY2217" fmla="*/ 4145005 h 6757249"/>
              <a:gd name="connsiteX2218" fmla="*/ 552622 w 11951120"/>
              <a:gd name="connsiteY2218" fmla="*/ 4243389 h 6757249"/>
              <a:gd name="connsiteX2219" fmla="*/ 552352 w 11951120"/>
              <a:gd name="connsiteY2219" fmla="*/ 4243398 h 6757249"/>
              <a:gd name="connsiteX2220" fmla="*/ 533296 w 11951120"/>
              <a:gd name="connsiteY2220" fmla="*/ 4261112 h 6757249"/>
              <a:gd name="connsiteX2221" fmla="*/ 504428 w 11951120"/>
              <a:gd name="connsiteY2221" fmla="*/ 4265543 h 6757249"/>
              <a:gd name="connsiteX2222" fmla="*/ 504254 w 11951120"/>
              <a:gd name="connsiteY2222" fmla="*/ 4264977 h 6757249"/>
              <a:gd name="connsiteX2223" fmla="*/ 504197 w 11951120"/>
              <a:gd name="connsiteY2223" fmla="*/ 4266080 h 6757249"/>
              <a:gd name="connsiteX2224" fmla="*/ 450982 w 11951120"/>
              <a:gd name="connsiteY2224" fmla="*/ 4318481 h 6757249"/>
              <a:gd name="connsiteX2225" fmla="*/ 406637 w 11951120"/>
              <a:gd name="connsiteY2225" fmla="*/ 4218046 h 6757249"/>
              <a:gd name="connsiteX2226" fmla="*/ 406723 w 11951120"/>
              <a:gd name="connsiteY2226" fmla="*/ 4217461 h 6757249"/>
              <a:gd name="connsiteX2227" fmla="*/ 363537 w 11951120"/>
              <a:gd name="connsiteY2227" fmla="*/ 4243135 h 6757249"/>
              <a:gd name="connsiteX2228" fmla="*/ 364666 w 11951120"/>
              <a:gd name="connsiteY2228" fmla="*/ 4244092 h 6757249"/>
              <a:gd name="connsiteX2229" fmla="*/ 263525 w 11951120"/>
              <a:gd name="connsiteY2229" fmla="*/ 4313807 h 6757249"/>
              <a:gd name="connsiteX2230" fmla="*/ 263525 w 11951120"/>
              <a:gd name="connsiteY2230" fmla="*/ 4312039 h 6757249"/>
              <a:gd name="connsiteX2231" fmla="*/ 263055 w 11951120"/>
              <a:gd name="connsiteY2231" fmla="*/ 4313922 h 6757249"/>
              <a:gd name="connsiteX2232" fmla="*/ 263055 w 11951120"/>
              <a:gd name="connsiteY2232" fmla="*/ 4362244 h 6757249"/>
              <a:gd name="connsiteX2233" fmla="*/ 123061 w 11951120"/>
              <a:gd name="connsiteY2233" fmla="*/ 4291958 h 6757249"/>
              <a:gd name="connsiteX2234" fmla="*/ 188684 w 11951120"/>
              <a:gd name="connsiteY2234" fmla="*/ 4217279 h 6757249"/>
              <a:gd name="connsiteX2235" fmla="*/ 197367 w 11951120"/>
              <a:gd name="connsiteY2235" fmla="*/ 4219885 h 6757249"/>
              <a:gd name="connsiteX2236" fmla="*/ 198417 w 11951120"/>
              <a:gd name="connsiteY2236" fmla="*/ 4214029 h 6757249"/>
              <a:gd name="connsiteX2237" fmla="*/ 262518 w 11951120"/>
              <a:gd name="connsiteY2237" fmla="*/ 4195444 h 6757249"/>
              <a:gd name="connsiteX2238" fmla="*/ 262825 w 11951120"/>
              <a:gd name="connsiteY2238" fmla="*/ 4196157 h 6757249"/>
              <a:gd name="connsiteX2239" fmla="*/ 262773 w 11951120"/>
              <a:gd name="connsiteY2239" fmla="*/ 4195340 h 6757249"/>
              <a:gd name="connsiteX2240" fmla="*/ 289353 w 11951120"/>
              <a:gd name="connsiteY2240" fmla="*/ 4147076 h 6757249"/>
              <a:gd name="connsiteX2241" fmla="*/ 290208 w 11951120"/>
              <a:gd name="connsiteY2241" fmla="*/ 4146690 h 6757249"/>
              <a:gd name="connsiteX2242" fmla="*/ 358774 w 11951120"/>
              <a:gd name="connsiteY2242" fmla="*/ 4050407 h 6757249"/>
              <a:gd name="connsiteX2243" fmla="*/ 336038 w 11951120"/>
              <a:gd name="connsiteY2243" fmla="*/ 4036129 h 6757249"/>
              <a:gd name="connsiteX2244" fmla="*/ 328861 w 11951120"/>
              <a:gd name="connsiteY2244" fmla="*/ 4011289 h 6757249"/>
              <a:gd name="connsiteX2245" fmla="*/ 348735 w 11951120"/>
              <a:gd name="connsiteY2245" fmla="*/ 3985342 h 6757249"/>
              <a:gd name="connsiteX2246" fmla="*/ 380757 w 11951120"/>
              <a:gd name="connsiteY2246" fmla="*/ 3976270 h 6757249"/>
              <a:gd name="connsiteX2247" fmla="*/ 385110 w 11951120"/>
              <a:gd name="connsiteY2247" fmla="*/ 3954507 h 6757249"/>
              <a:gd name="connsiteX2248" fmla="*/ 386902 w 11951120"/>
              <a:gd name="connsiteY2248" fmla="*/ 3954507 h 6757249"/>
              <a:gd name="connsiteX2249" fmla="*/ 385578 w 11951120"/>
              <a:gd name="connsiteY2249" fmla="*/ 3953730 h 6757249"/>
              <a:gd name="connsiteX2250" fmla="*/ 359301 w 11951120"/>
              <a:gd name="connsiteY2250" fmla="*/ 3927261 h 6757249"/>
              <a:gd name="connsiteX2251" fmla="*/ 360335 w 11951120"/>
              <a:gd name="connsiteY2251" fmla="*/ 3925606 h 6757249"/>
              <a:gd name="connsiteX2252" fmla="*/ 359301 w 11951120"/>
              <a:gd name="connsiteY2252" fmla="*/ 3926030 h 6757249"/>
              <a:gd name="connsiteX2253" fmla="*/ 315729 w 11951120"/>
              <a:gd name="connsiteY2253" fmla="*/ 3930376 h 6757249"/>
              <a:gd name="connsiteX2254" fmla="*/ 315027 w 11951120"/>
              <a:gd name="connsiteY2254" fmla="*/ 3929675 h 6757249"/>
              <a:gd name="connsiteX2255" fmla="*/ 314510 w 11951120"/>
              <a:gd name="connsiteY2255" fmla="*/ 3931617 h 6757249"/>
              <a:gd name="connsiteX2256" fmla="*/ 313127 w 11951120"/>
              <a:gd name="connsiteY2256" fmla="*/ 3931931 h 6757249"/>
              <a:gd name="connsiteX2257" fmla="*/ 315696 w 11951120"/>
              <a:gd name="connsiteY2257" fmla="*/ 3932568 h 6757249"/>
              <a:gd name="connsiteX2258" fmla="*/ 304757 w 11951120"/>
              <a:gd name="connsiteY2258" fmla="*/ 3977542 h 6757249"/>
              <a:gd name="connsiteX2259" fmla="*/ 267963 w 11951120"/>
              <a:gd name="connsiteY2259" fmla="*/ 4002506 h 6757249"/>
              <a:gd name="connsiteX2260" fmla="*/ 268136 w 11951120"/>
              <a:gd name="connsiteY2260" fmla="*/ 4002849 h 6757249"/>
              <a:gd name="connsiteX2261" fmla="*/ 140531 w 11951120"/>
              <a:gd name="connsiteY2261" fmla="*/ 4116386 h 6757249"/>
              <a:gd name="connsiteX2262" fmla="*/ 139879 w 11951120"/>
              <a:gd name="connsiteY2262" fmla="*/ 4116173 h 6757249"/>
              <a:gd name="connsiteX2263" fmla="*/ 140389 w 11951120"/>
              <a:gd name="connsiteY2263" fmla="*/ 4117031 h 6757249"/>
              <a:gd name="connsiteX2264" fmla="*/ 144794 w 11951120"/>
              <a:gd name="connsiteY2264" fmla="*/ 4147910 h 6757249"/>
              <a:gd name="connsiteX2265" fmla="*/ 25857 w 11951120"/>
              <a:gd name="connsiteY2265" fmla="*/ 4169965 h 6757249"/>
              <a:gd name="connsiteX2266" fmla="*/ 25857 w 11951120"/>
              <a:gd name="connsiteY2266" fmla="*/ 4121443 h 6757249"/>
              <a:gd name="connsiteX2267" fmla="*/ 58689 w 11951120"/>
              <a:gd name="connsiteY2267" fmla="*/ 4058168 h 6757249"/>
              <a:gd name="connsiteX2268" fmla="*/ 96337 w 11951120"/>
              <a:gd name="connsiteY2268" fmla="*/ 4072918 h 6757249"/>
              <a:gd name="connsiteX2269" fmla="*/ 96671 w 11951120"/>
              <a:gd name="connsiteY2269" fmla="*/ 4073109 h 6757249"/>
              <a:gd name="connsiteX2270" fmla="*/ 96530 w 11951120"/>
              <a:gd name="connsiteY2270" fmla="*/ 4072717 h 6757249"/>
              <a:gd name="connsiteX2271" fmla="*/ 153732 w 11951120"/>
              <a:gd name="connsiteY2271" fmla="*/ 4002849 h 6757249"/>
              <a:gd name="connsiteX2272" fmla="*/ 158353 w 11951120"/>
              <a:gd name="connsiteY2272" fmla="*/ 4000300 h 6757249"/>
              <a:gd name="connsiteX2273" fmla="*/ 153221 w 11951120"/>
              <a:gd name="connsiteY2273" fmla="*/ 4001106 h 6757249"/>
              <a:gd name="connsiteX2274" fmla="*/ 1 w 11951120"/>
              <a:gd name="connsiteY2274" fmla="*/ 3879358 h 6757249"/>
              <a:gd name="connsiteX2275" fmla="*/ 48156 w 11951120"/>
              <a:gd name="connsiteY2275" fmla="*/ 3848920 h 6757249"/>
              <a:gd name="connsiteX2276" fmla="*/ 54522 w 11951120"/>
              <a:gd name="connsiteY2276" fmla="*/ 3851246 h 6757249"/>
              <a:gd name="connsiteX2277" fmla="*/ 77955 w 11951120"/>
              <a:gd name="connsiteY2277" fmla="*/ 3822357 h 6757249"/>
              <a:gd name="connsiteX2278" fmla="*/ 123345 w 11951120"/>
              <a:gd name="connsiteY2278" fmla="*/ 3809714 h 6757249"/>
              <a:gd name="connsiteX2279" fmla="*/ 123345 w 11951120"/>
              <a:gd name="connsiteY2279" fmla="*/ 3866447 h 6757249"/>
              <a:gd name="connsiteX2280" fmla="*/ 123549 w 11951120"/>
              <a:gd name="connsiteY2280" fmla="*/ 3866483 h 6757249"/>
              <a:gd name="connsiteX2281" fmla="*/ 123549 w 11951120"/>
              <a:gd name="connsiteY2281" fmla="*/ 3809331 h 6757249"/>
              <a:gd name="connsiteX2282" fmla="*/ 119219 w 11951120"/>
              <a:gd name="connsiteY2282" fmla="*/ 3809331 h 6757249"/>
              <a:gd name="connsiteX2283" fmla="*/ 187741 w 11951120"/>
              <a:gd name="connsiteY2283" fmla="*/ 3783198 h 6757249"/>
              <a:gd name="connsiteX2284" fmla="*/ 214162 w 11951120"/>
              <a:gd name="connsiteY2284" fmla="*/ 3761450 h 6757249"/>
              <a:gd name="connsiteX2285" fmla="*/ 216049 w 11951120"/>
              <a:gd name="connsiteY2285" fmla="*/ 3762565 h 6757249"/>
              <a:gd name="connsiteX2286" fmla="*/ 214509 w 11951120"/>
              <a:gd name="connsiteY2286" fmla="*/ 3760377 h 6757249"/>
              <a:gd name="connsiteX2287" fmla="*/ 238344 w 11951120"/>
              <a:gd name="connsiteY2287" fmla="*/ 3698991 h 6757249"/>
              <a:gd name="connsiteX2288" fmla="*/ 284355 w 11951120"/>
              <a:gd name="connsiteY2288" fmla="*/ 3655249 h 6757249"/>
              <a:gd name="connsiteX2289" fmla="*/ 284224 w 11951120"/>
              <a:gd name="connsiteY2289" fmla="*/ 3653554 h 6757249"/>
              <a:gd name="connsiteX2290" fmla="*/ 337851 w 11951120"/>
              <a:gd name="connsiteY2290" fmla="*/ 3613977 h 6757249"/>
              <a:gd name="connsiteX2291" fmla="*/ 337851 w 11951120"/>
              <a:gd name="connsiteY2291" fmla="*/ 3614080 h 6757249"/>
              <a:gd name="connsiteX2292" fmla="*/ 362772 w 11951120"/>
              <a:gd name="connsiteY2292" fmla="*/ 3592992 h 6757249"/>
              <a:gd name="connsiteX2293" fmla="*/ 362760 w 11951120"/>
              <a:gd name="connsiteY2293" fmla="*/ 3592798 h 6757249"/>
              <a:gd name="connsiteX2294" fmla="*/ 481488 w 11951120"/>
              <a:gd name="connsiteY2294" fmla="*/ 3444930 h 6757249"/>
              <a:gd name="connsiteX2295" fmla="*/ 445594 w 11951120"/>
              <a:gd name="connsiteY2295" fmla="*/ 3441645 h 6757249"/>
              <a:gd name="connsiteX2296" fmla="*/ 446098 w 11951120"/>
              <a:gd name="connsiteY2296" fmla="*/ 3447674 h 6757249"/>
              <a:gd name="connsiteX2297" fmla="*/ 411123 w 11951120"/>
              <a:gd name="connsiteY2297" fmla="*/ 3487021 h 6757249"/>
              <a:gd name="connsiteX2298" fmla="*/ 387838 w 11951120"/>
              <a:gd name="connsiteY2298" fmla="*/ 3501779 h 6757249"/>
              <a:gd name="connsiteX2299" fmla="*/ 383277 w 11951120"/>
              <a:gd name="connsiteY2299" fmla="*/ 3509932 h 6757249"/>
              <a:gd name="connsiteX2300" fmla="*/ 267830 w 11951120"/>
              <a:gd name="connsiteY2300" fmla="*/ 3589844 h 6757249"/>
              <a:gd name="connsiteX2301" fmla="*/ 267827 w 11951120"/>
              <a:gd name="connsiteY2301" fmla="*/ 3589839 h 6757249"/>
              <a:gd name="connsiteX2302" fmla="*/ 242190 w 11951120"/>
              <a:gd name="connsiteY2302" fmla="*/ 3629942 h 6757249"/>
              <a:gd name="connsiteX2303" fmla="*/ 193058 w 11951120"/>
              <a:gd name="connsiteY2303" fmla="*/ 3637620 h 6757249"/>
              <a:gd name="connsiteX2304" fmla="*/ 193058 w 11951120"/>
              <a:gd name="connsiteY2304" fmla="*/ 3636154 h 6757249"/>
              <a:gd name="connsiteX2305" fmla="*/ 96530 w 11951120"/>
              <a:gd name="connsiteY2305" fmla="*/ 3662239 h 6757249"/>
              <a:gd name="connsiteX2306" fmla="*/ 171286 w 11951120"/>
              <a:gd name="connsiteY2306" fmla="*/ 3592525 h 6757249"/>
              <a:gd name="connsiteX2307" fmla="*/ 171749 w 11951120"/>
              <a:gd name="connsiteY2307" fmla="*/ 3592525 h 6757249"/>
              <a:gd name="connsiteX2308" fmla="*/ 171607 w 11951120"/>
              <a:gd name="connsiteY2308" fmla="*/ 3592430 h 6757249"/>
              <a:gd name="connsiteX2309" fmla="*/ 193175 w 11951120"/>
              <a:gd name="connsiteY2309" fmla="*/ 3545027 h 6757249"/>
              <a:gd name="connsiteX2310" fmla="*/ 262190 w 11951120"/>
              <a:gd name="connsiteY2310" fmla="*/ 3493316 h 6757249"/>
              <a:gd name="connsiteX2311" fmla="*/ 262190 w 11951120"/>
              <a:gd name="connsiteY2311" fmla="*/ 3494603 h 6757249"/>
              <a:gd name="connsiteX2312" fmla="*/ 262482 w 11951120"/>
              <a:gd name="connsiteY2312" fmla="*/ 3491392 h 6757249"/>
              <a:gd name="connsiteX2313" fmla="*/ 288713 w 11951120"/>
              <a:gd name="connsiteY2313" fmla="*/ 3447674 h 6757249"/>
              <a:gd name="connsiteX2314" fmla="*/ 290036 w 11951120"/>
              <a:gd name="connsiteY2314" fmla="*/ 3446109 h 6757249"/>
              <a:gd name="connsiteX2315" fmla="*/ 302283 w 11951120"/>
              <a:gd name="connsiteY2315" fmla="*/ 3401912 h 6757249"/>
              <a:gd name="connsiteX2316" fmla="*/ 337050 w 11951120"/>
              <a:gd name="connsiteY2316" fmla="*/ 3373565 h 6757249"/>
              <a:gd name="connsiteX2317" fmla="*/ 316400 w 11951120"/>
              <a:gd name="connsiteY2317" fmla="*/ 3352502 h 6757249"/>
              <a:gd name="connsiteX2318" fmla="*/ 317640 w 11951120"/>
              <a:gd name="connsiteY2318" fmla="*/ 3349996 h 6757249"/>
              <a:gd name="connsiteX2319" fmla="*/ 315988 w 11951120"/>
              <a:gd name="connsiteY2319" fmla="*/ 3351203 h 6757249"/>
              <a:gd name="connsiteX2320" fmla="*/ 170329 w 11951120"/>
              <a:gd name="connsiteY2320" fmla="*/ 3276401 h 6757249"/>
              <a:gd name="connsiteX2321" fmla="*/ 214468 w 11951120"/>
              <a:gd name="connsiteY2321" fmla="*/ 3179597 h 6757249"/>
              <a:gd name="connsiteX2322" fmla="*/ 214894 w 11951120"/>
              <a:gd name="connsiteY2322" fmla="*/ 3179667 h 6757249"/>
              <a:gd name="connsiteX2323" fmla="*/ 262938 w 11951120"/>
              <a:gd name="connsiteY2323" fmla="*/ 3131164 h 6757249"/>
              <a:gd name="connsiteX2324" fmla="*/ 262773 w 11951120"/>
              <a:gd name="connsiteY2324" fmla="*/ 3130999 h 6757249"/>
              <a:gd name="connsiteX2325" fmla="*/ 305722 w 11951120"/>
              <a:gd name="connsiteY2325" fmla="*/ 3054203 h 6757249"/>
              <a:gd name="connsiteX2326" fmla="*/ 380761 w 11951120"/>
              <a:gd name="connsiteY2326" fmla="*/ 3013866 h 6757249"/>
              <a:gd name="connsiteX2327" fmla="*/ 381135 w 11951120"/>
              <a:gd name="connsiteY2327" fmla="*/ 3013205 h 6757249"/>
              <a:gd name="connsiteX2328" fmla="*/ 385493 w 11951120"/>
              <a:gd name="connsiteY2328" fmla="*/ 2991277 h 6757249"/>
              <a:gd name="connsiteX2329" fmla="*/ 359972 w 11951120"/>
              <a:gd name="connsiteY2329" fmla="*/ 2965475 h 6757249"/>
              <a:gd name="connsiteX2330" fmla="*/ 359301 w 11951120"/>
              <a:gd name="connsiteY2330" fmla="*/ 2963098 h 6757249"/>
              <a:gd name="connsiteX2331" fmla="*/ 359301 w 11951120"/>
              <a:gd name="connsiteY2331" fmla="*/ 2965358 h 6757249"/>
              <a:gd name="connsiteX2332" fmla="*/ 262773 w 11951120"/>
              <a:gd name="connsiteY2332" fmla="*/ 2938813 h 6757249"/>
              <a:gd name="connsiteX2333" fmla="*/ 263336 w 11951120"/>
              <a:gd name="connsiteY2333" fmla="*/ 2938555 h 6757249"/>
              <a:gd name="connsiteX2334" fmla="*/ 262773 w 11951120"/>
              <a:gd name="connsiteY2334" fmla="*/ 2938474 h 6757249"/>
              <a:gd name="connsiteX2335" fmla="*/ 318769 w 11951120"/>
              <a:gd name="connsiteY2335" fmla="*/ 2808570 h 6757249"/>
              <a:gd name="connsiteX2336" fmla="*/ 329221 w 11951120"/>
              <a:gd name="connsiteY2336" fmla="*/ 2775879 h 6757249"/>
              <a:gd name="connsiteX2337" fmla="*/ 320692 w 11951120"/>
              <a:gd name="connsiteY2337" fmla="*/ 2782169 h 6757249"/>
              <a:gd name="connsiteX2338" fmla="*/ 263526 w 11951120"/>
              <a:gd name="connsiteY2338" fmla="*/ 2808857 h 6757249"/>
              <a:gd name="connsiteX2339" fmla="*/ 263526 w 11951120"/>
              <a:gd name="connsiteY2339" fmla="*/ 2807089 h 6757249"/>
              <a:gd name="connsiteX2340" fmla="*/ 263056 w 11951120"/>
              <a:gd name="connsiteY2340" fmla="*/ 2808972 h 6757249"/>
              <a:gd name="connsiteX2341" fmla="*/ 263056 w 11951120"/>
              <a:gd name="connsiteY2341" fmla="*/ 2857294 h 6757249"/>
              <a:gd name="connsiteX2342" fmla="*/ 123062 w 11951120"/>
              <a:gd name="connsiteY2342" fmla="*/ 2787009 h 6757249"/>
              <a:gd name="connsiteX2343" fmla="*/ 188685 w 11951120"/>
              <a:gd name="connsiteY2343" fmla="*/ 2712329 h 6757249"/>
              <a:gd name="connsiteX2344" fmla="*/ 197368 w 11951120"/>
              <a:gd name="connsiteY2344" fmla="*/ 2714935 h 6757249"/>
              <a:gd name="connsiteX2345" fmla="*/ 198418 w 11951120"/>
              <a:gd name="connsiteY2345" fmla="*/ 2709079 h 6757249"/>
              <a:gd name="connsiteX2346" fmla="*/ 262519 w 11951120"/>
              <a:gd name="connsiteY2346" fmla="*/ 2690494 h 6757249"/>
              <a:gd name="connsiteX2347" fmla="*/ 262826 w 11951120"/>
              <a:gd name="connsiteY2347" fmla="*/ 2691207 h 6757249"/>
              <a:gd name="connsiteX2348" fmla="*/ 262774 w 11951120"/>
              <a:gd name="connsiteY2348" fmla="*/ 2690390 h 6757249"/>
              <a:gd name="connsiteX2349" fmla="*/ 289354 w 11951120"/>
              <a:gd name="connsiteY2349" fmla="*/ 2642126 h 6757249"/>
              <a:gd name="connsiteX2350" fmla="*/ 290209 w 11951120"/>
              <a:gd name="connsiteY2350" fmla="*/ 2641740 h 6757249"/>
              <a:gd name="connsiteX2351" fmla="*/ 358775 w 11951120"/>
              <a:gd name="connsiteY2351" fmla="*/ 2545457 h 6757249"/>
              <a:gd name="connsiteX2352" fmla="*/ 336039 w 11951120"/>
              <a:gd name="connsiteY2352" fmla="*/ 2531179 h 6757249"/>
              <a:gd name="connsiteX2353" fmla="*/ 328862 w 11951120"/>
              <a:gd name="connsiteY2353" fmla="*/ 2506339 h 6757249"/>
              <a:gd name="connsiteX2354" fmla="*/ 348736 w 11951120"/>
              <a:gd name="connsiteY2354" fmla="*/ 2480392 h 6757249"/>
              <a:gd name="connsiteX2355" fmla="*/ 380758 w 11951120"/>
              <a:gd name="connsiteY2355" fmla="*/ 2471320 h 6757249"/>
              <a:gd name="connsiteX2356" fmla="*/ 385111 w 11951120"/>
              <a:gd name="connsiteY2356" fmla="*/ 2449557 h 6757249"/>
              <a:gd name="connsiteX2357" fmla="*/ 386903 w 11951120"/>
              <a:gd name="connsiteY2357" fmla="*/ 2449557 h 6757249"/>
              <a:gd name="connsiteX2358" fmla="*/ 385579 w 11951120"/>
              <a:gd name="connsiteY2358" fmla="*/ 2448780 h 6757249"/>
              <a:gd name="connsiteX2359" fmla="*/ 359302 w 11951120"/>
              <a:gd name="connsiteY2359" fmla="*/ 2422311 h 6757249"/>
              <a:gd name="connsiteX2360" fmla="*/ 360336 w 11951120"/>
              <a:gd name="connsiteY2360" fmla="*/ 2420656 h 6757249"/>
              <a:gd name="connsiteX2361" fmla="*/ 359302 w 11951120"/>
              <a:gd name="connsiteY2361" fmla="*/ 2421080 h 6757249"/>
              <a:gd name="connsiteX2362" fmla="*/ 315730 w 11951120"/>
              <a:gd name="connsiteY2362" fmla="*/ 2425426 h 6757249"/>
              <a:gd name="connsiteX2363" fmla="*/ 315028 w 11951120"/>
              <a:gd name="connsiteY2363" fmla="*/ 2424725 h 6757249"/>
              <a:gd name="connsiteX2364" fmla="*/ 314511 w 11951120"/>
              <a:gd name="connsiteY2364" fmla="*/ 2426667 h 6757249"/>
              <a:gd name="connsiteX2365" fmla="*/ 313128 w 11951120"/>
              <a:gd name="connsiteY2365" fmla="*/ 2426981 h 6757249"/>
              <a:gd name="connsiteX2366" fmla="*/ 315697 w 11951120"/>
              <a:gd name="connsiteY2366" fmla="*/ 2427618 h 6757249"/>
              <a:gd name="connsiteX2367" fmla="*/ 304758 w 11951120"/>
              <a:gd name="connsiteY2367" fmla="*/ 2472592 h 6757249"/>
              <a:gd name="connsiteX2368" fmla="*/ 267964 w 11951120"/>
              <a:gd name="connsiteY2368" fmla="*/ 2497556 h 6757249"/>
              <a:gd name="connsiteX2369" fmla="*/ 268137 w 11951120"/>
              <a:gd name="connsiteY2369" fmla="*/ 2497899 h 6757249"/>
              <a:gd name="connsiteX2370" fmla="*/ 140532 w 11951120"/>
              <a:gd name="connsiteY2370" fmla="*/ 2611436 h 6757249"/>
              <a:gd name="connsiteX2371" fmla="*/ 139880 w 11951120"/>
              <a:gd name="connsiteY2371" fmla="*/ 2611223 h 6757249"/>
              <a:gd name="connsiteX2372" fmla="*/ 140390 w 11951120"/>
              <a:gd name="connsiteY2372" fmla="*/ 2612081 h 6757249"/>
              <a:gd name="connsiteX2373" fmla="*/ 144795 w 11951120"/>
              <a:gd name="connsiteY2373" fmla="*/ 2642960 h 6757249"/>
              <a:gd name="connsiteX2374" fmla="*/ 25858 w 11951120"/>
              <a:gd name="connsiteY2374" fmla="*/ 2665015 h 6757249"/>
              <a:gd name="connsiteX2375" fmla="*/ 25858 w 11951120"/>
              <a:gd name="connsiteY2375" fmla="*/ 2616493 h 6757249"/>
              <a:gd name="connsiteX2376" fmla="*/ 58690 w 11951120"/>
              <a:gd name="connsiteY2376" fmla="*/ 2553218 h 6757249"/>
              <a:gd name="connsiteX2377" fmla="*/ 96338 w 11951120"/>
              <a:gd name="connsiteY2377" fmla="*/ 2567968 h 6757249"/>
              <a:gd name="connsiteX2378" fmla="*/ 96672 w 11951120"/>
              <a:gd name="connsiteY2378" fmla="*/ 2568159 h 6757249"/>
              <a:gd name="connsiteX2379" fmla="*/ 96531 w 11951120"/>
              <a:gd name="connsiteY2379" fmla="*/ 2567767 h 6757249"/>
              <a:gd name="connsiteX2380" fmla="*/ 153733 w 11951120"/>
              <a:gd name="connsiteY2380" fmla="*/ 2497899 h 6757249"/>
              <a:gd name="connsiteX2381" fmla="*/ 158354 w 11951120"/>
              <a:gd name="connsiteY2381" fmla="*/ 2495350 h 6757249"/>
              <a:gd name="connsiteX2382" fmla="*/ 153222 w 11951120"/>
              <a:gd name="connsiteY2382" fmla="*/ 2496156 h 6757249"/>
              <a:gd name="connsiteX2383" fmla="*/ 2 w 11951120"/>
              <a:gd name="connsiteY2383" fmla="*/ 2374408 h 6757249"/>
              <a:gd name="connsiteX2384" fmla="*/ 48157 w 11951120"/>
              <a:gd name="connsiteY2384" fmla="*/ 2343970 h 6757249"/>
              <a:gd name="connsiteX2385" fmla="*/ 54523 w 11951120"/>
              <a:gd name="connsiteY2385" fmla="*/ 2346296 h 6757249"/>
              <a:gd name="connsiteX2386" fmla="*/ 77956 w 11951120"/>
              <a:gd name="connsiteY2386" fmla="*/ 2317407 h 6757249"/>
              <a:gd name="connsiteX2387" fmla="*/ 123346 w 11951120"/>
              <a:gd name="connsiteY2387" fmla="*/ 2304764 h 6757249"/>
              <a:gd name="connsiteX2388" fmla="*/ 123346 w 11951120"/>
              <a:gd name="connsiteY2388" fmla="*/ 2361497 h 6757249"/>
              <a:gd name="connsiteX2389" fmla="*/ 123550 w 11951120"/>
              <a:gd name="connsiteY2389" fmla="*/ 2361533 h 6757249"/>
              <a:gd name="connsiteX2390" fmla="*/ 123550 w 11951120"/>
              <a:gd name="connsiteY2390" fmla="*/ 2304381 h 6757249"/>
              <a:gd name="connsiteX2391" fmla="*/ 119220 w 11951120"/>
              <a:gd name="connsiteY2391" fmla="*/ 2304381 h 6757249"/>
              <a:gd name="connsiteX2392" fmla="*/ 187742 w 11951120"/>
              <a:gd name="connsiteY2392" fmla="*/ 2278248 h 6757249"/>
              <a:gd name="connsiteX2393" fmla="*/ 214163 w 11951120"/>
              <a:gd name="connsiteY2393" fmla="*/ 2256500 h 6757249"/>
              <a:gd name="connsiteX2394" fmla="*/ 216050 w 11951120"/>
              <a:gd name="connsiteY2394" fmla="*/ 2257615 h 6757249"/>
              <a:gd name="connsiteX2395" fmla="*/ 214510 w 11951120"/>
              <a:gd name="connsiteY2395" fmla="*/ 2255427 h 6757249"/>
              <a:gd name="connsiteX2396" fmla="*/ 238345 w 11951120"/>
              <a:gd name="connsiteY2396" fmla="*/ 2194041 h 6757249"/>
              <a:gd name="connsiteX2397" fmla="*/ 284356 w 11951120"/>
              <a:gd name="connsiteY2397" fmla="*/ 2150299 h 6757249"/>
              <a:gd name="connsiteX2398" fmla="*/ 284225 w 11951120"/>
              <a:gd name="connsiteY2398" fmla="*/ 2148604 h 6757249"/>
              <a:gd name="connsiteX2399" fmla="*/ 337852 w 11951120"/>
              <a:gd name="connsiteY2399" fmla="*/ 2109027 h 6757249"/>
              <a:gd name="connsiteX2400" fmla="*/ 337852 w 11951120"/>
              <a:gd name="connsiteY2400" fmla="*/ 2109130 h 6757249"/>
              <a:gd name="connsiteX2401" fmla="*/ 362773 w 11951120"/>
              <a:gd name="connsiteY2401" fmla="*/ 2088042 h 6757249"/>
              <a:gd name="connsiteX2402" fmla="*/ 362761 w 11951120"/>
              <a:gd name="connsiteY2402" fmla="*/ 2087848 h 6757249"/>
              <a:gd name="connsiteX2403" fmla="*/ 481489 w 11951120"/>
              <a:gd name="connsiteY2403" fmla="*/ 1939980 h 6757249"/>
              <a:gd name="connsiteX2404" fmla="*/ 445595 w 11951120"/>
              <a:gd name="connsiteY2404" fmla="*/ 1936696 h 6757249"/>
              <a:gd name="connsiteX2405" fmla="*/ 446099 w 11951120"/>
              <a:gd name="connsiteY2405" fmla="*/ 1942725 h 6757249"/>
              <a:gd name="connsiteX2406" fmla="*/ 411124 w 11951120"/>
              <a:gd name="connsiteY2406" fmla="*/ 1982072 h 6757249"/>
              <a:gd name="connsiteX2407" fmla="*/ 387839 w 11951120"/>
              <a:gd name="connsiteY2407" fmla="*/ 1996829 h 6757249"/>
              <a:gd name="connsiteX2408" fmla="*/ 383278 w 11951120"/>
              <a:gd name="connsiteY2408" fmla="*/ 2004982 h 6757249"/>
              <a:gd name="connsiteX2409" fmla="*/ 267831 w 11951120"/>
              <a:gd name="connsiteY2409" fmla="*/ 2084894 h 6757249"/>
              <a:gd name="connsiteX2410" fmla="*/ 267828 w 11951120"/>
              <a:gd name="connsiteY2410" fmla="*/ 2084889 h 6757249"/>
              <a:gd name="connsiteX2411" fmla="*/ 242191 w 11951120"/>
              <a:gd name="connsiteY2411" fmla="*/ 2124992 h 6757249"/>
              <a:gd name="connsiteX2412" fmla="*/ 193059 w 11951120"/>
              <a:gd name="connsiteY2412" fmla="*/ 2132670 h 6757249"/>
              <a:gd name="connsiteX2413" fmla="*/ 193059 w 11951120"/>
              <a:gd name="connsiteY2413" fmla="*/ 2131204 h 6757249"/>
              <a:gd name="connsiteX2414" fmla="*/ 96531 w 11951120"/>
              <a:gd name="connsiteY2414" fmla="*/ 2157289 h 6757249"/>
              <a:gd name="connsiteX2415" fmla="*/ 171287 w 11951120"/>
              <a:gd name="connsiteY2415" fmla="*/ 2087575 h 6757249"/>
              <a:gd name="connsiteX2416" fmla="*/ 171750 w 11951120"/>
              <a:gd name="connsiteY2416" fmla="*/ 2087575 h 6757249"/>
              <a:gd name="connsiteX2417" fmla="*/ 171608 w 11951120"/>
              <a:gd name="connsiteY2417" fmla="*/ 2087480 h 6757249"/>
              <a:gd name="connsiteX2418" fmla="*/ 193176 w 11951120"/>
              <a:gd name="connsiteY2418" fmla="*/ 2040077 h 6757249"/>
              <a:gd name="connsiteX2419" fmla="*/ 262191 w 11951120"/>
              <a:gd name="connsiteY2419" fmla="*/ 1988367 h 6757249"/>
              <a:gd name="connsiteX2420" fmla="*/ 262191 w 11951120"/>
              <a:gd name="connsiteY2420" fmla="*/ 1989654 h 6757249"/>
              <a:gd name="connsiteX2421" fmla="*/ 262483 w 11951120"/>
              <a:gd name="connsiteY2421" fmla="*/ 1986442 h 6757249"/>
              <a:gd name="connsiteX2422" fmla="*/ 288714 w 11951120"/>
              <a:gd name="connsiteY2422" fmla="*/ 1942725 h 6757249"/>
              <a:gd name="connsiteX2423" fmla="*/ 290037 w 11951120"/>
              <a:gd name="connsiteY2423" fmla="*/ 1941160 h 6757249"/>
              <a:gd name="connsiteX2424" fmla="*/ 302284 w 11951120"/>
              <a:gd name="connsiteY2424" fmla="*/ 1896963 h 6757249"/>
              <a:gd name="connsiteX2425" fmla="*/ 337051 w 11951120"/>
              <a:gd name="connsiteY2425" fmla="*/ 1868615 h 6757249"/>
              <a:gd name="connsiteX2426" fmla="*/ 316401 w 11951120"/>
              <a:gd name="connsiteY2426" fmla="*/ 1847552 h 6757249"/>
              <a:gd name="connsiteX2427" fmla="*/ 317641 w 11951120"/>
              <a:gd name="connsiteY2427" fmla="*/ 1845046 h 6757249"/>
              <a:gd name="connsiteX2428" fmla="*/ 315989 w 11951120"/>
              <a:gd name="connsiteY2428" fmla="*/ 1846254 h 6757249"/>
              <a:gd name="connsiteX2429" fmla="*/ 170330 w 11951120"/>
              <a:gd name="connsiteY2429" fmla="*/ 1771452 h 6757249"/>
              <a:gd name="connsiteX2430" fmla="*/ 214469 w 11951120"/>
              <a:gd name="connsiteY2430" fmla="*/ 1674647 h 6757249"/>
              <a:gd name="connsiteX2431" fmla="*/ 214895 w 11951120"/>
              <a:gd name="connsiteY2431" fmla="*/ 1674717 h 6757249"/>
              <a:gd name="connsiteX2432" fmla="*/ 262939 w 11951120"/>
              <a:gd name="connsiteY2432" fmla="*/ 1626215 h 6757249"/>
              <a:gd name="connsiteX2433" fmla="*/ 262774 w 11951120"/>
              <a:gd name="connsiteY2433" fmla="*/ 1626050 h 6757249"/>
              <a:gd name="connsiteX2434" fmla="*/ 305723 w 11951120"/>
              <a:gd name="connsiteY2434" fmla="*/ 1549253 h 6757249"/>
              <a:gd name="connsiteX2435" fmla="*/ 380762 w 11951120"/>
              <a:gd name="connsiteY2435" fmla="*/ 1508917 h 6757249"/>
              <a:gd name="connsiteX2436" fmla="*/ 381136 w 11951120"/>
              <a:gd name="connsiteY2436" fmla="*/ 1508256 h 6757249"/>
              <a:gd name="connsiteX2437" fmla="*/ 385494 w 11951120"/>
              <a:gd name="connsiteY2437" fmla="*/ 1486327 h 6757249"/>
              <a:gd name="connsiteX2438" fmla="*/ 359973 w 11951120"/>
              <a:gd name="connsiteY2438" fmla="*/ 1460525 h 6757249"/>
              <a:gd name="connsiteX2439" fmla="*/ 359302 w 11951120"/>
              <a:gd name="connsiteY2439" fmla="*/ 1458148 h 6757249"/>
              <a:gd name="connsiteX2440" fmla="*/ 359302 w 11951120"/>
              <a:gd name="connsiteY2440" fmla="*/ 1460408 h 6757249"/>
              <a:gd name="connsiteX2441" fmla="*/ 262774 w 11951120"/>
              <a:gd name="connsiteY2441" fmla="*/ 1433863 h 6757249"/>
              <a:gd name="connsiteX2442" fmla="*/ 263337 w 11951120"/>
              <a:gd name="connsiteY2442" fmla="*/ 1433605 h 6757249"/>
              <a:gd name="connsiteX2443" fmla="*/ 262774 w 11951120"/>
              <a:gd name="connsiteY2443" fmla="*/ 1433525 h 6757249"/>
              <a:gd name="connsiteX2444" fmla="*/ 341828 w 11951120"/>
              <a:gd name="connsiteY2444" fmla="*/ 1160505 h 6757249"/>
              <a:gd name="connsiteX2445" fmla="*/ 412097 w 11951120"/>
              <a:gd name="connsiteY2445" fmla="*/ 1085648 h 6757249"/>
              <a:gd name="connsiteX2446" fmla="*/ 504326 w 11951120"/>
              <a:gd name="connsiteY2446" fmla="*/ 975559 h 6757249"/>
              <a:gd name="connsiteX2447" fmla="*/ 658040 w 11951120"/>
              <a:gd name="connsiteY2447" fmla="*/ 909506 h 6757249"/>
              <a:gd name="connsiteX2448" fmla="*/ 662169 w 11951120"/>
              <a:gd name="connsiteY2448" fmla="*/ 910178 h 6757249"/>
              <a:gd name="connsiteX2449" fmla="*/ 714135 w 11951120"/>
              <a:gd name="connsiteY2449" fmla="*/ 847884 h 6757249"/>
              <a:gd name="connsiteX2450" fmla="*/ 792777 w 11951120"/>
              <a:gd name="connsiteY2450" fmla="*/ 782421 h 6757249"/>
              <a:gd name="connsiteX2451" fmla="*/ 762953 w 11951120"/>
              <a:gd name="connsiteY2451" fmla="*/ 738639 h 6757249"/>
              <a:gd name="connsiteX2452" fmla="*/ 745416 w 11951120"/>
              <a:gd name="connsiteY2452" fmla="*/ 686990 h 6757249"/>
              <a:gd name="connsiteX2453" fmla="*/ 793643 w 11951120"/>
              <a:gd name="connsiteY2453" fmla="*/ 638638 h 6757249"/>
              <a:gd name="connsiteX2454" fmla="*/ 890101 w 11951120"/>
              <a:gd name="connsiteY2454" fmla="*/ 616660 h 6757249"/>
              <a:gd name="connsiteX2455" fmla="*/ 981226 w 11951120"/>
              <a:gd name="connsiteY2455" fmla="*/ 557232 h 6757249"/>
              <a:gd name="connsiteX2456" fmla="*/ 1014027 w 11951120"/>
              <a:gd name="connsiteY2456" fmla="*/ 557936 h 6757249"/>
              <a:gd name="connsiteX2457" fmla="*/ 1059447 w 11951120"/>
              <a:gd name="connsiteY2457" fmla="*/ 584913 h 6757249"/>
              <a:gd name="connsiteX2458" fmla="*/ 1104909 w 11951120"/>
              <a:gd name="connsiteY2458" fmla="*/ 519168 h 6757249"/>
              <a:gd name="connsiteX2459" fmla="*/ 1157770 w 11951120"/>
              <a:gd name="connsiteY2459" fmla="*/ 492891 h 6757249"/>
              <a:gd name="connsiteX2460" fmla="*/ 1167131 w 11951120"/>
              <a:gd name="connsiteY2460" fmla="*/ 486321 h 6757249"/>
              <a:gd name="connsiteX2461" fmla="*/ 1174904 w 11951120"/>
              <a:gd name="connsiteY2461" fmla="*/ 490353 h 6757249"/>
              <a:gd name="connsiteX2462" fmla="*/ 1187261 w 11951120"/>
              <a:gd name="connsiteY2462" fmla="*/ 475339 h 6757249"/>
              <a:gd name="connsiteX2463" fmla="*/ 1190018 w 11951120"/>
              <a:gd name="connsiteY2463" fmla="*/ 473971 h 6757249"/>
              <a:gd name="connsiteX2464" fmla="*/ 1205783 w 11951120"/>
              <a:gd name="connsiteY2464" fmla="*/ 444448 h 6757249"/>
              <a:gd name="connsiteX2465" fmla="*/ 1249098 w 11951120"/>
              <a:gd name="connsiteY2465" fmla="*/ 422327 h 6757249"/>
              <a:gd name="connsiteX2466" fmla="*/ 1249537 w 11951120"/>
              <a:gd name="connsiteY2466" fmla="*/ 422317 h 6757249"/>
              <a:gd name="connsiteX2467" fmla="*/ 1253866 w 11951120"/>
              <a:gd name="connsiteY2467" fmla="*/ 400116 h 6757249"/>
              <a:gd name="connsiteX2468" fmla="*/ 1301795 w 11951120"/>
              <a:gd name="connsiteY2468" fmla="*/ 373302 h 6757249"/>
              <a:gd name="connsiteX2469" fmla="*/ 1345367 w 11951120"/>
              <a:gd name="connsiteY2469" fmla="*/ 368833 h 6757249"/>
              <a:gd name="connsiteX2470" fmla="*/ 1345579 w 11951120"/>
              <a:gd name="connsiteY2470" fmla="*/ 371444 h 6757249"/>
              <a:gd name="connsiteX2471" fmla="*/ 1345703 w 11951120"/>
              <a:gd name="connsiteY2471" fmla="*/ 370821 h 6757249"/>
              <a:gd name="connsiteX2472" fmla="*/ 1371846 w 11951120"/>
              <a:gd name="connsiteY2472" fmla="*/ 326709 h 6757249"/>
              <a:gd name="connsiteX2473" fmla="*/ 1441561 w 11951120"/>
              <a:gd name="connsiteY2473" fmla="*/ 326709 h 6757249"/>
              <a:gd name="connsiteX2474" fmla="*/ 1442273 w 11951120"/>
              <a:gd name="connsiteY2474" fmla="*/ 327719 h 6757249"/>
              <a:gd name="connsiteX2475" fmla="*/ 1441971 w 11951120"/>
              <a:gd name="connsiteY2475" fmla="*/ 326119 h 6757249"/>
              <a:gd name="connsiteX2476" fmla="*/ 1402346 w 11951120"/>
              <a:gd name="connsiteY2476" fmla="*/ 189042 h 6757249"/>
              <a:gd name="connsiteX2477" fmla="*/ 1516817 w 11951120"/>
              <a:gd name="connsiteY2477" fmla="*/ 277478 h 6757249"/>
              <a:gd name="connsiteX2478" fmla="*/ 1635690 w 11951120"/>
              <a:gd name="connsiteY2478" fmla="*/ 250949 h 6757249"/>
              <a:gd name="connsiteX2479" fmla="*/ 1758966 w 11951120"/>
              <a:gd name="connsiteY2479" fmla="*/ 277478 h 6757249"/>
              <a:gd name="connsiteX2480" fmla="*/ 1758966 w 11951120"/>
              <a:gd name="connsiteY2480" fmla="*/ 304010 h 6757249"/>
              <a:gd name="connsiteX2481" fmla="*/ 1758545 w 11951120"/>
              <a:gd name="connsiteY2481" fmla="*/ 305802 h 6757249"/>
              <a:gd name="connsiteX2482" fmla="*/ 1782553 w 11951120"/>
              <a:gd name="connsiteY2482" fmla="*/ 325736 h 6757249"/>
              <a:gd name="connsiteX2483" fmla="*/ 1783259 w 11951120"/>
              <a:gd name="connsiteY2483" fmla="*/ 325408 h 6757249"/>
              <a:gd name="connsiteX2484" fmla="*/ 1806244 w 11951120"/>
              <a:gd name="connsiteY2484" fmla="*/ 314318 h 6757249"/>
              <a:gd name="connsiteX2485" fmla="*/ 1875192 w 11951120"/>
              <a:gd name="connsiteY2485" fmla="*/ 325408 h 6757249"/>
              <a:gd name="connsiteX2486" fmla="*/ 1878420 w 11951120"/>
              <a:gd name="connsiteY2486" fmla="*/ 327715 h 6757249"/>
              <a:gd name="connsiteX2487" fmla="*/ 1876943 w 11951120"/>
              <a:gd name="connsiteY2487" fmla="*/ 324986 h 6757249"/>
              <a:gd name="connsiteX2488" fmla="*/ 1950383 w 11951120"/>
              <a:gd name="connsiteY2488" fmla="*/ 395647 h 6757249"/>
              <a:gd name="connsiteX2489" fmla="*/ 1949567 w 11951120"/>
              <a:gd name="connsiteY2489" fmla="*/ 395459 h 6757249"/>
              <a:gd name="connsiteX2490" fmla="*/ 1949612 w 11951120"/>
              <a:gd name="connsiteY2490" fmla="*/ 395517 h 6757249"/>
              <a:gd name="connsiteX2491" fmla="*/ 1949612 w 11951120"/>
              <a:gd name="connsiteY2491" fmla="*/ 421807 h 6757249"/>
              <a:gd name="connsiteX2492" fmla="*/ 1951575 w 11951120"/>
              <a:gd name="connsiteY2492" fmla="*/ 431625 h 6757249"/>
              <a:gd name="connsiteX2493" fmla="*/ 1951575 w 11951120"/>
              <a:gd name="connsiteY2493" fmla="*/ 421531 h 6757249"/>
              <a:gd name="connsiteX2494" fmla="*/ 2094133 w 11951120"/>
              <a:gd name="connsiteY2494" fmla="*/ 465877 h 6757249"/>
              <a:gd name="connsiteX2495" fmla="*/ 2091356 w 11951120"/>
              <a:gd name="connsiteY2495" fmla="*/ 466341 h 6757249"/>
              <a:gd name="connsiteX2496" fmla="*/ 2095217 w 11951120"/>
              <a:gd name="connsiteY2496" fmla="*/ 466836 h 6757249"/>
              <a:gd name="connsiteX2497" fmla="*/ 2165503 w 11951120"/>
              <a:gd name="connsiteY2497" fmla="*/ 444717 h 6757249"/>
              <a:gd name="connsiteX2498" fmla="*/ 2167586 w 11951120"/>
              <a:gd name="connsiteY2498" fmla="*/ 444950 h 6757249"/>
              <a:gd name="connsiteX2499" fmla="*/ 2166529 w 11951120"/>
              <a:gd name="connsiteY2499" fmla="*/ 443911 h 6757249"/>
              <a:gd name="connsiteX2500" fmla="*/ 2247639 w 11951120"/>
              <a:gd name="connsiteY2500" fmla="*/ 391424 h 6757249"/>
              <a:gd name="connsiteX2501" fmla="*/ 2282405 w 11951120"/>
              <a:gd name="connsiteY2501" fmla="*/ 400462 h 6757249"/>
              <a:gd name="connsiteX2502" fmla="*/ 2284001 w 11951120"/>
              <a:gd name="connsiteY2502" fmla="*/ 399962 h 6757249"/>
              <a:gd name="connsiteX2503" fmla="*/ 2310259 w 11951120"/>
              <a:gd name="connsiteY2503" fmla="*/ 369144 h 6757249"/>
              <a:gd name="connsiteX2504" fmla="*/ 2310259 w 11951120"/>
              <a:gd name="connsiteY2504" fmla="*/ 347168 h 6757249"/>
              <a:gd name="connsiteX2505" fmla="*/ 2312731 w 11951120"/>
              <a:gd name="connsiteY2505" fmla="*/ 346682 h 6757249"/>
              <a:gd name="connsiteX2506" fmla="*/ 2358724 w 11951120"/>
              <a:gd name="connsiteY2506" fmla="*/ 294651 h 6757249"/>
              <a:gd name="connsiteX2507" fmla="*/ 2431982 w 11951120"/>
              <a:gd name="connsiteY2507" fmla="*/ 299118 h 6757249"/>
              <a:gd name="connsiteX2508" fmla="*/ 2385181 w 11951120"/>
              <a:gd name="connsiteY2508" fmla="*/ 352064 h 6757249"/>
              <a:gd name="connsiteX2509" fmla="*/ 2390035 w 11951120"/>
              <a:gd name="connsiteY2509" fmla="*/ 376851 h 6757249"/>
              <a:gd name="connsiteX2510" fmla="*/ 2411493 w 11951120"/>
              <a:gd name="connsiteY2510" fmla="*/ 395540 h 6757249"/>
              <a:gd name="connsiteX2511" fmla="*/ 2411440 w 11951120"/>
              <a:gd name="connsiteY2511" fmla="*/ 395730 h 6757249"/>
              <a:gd name="connsiteX2512" fmla="*/ 2480068 w 11951120"/>
              <a:gd name="connsiteY2512" fmla="*/ 374196 h 6757249"/>
              <a:gd name="connsiteX2513" fmla="*/ 2483309 w 11951120"/>
              <a:gd name="connsiteY2513" fmla="*/ 377755 h 6757249"/>
              <a:gd name="connsiteX2514" fmla="*/ 2481934 w 11951120"/>
              <a:gd name="connsiteY2514" fmla="*/ 374441 h 6757249"/>
              <a:gd name="connsiteX2515" fmla="*/ 2534368 w 11951120"/>
              <a:gd name="connsiteY2515" fmla="*/ 330563 h 6757249"/>
              <a:gd name="connsiteX2516" fmla="*/ 2536573 w 11951120"/>
              <a:gd name="connsiteY2516" fmla="*/ 329801 h 6757249"/>
              <a:gd name="connsiteX2517" fmla="*/ 2533874 w 11951120"/>
              <a:gd name="connsiteY2517" fmla="*/ 329149 h 6757249"/>
              <a:gd name="connsiteX2518" fmla="*/ 2621876 w 11951120"/>
              <a:gd name="connsiteY2518" fmla="*/ 276595 h 6757249"/>
              <a:gd name="connsiteX2519" fmla="*/ 2624625 w 11951120"/>
              <a:gd name="connsiteY2519" fmla="*/ 274573 h 6757249"/>
              <a:gd name="connsiteX2520" fmla="*/ 2649669 w 11951120"/>
              <a:gd name="connsiteY2520" fmla="*/ 238031 h 6757249"/>
              <a:gd name="connsiteX2521" fmla="*/ 2769832 w 11951120"/>
              <a:gd name="connsiteY2521" fmla="*/ 181139 h 6757249"/>
              <a:gd name="connsiteX2522" fmla="*/ 2766802 w 11951120"/>
              <a:gd name="connsiteY2522" fmla="*/ 214937 h 6757249"/>
              <a:gd name="connsiteX2523" fmla="*/ 2768128 w 11951120"/>
              <a:gd name="connsiteY2523" fmla="*/ 213667 h 6757249"/>
              <a:gd name="connsiteX2524" fmla="*/ 2771043 w 11951120"/>
              <a:gd name="connsiteY2524" fmla="*/ 181139 h 6757249"/>
              <a:gd name="connsiteX2525" fmla="*/ 2817941 w 11951120"/>
              <a:gd name="connsiteY2525" fmla="*/ 133559 h 6757249"/>
              <a:gd name="connsiteX2526" fmla="*/ 2818373 w 11951120"/>
              <a:gd name="connsiteY2526" fmla="*/ 103180 h 6757249"/>
              <a:gd name="connsiteX2527" fmla="*/ 2888316 w 11951120"/>
              <a:gd name="connsiteY2527" fmla="*/ 84866 h 6757249"/>
              <a:gd name="connsiteX2528" fmla="*/ 2958738 w 11951120"/>
              <a:gd name="connsiteY2528" fmla="*/ 63160 h 6757249"/>
              <a:gd name="connsiteX2529" fmla="*/ 2981297 w 11951120"/>
              <a:gd name="connsiteY2529" fmla="*/ 80525 h 6757249"/>
              <a:gd name="connsiteX2530" fmla="*/ 3005829 w 11951120"/>
              <a:gd name="connsiteY2530" fmla="*/ 84643 h 6757249"/>
              <a:gd name="connsiteX2531" fmla="*/ 3005791 w 11951120"/>
              <a:gd name="connsiteY2531" fmla="*/ 84611 h 6757249"/>
              <a:gd name="connsiteX2532" fmla="*/ 3032450 w 11951120"/>
              <a:gd name="connsiteY2532" fmla="*/ 57797 h 6757249"/>
              <a:gd name="connsiteX2533" fmla="*/ 3033280 w 11951120"/>
              <a:gd name="connsiteY2533" fmla="*/ 57973 h 6757249"/>
              <a:gd name="connsiteX2534" fmla="*/ 3034362 w 11951120"/>
              <a:gd name="connsiteY2534" fmla="*/ 21069 h 6757249"/>
              <a:gd name="connsiteX2535" fmla="*/ 3055059 w 11951120"/>
              <a:gd name="connsiteY2535" fmla="*/ 559 h 6757249"/>
              <a:gd name="connsiteX2536" fmla="*/ 3129132 w 11951120"/>
              <a:gd name="connsiteY2536" fmla="*/ 58209 h 6757249"/>
              <a:gd name="connsiteX2537" fmla="*/ 3129125 w 11951120"/>
              <a:gd name="connsiteY2537" fmla="*/ 58216 h 6757249"/>
              <a:gd name="connsiteX2538" fmla="*/ 3130204 w 11951120"/>
              <a:gd name="connsiteY2538" fmla="*/ 57797 h 6757249"/>
              <a:gd name="connsiteX2539" fmla="*/ 3059109 w 11951120"/>
              <a:gd name="connsiteY2539" fmla="*/ 133768 h 6757249"/>
              <a:gd name="connsiteX2540" fmla="*/ 3058413 w 11951120"/>
              <a:gd name="connsiteY2540" fmla="*/ 133069 h 6757249"/>
              <a:gd name="connsiteX2541" fmla="*/ 3052237 w 11951120"/>
              <a:gd name="connsiteY2541" fmla="*/ 159280 h 6757249"/>
              <a:gd name="connsiteX2542" fmla="*/ 3032662 w 11951120"/>
              <a:gd name="connsiteY2542" fmla="*/ 180322 h 6757249"/>
              <a:gd name="connsiteX2543" fmla="*/ 3031678 w 11951120"/>
              <a:gd name="connsiteY2543" fmla="*/ 181757 h 6757249"/>
              <a:gd name="connsiteX2544" fmla="*/ 3033274 w 11951120"/>
              <a:gd name="connsiteY2544" fmla="*/ 181139 h 6757249"/>
              <a:gd name="connsiteX2545" fmla="*/ 3058941 w 11951120"/>
              <a:gd name="connsiteY2545" fmla="*/ 224091 h 6757249"/>
              <a:gd name="connsiteX2546" fmla="*/ 3102318 w 11951120"/>
              <a:gd name="connsiteY2546" fmla="*/ 228446 h 6757249"/>
              <a:gd name="connsiteX2547" fmla="*/ 3101212 w 11951120"/>
              <a:gd name="connsiteY2547" fmla="*/ 230888 h 6757249"/>
              <a:gd name="connsiteX2548" fmla="*/ 3103254 w 11951120"/>
              <a:gd name="connsiteY2548" fmla="*/ 229074 h 6757249"/>
              <a:gd name="connsiteX2549" fmla="*/ 3335596 w 11951120"/>
              <a:gd name="connsiteY2549" fmla="*/ 84611 h 6757249"/>
              <a:gd name="connsiteX2550" fmla="*/ 3177779 w 11951120"/>
              <a:gd name="connsiteY2550" fmla="*/ 229074 h 6757249"/>
              <a:gd name="connsiteX2551" fmla="*/ 3177688 w 11951120"/>
              <a:gd name="connsiteY2551" fmla="*/ 229576 h 6757249"/>
              <a:gd name="connsiteX2552" fmla="*/ 3177800 w 11951120"/>
              <a:gd name="connsiteY2552" fmla="*/ 229403 h 6757249"/>
              <a:gd name="connsiteX2553" fmla="*/ 3199555 w 11951120"/>
              <a:gd name="connsiteY2553" fmla="*/ 229403 h 6757249"/>
              <a:gd name="connsiteX2554" fmla="*/ 3200608 w 11951120"/>
              <a:gd name="connsiteY2554" fmla="*/ 231871 h 6757249"/>
              <a:gd name="connsiteX2555" fmla="*/ 3200990 w 11951120"/>
              <a:gd name="connsiteY2555" fmla="*/ 229594 h 6757249"/>
              <a:gd name="connsiteX2556" fmla="*/ 3297512 w 11951120"/>
              <a:gd name="connsiteY2556" fmla="*/ 247964 h 6757249"/>
              <a:gd name="connsiteX2557" fmla="*/ 3297350 w 11951120"/>
              <a:gd name="connsiteY2557" fmla="*/ 276646 h 6757249"/>
              <a:gd name="connsiteX2558" fmla="*/ 3318919 w 11951120"/>
              <a:gd name="connsiteY2558" fmla="*/ 292185 h 6757249"/>
              <a:gd name="connsiteX2559" fmla="*/ 3356680 w 11951120"/>
              <a:gd name="connsiteY2559" fmla="*/ 297608 h 6757249"/>
              <a:gd name="connsiteX2560" fmla="*/ 3392528 w 11951120"/>
              <a:gd name="connsiteY2560" fmla="*/ 298353 h 6757249"/>
              <a:gd name="connsiteX2561" fmla="*/ 3414649 w 11951120"/>
              <a:gd name="connsiteY2561" fmla="*/ 282248 h 6757249"/>
              <a:gd name="connsiteX2562" fmla="*/ 3489542 w 11951120"/>
              <a:gd name="connsiteY2562" fmla="*/ 276636 h 6757249"/>
              <a:gd name="connsiteX2563" fmla="*/ 3424634 w 11951120"/>
              <a:gd name="connsiteY2563" fmla="*/ 355834 h 6757249"/>
              <a:gd name="connsiteX2564" fmla="*/ 3393994 w 11951120"/>
              <a:gd name="connsiteY2564" fmla="*/ 368872 h 6757249"/>
              <a:gd name="connsiteX2565" fmla="*/ 3393978 w 11951120"/>
              <a:gd name="connsiteY2565" fmla="*/ 368906 h 6757249"/>
              <a:gd name="connsiteX2566" fmla="*/ 3367510 w 11951120"/>
              <a:gd name="connsiteY2566" fmla="*/ 395353 h 6757249"/>
              <a:gd name="connsiteX2567" fmla="*/ 3367233 w 11951120"/>
              <a:gd name="connsiteY2567" fmla="*/ 396343 h 6757249"/>
              <a:gd name="connsiteX2568" fmla="*/ 3389221 w 11951120"/>
              <a:gd name="connsiteY2568" fmla="*/ 439394 h 6757249"/>
              <a:gd name="connsiteX2569" fmla="*/ 3389605 w 11951120"/>
              <a:gd name="connsiteY2569" fmla="*/ 439769 h 6757249"/>
              <a:gd name="connsiteX2570" fmla="*/ 3438156 w 11951120"/>
              <a:gd name="connsiteY2570" fmla="*/ 418716 h 6757249"/>
              <a:gd name="connsiteX2571" fmla="*/ 3487091 w 11951120"/>
              <a:gd name="connsiteY2571" fmla="*/ 406651 h 6757249"/>
              <a:gd name="connsiteX2572" fmla="*/ 3536026 w 11951120"/>
              <a:gd name="connsiteY2572" fmla="*/ 411227 h 6757249"/>
              <a:gd name="connsiteX2573" fmla="*/ 3548865 w 11951120"/>
              <a:gd name="connsiteY2573" fmla="*/ 416931 h 6757249"/>
              <a:gd name="connsiteX2574" fmla="*/ 3552144 w 11951120"/>
              <a:gd name="connsiteY2574" fmla="*/ 400116 h 6757249"/>
              <a:gd name="connsiteX2575" fmla="*/ 3600073 w 11951120"/>
              <a:gd name="connsiteY2575" fmla="*/ 373302 h 6757249"/>
              <a:gd name="connsiteX2576" fmla="*/ 3643645 w 11951120"/>
              <a:gd name="connsiteY2576" fmla="*/ 368833 h 6757249"/>
              <a:gd name="connsiteX2577" fmla="*/ 3643857 w 11951120"/>
              <a:gd name="connsiteY2577" fmla="*/ 371444 h 6757249"/>
              <a:gd name="connsiteX2578" fmla="*/ 3643981 w 11951120"/>
              <a:gd name="connsiteY2578" fmla="*/ 370821 h 6757249"/>
              <a:gd name="connsiteX2579" fmla="*/ 3670124 w 11951120"/>
              <a:gd name="connsiteY2579" fmla="*/ 326709 h 6757249"/>
              <a:gd name="connsiteX2580" fmla="*/ 3739839 w 11951120"/>
              <a:gd name="connsiteY2580" fmla="*/ 326709 h 6757249"/>
              <a:gd name="connsiteX2581" fmla="*/ 3740551 w 11951120"/>
              <a:gd name="connsiteY2581" fmla="*/ 327719 h 6757249"/>
              <a:gd name="connsiteX2582" fmla="*/ 3740249 w 11951120"/>
              <a:gd name="connsiteY2582" fmla="*/ 326119 h 6757249"/>
              <a:gd name="connsiteX2583" fmla="*/ 3700624 w 11951120"/>
              <a:gd name="connsiteY2583" fmla="*/ 189042 h 6757249"/>
              <a:gd name="connsiteX2584" fmla="*/ 3815095 w 11951120"/>
              <a:gd name="connsiteY2584" fmla="*/ 277478 h 6757249"/>
              <a:gd name="connsiteX2585" fmla="*/ 3933968 w 11951120"/>
              <a:gd name="connsiteY2585" fmla="*/ 250949 h 6757249"/>
              <a:gd name="connsiteX2586" fmla="*/ 3987677 w 11951120"/>
              <a:gd name="connsiteY2586" fmla="*/ 230584 h 6757249"/>
              <a:gd name="connsiteX2587" fmla="*/ 3996493 w 11951120"/>
              <a:gd name="connsiteY2587" fmla="*/ 234891 h 6757249"/>
              <a:gd name="connsiteX2588" fmla="*/ 4042007 w 11951120"/>
              <a:gd name="connsiteY2588" fmla="*/ 197227 h 6757249"/>
              <a:gd name="connsiteX2589" fmla="*/ 4042131 w 11951120"/>
              <a:gd name="connsiteY2589" fmla="*/ 197322 h 6757249"/>
              <a:gd name="connsiteX2590" fmla="*/ 4067038 w 11951120"/>
              <a:gd name="connsiteY2590" fmla="*/ 176506 h 6757249"/>
              <a:gd name="connsiteX2591" fmla="*/ 4068181 w 11951120"/>
              <a:gd name="connsiteY2591" fmla="*/ 176645 h 6757249"/>
              <a:gd name="connsiteX2592" fmla="*/ 4115972 w 11951120"/>
              <a:gd name="connsiteY2592" fmla="*/ 132875 h 6757249"/>
              <a:gd name="connsiteX2593" fmla="*/ 4137961 w 11951120"/>
              <a:gd name="connsiteY2593" fmla="*/ 203755 h 6757249"/>
              <a:gd name="connsiteX2594" fmla="*/ 4137986 w 11951120"/>
              <a:gd name="connsiteY2594" fmla="*/ 204809 h 6757249"/>
              <a:gd name="connsiteX2595" fmla="*/ 4139266 w 11951120"/>
              <a:gd name="connsiteY2595" fmla="*/ 203260 h 6757249"/>
              <a:gd name="connsiteX2596" fmla="*/ 4231175 w 11951120"/>
              <a:gd name="connsiteY2596" fmla="*/ 181195 h 6757249"/>
              <a:gd name="connsiteX2597" fmla="*/ 4231162 w 11951120"/>
              <a:gd name="connsiteY2597" fmla="*/ 181139 h 6757249"/>
              <a:gd name="connsiteX2598" fmla="*/ 4265181 w 11951120"/>
              <a:gd name="connsiteY2598" fmla="*/ 150036 h 6757249"/>
              <a:gd name="connsiteX2599" fmla="*/ 4307859 w 11951120"/>
              <a:gd name="connsiteY2599" fmla="*/ 151081 h 6757249"/>
              <a:gd name="connsiteX2600" fmla="*/ 4309010 w 11951120"/>
              <a:gd name="connsiteY2600" fmla="*/ 150353 h 6757249"/>
              <a:gd name="connsiteX2601" fmla="*/ 4357188 w 11951120"/>
              <a:gd name="connsiteY2601" fmla="*/ 180940 h 6757249"/>
              <a:gd name="connsiteX2602" fmla="*/ 4356918 w 11951120"/>
              <a:gd name="connsiteY2602" fmla="*/ 181208 h 6757249"/>
              <a:gd name="connsiteX2603" fmla="*/ 4357521 w 11951120"/>
              <a:gd name="connsiteY2603" fmla="*/ 181197 h 6757249"/>
              <a:gd name="connsiteX2604" fmla="*/ 4427236 w 11951120"/>
              <a:gd name="connsiteY2604" fmla="*/ 132875 h 6757249"/>
              <a:gd name="connsiteX2605" fmla="*/ 4501308 w 11951120"/>
              <a:gd name="connsiteY2605" fmla="*/ 229518 h 6757249"/>
              <a:gd name="connsiteX2606" fmla="*/ 4501015 w 11951120"/>
              <a:gd name="connsiteY2606" fmla="*/ 230405 h 6757249"/>
              <a:gd name="connsiteX2607" fmla="*/ 4502314 w 11951120"/>
              <a:gd name="connsiteY2607" fmla="*/ 229087 h 6757249"/>
              <a:gd name="connsiteX2608" fmla="*/ 4563315 w 11951120"/>
              <a:gd name="connsiteY2608" fmla="*/ 277667 h 6757249"/>
              <a:gd name="connsiteX2609" fmla="*/ 4619959 w 11951120"/>
              <a:gd name="connsiteY2609" fmla="*/ 326248 h 6757249"/>
              <a:gd name="connsiteX2610" fmla="*/ 4619644 w 11951120"/>
              <a:gd name="connsiteY2610" fmla="*/ 326536 h 6757249"/>
              <a:gd name="connsiteX2611" fmla="*/ 4620568 w 11951120"/>
              <a:gd name="connsiteY2611" fmla="*/ 326170 h 6757249"/>
              <a:gd name="connsiteX2612" fmla="*/ 4653771 w 11951120"/>
              <a:gd name="connsiteY2612" fmla="*/ 298305 h 6757249"/>
              <a:gd name="connsiteX2613" fmla="*/ 4657002 w 11951120"/>
              <a:gd name="connsiteY2613" fmla="*/ 294651 h 6757249"/>
              <a:gd name="connsiteX2614" fmla="*/ 4658406 w 11951120"/>
              <a:gd name="connsiteY2614" fmla="*/ 294415 h 6757249"/>
              <a:gd name="connsiteX2615" fmla="*/ 4673110 w 11951120"/>
              <a:gd name="connsiteY2615" fmla="*/ 282076 h 6757249"/>
              <a:gd name="connsiteX2616" fmla="*/ 4682779 w 11951120"/>
              <a:gd name="connsiteY2616" fmla="*/ 290326 h 6757249"/>
              <a:gd name="connsiteX2617" fmla="*/ 4693631 w 11951120"/>
              <a:gd name="connsiteY2617" fmla="*/ 288505 h 6757249"/>
              <a:gd name="connsiteX2618" fmla="*/ 4730259 w 11951120"/>
              <a:gd name="connsiteY2618" fmla="*/ 299118 h 6757249"/>
              <a:gd name="connsiteX2619" fmla="*/ 4720422 w 11951120"/>
              <a:gd name="connsiteY2619" fmla="*/ 310248 h 6757249"/>
              <a:gd name="connsiteX2620" fmla="*/ 4725907 w 11951120"/>
              <a:gd name="connsiteY2620" fmla="*/ 311685 h 6757249"/>
              <a:gd name="connsiteX2621" fmla="*/ 4777780 w 11951120"/>
              <a:gd name="connsiteY2621" fmla="*/ 295718 h 6757249"/>
              <a:gd name="connsiteX2622" fmla="*/ 4813055 w 11951120"/>
              <a:gd name="connsiteY2622" fmla="*/ 277750 h 6757249"/>
              <a:gd name="connsiteX2623" fmla="*/ 4813016 w 11951120"/>
              <a:gd name="connsiteY2623" fmla="*/ 277725 h 6757249"/>
              <a:gd name="connsiteX2624" fmla="*/ 4909543 w 11951120"/>
              <a:gd name="connsiteY2624" fmla="*/ 229403 h 6757249"/>
              <a:gd name="connsiteX2625" fmla="*/ 4910838 w 11951120"/>
              <a:gd name="connsiteY2625" fmla="*/ 231570 h 6757249"/>
              <a:gd name="connsiteX2626" fmla="*/ 4910973 w 11951120"/>
              <a:gd name="connsiteY2626" fmla="*/ 229224 h 6757249"/>
              <a:gd name="connsiteX2627" fmla="*/ 4955971 w 11951120"/>
              <a:gd name="connsiteY2627" fmla="*/ 233032 h 6757249"/>
              <a:gd name="connsiteX2628" fmla="*/ 4955990 w 11951120"/>
              <a:gd name="connsiteY2628" fmla="*/ 233058 h 6757249"/>
              <a:gd name="connsiteX2629" fmla="*/ 4976014 w 11951120"/>
              <a:gd name="connsiteY2629" fmla="*/ 220677 h 6757249"/>
              <a:gd name="connsiteX2630" fmla="*/ 5068110 w 11951120"/>
              <a:gd name="connsiteY2630" fmla="*/ 181139 h 6757249"/>
              <a:gd name="connsiteX2631" fmla="*/ 5065079 w 11951120"/>
              <a:gd name="connsiteY2631" fmla="*/ 214937 h 6757249"/>
              <a:gd name="connsiteX2632" fmla="*/ 5066405 w 11951120"/>
              <a:gd name="connsiteY2632" fmla="*/ 213667 h 6757249"/>
              <a:gd name="connsiteX2633" fmla="*/ 5069320 w 11951120"/>
              <a:gd name="connsiteY2633" fmla="*/ 181139 h 6757249"/>
              <a:gd name="connsiteX2634" fmla="*/ 5116219 w 11951120"/>
              <a:gd name="connsiteY2634" fmla="*/ 133559 h 6757249"/>
              <a:gd name="connsiteX2635" fmla="*/ 5116651 w 11951120"/>
              <a:gd name="connsiteY2635" fmla="*/ 103180 h 6757249"/>
              <a:gd name="connsiteX2636" fmla="*/ 5186593 w 11951120"/>
              <a:gd name="connsiteY2636" fmla="*/ 84866 h 6757249"/>
              <a:gd name="connsiteX2637" fmla="*/ 5257015 w 11951120"/>
              <a:gd name="connsiteY2637" fmla="*/ 63160 h 6757249"/>
              <a:gd name="connsiteX2638" fmla="*/ 5279574 w 11951120"/>
              <a:gd name="connsiteY2638" fmla="*/ 80525 h 6757249"/>
              <a:gd name="connsiteX2639" fmla="*/ 5304106 w 11951120"/>
              <a:gd name="connsiteY2639" fmla="*/ 84643 h 6757249"/>
              <a:gd name="connsiteX2640" fmla="*/ 5304068 w 11951120"/>
              <a:gd name="connsiteY2640" fmla="*/ 84611 h 6757249"/>
              <a:gd name="connsiteX2641" fmla="*/ 5330728 w 11951120"/>
              <a:gd name="connsiteY2641" fmla="*/ 57797 h 6757249"/>
              <a:gd name="connsiteX2642" fmla="*/ 5331557 w 11951120"/>
              <a:gd name="connsiteY2642" fmla="*/ 57973 h 6757249"/>
              <a:gd name="connsiteX2643" fmla="*/ 5332639 w 11951120"/>
              <a:gd name="connsiteY2643" fmla="*/ 21069 h 6757249"/>
              <a:gd name="connsiteX2644" fmla="*/ 5353337 w 11951120"/>
              <a:gd name="connsiteY2644" fmla="*/ 559 h 675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</a:cxnLst>
            <a:rect l="l" t="t" r="r" b="b"/>
            <a:pathLst>
              <a:path w="11951120" h="6757249">
                <a:moveTo>
                  <a:pt x="6672558" y="6700656"/>
                </a:moveTo>
                <a:cubicBezTo>
                  <a:pt x="6676915" y="6700656"/>
                  <a:pt x="6676915" y="6722107"/>
                  <a:pt x="6676915" y="6726397"/>
                </a:cubicBezTo>
                <a:cubicBezTo>
                  <a:pt x="6672558" y="6747848"/>
                  <a:pt x="6668200" y="6760718"/>
                  <a:pt x="6650771" y="6756428"/>
                </a:cubicBezTo>
                <a:cubicBezTo>
                  <a:pt x="6642057" y="6752138"/>
                  <a:pt x="6642057" y="6734977"/>
                  <a:pt x="6642057" y="6726397"/>
                </a:cubicBezTo>
                <a:cubicBezTo>
                  <a:pt x="6646415" y="6713527"/>
                  <a:pt x="6650771" y="6696366"/>
                  <a:pt x="6672558" y="6700656"/>
                </a:cubicBezTo>
                <a:close/>
                <a:moveTo>
                  <a:pt x="4374279" y="6700656"/>
                </a:moveTo>
                <a:cubicBezTo>
                  <a:pt x="4378636" y="6700656"/>
                  <a:pt x="4378636" y="6722107"/>
                  <a:pt x="4378636" y="6726397"/>
                </a:cubicBezTo>
                <a:cubicBezTo>
                  <a:pt x="4374279" y="6747848"/>
                  <a:pt x="4369921" y="6760718"/>
                  <a:pt x="4352492" y="6756428"/>
                </a:cubicBezTo>
                <a:cubicBezTo>
                  <a:pt x="4343778" y="6752138"/>
                  <a:pt x="4343778" y="6734977"/>
                  <a:pt x="4343778" y="6726397"/>
                </a:cubicBezTo>
                <a:cubicBezTo>
                  <a:pt x="4348136" y="6713527"/>
                  <a:pt x="4352492" y="6696366"/>
                  <a:pt x="4374279" y="6700656"/>
                </a:cubicBezTo>
                <a:close/>
                <a:moveTo>
                  <a:pt x="6822326" y="6699048"/>
                </a:moveTo>
                <a:cubicBezTo>
                  <a:pt x="6843983" y="6699048"/>
                  <a:pt x="6861309" y="6703406"/>
                  <a:pt x="6869972" y="6720835"/>
                </a:cubicBezTo>
                <a:cubicBezTo>
                  <a:pt x="6848314" y="6725191"/>
                  <a:pt x="6848314" y="6768763"/>
                  <a:pt x="6822326" y="6751334"/>
                </a:cubicBezTo>
                <a:cubicBezTo>
                  <a:pt x="6813663" y="6746978"/>
                  <a:pt x="6822326" y="6716477"/>
                  <a:pt x="6822326" y="6699048"/>
                </a:cubicBezTo>
                <a:close/>
                <a:moveTo>
                  <a:pt x="4524047" y="6699048"/>
                </a:moveTo>
                <a:cubicBezTo>
                  <a:pt x="4545704" y="6699048"/>
                  <a:pt x="4563030" y="6703406"/>
                  <a:pt x="4571693" y="6720835"/>
                </a:cubicBezTo>
                <a:cubicBezTo>
                  <a:pt x="4550035" y="6725191"/>
                  <a:pt x="4550035" y="6768763"/>
                  <a:pt x="4524047" y="6751334"/>
                </a:cubicBezTo>
                <a:cubicBezTo>
                  <a:pt x="4515384" y="6746978"/>
                  <a:pt x="4524047" y="6716477"/>
                  <a:pt x="4524047" y="6699048"/>
                </a:cubicBezTo>
                <a:close/>
                <a:moveTo>
                  <a:pt x="6580387" y="6620395"/>
                </a:moveTo>
                <a:cubicBezTo>
                  <a:pt x="6588967" y="6629333"/>
                  <a:pt x="6597547" y="6642739"/>
                  <a:pt x="6601838" y="6651678"/>
                </a:cubicBezTo>
                <a:cubicBezTo>
                  <a:pt x="6601838" y="6669554"/>
                  <a:pt x="6597547" y="6682960"/>
                  <a:pt x="6584677" y="6678491"/>
                </a:cubicBezTo>
                <a:cubicBezTo>
                  <a:pt x="6576097" y="6669554"/>
                  <a:pt x="6567516" y="6656147"/>
                  <a:pt x="6563226" y="6642739"/>
                </a:cubicBezTo>
                <a:cubicBezTo>
                  <a:pt x="6558936" y="6629333"/>
                  <a:pt x="6567516" y="6615926"/>
                  <a:pt x="6580387" y="6620395"/>
                </a:cubicBezTo>
                <a:close/>
                <a:moveTo>
                  <a:pt x="4282108" y="6620395"/>
                </a:moveTo>
                <a:cubicBezTo>
                  <a:pt x="4290688" y="6629333"/>
                  <a:pt x="4299268" y="6642739"/>
                  <a:pt x="4303559" y="6651678"/>
                </a:cubicBezTo>
                <a:cubicBezTo>
                  <a:pt x="4303559" y="6669554"/>
                  <a:pt x="4299268" y="6682960"/>
                  <a:pt x="4286398" y="6678491"/>
                </a:cubicBezTo>
                <a:cubicBezTo>
                  <a:pt x="4277819" y="6669554"/>
                  <a:pt x="4269237" y="6656147"/>
                  <a:pt x="4264947" y="6642739"/>
                </a:cubicBezTo>
                <a:cubicBezTo>
                  <a:pt x="4260657" y="6629333"/>
                  <a:pt x="4269237" y="6615926"/>
                  <a:pt x="4282108" y="6620395"/>
                </a:cubicBezTo>
                <a:close/>
                <a:moveTo>
                  <a:pt x="6958054" y="6576537"/>
                </a:moveTo>
                <a:cubicBezTo>
                  <a:pt x="6989024" y="6594291"/>
                  <a:pt x="7006721" y="6638672"/>
                  <a:pt x="6984600" y="6674176"/>
                </a:cubicBezTo>
                <a:cubicBezTo>
                  <a:pt x="6971328" y="6696366"/>
                  <a:pt x="6953630" y="6665300"/>
                  <a:pt x="6944781" y="6651985"/>
                </a:cubicBezTo>
                <a:cubicBezTo>
                  <a:pt x="6931509" y="6643109"/>
                  <a:pt x="6922660" y="6638672"/>
                  <a:pt x="6918236" y="6625357"/>
                </a:cubicBezTo>
                <a:cubicBezTo>
                  <a:pt x="6931509" y="6607606"/>
                  <a:pt x="6940358" y="6567662"/>
                  <a:pt x="6958054" y="6576537"/>
                </a:cubicBezTo>
                <a:close/>
                <a:moveTo>
                  <a:pt x="4659775" y="6576537"/>
                </a:moveTo>
                <a:cubicBezTo>
                  <a:pt x="4690746" y="6594291"/>
                  <a:pt x="4708442" y="6638672"/>
                  <a:pt x="4686322" y="6674176"/>
                </a:cubicBezTo>
                <a:cubicBezTo>
                  <a:pt x="4673050" y="6696366"/>
                  <a:pt x="4655351" y="6665300"/>
                  <a:pt x="4646502" y="6651985"/>
                </a:cubicBezTo>
                <a:cubicBezTo>
                  <a:pt x="4633230" y="6643109"/>
                  <a:pt x="4624381" y="6638672"/>
                  <a:pt x="4619957" y="6625357"/>
                </a:cubicBezTo>
                <a:cubicBezTo>
                  <a:pt x="4633230" y="6607606"/>
                  <a:pt x="4642079" y="6567662"/>
                  <a:pt x="4659775" y="6576537"/>
                </a:cubicBezTo>
                <a:close/>
                <a:moveTo>
                  <a:pt x="6440634" y="6475805"/>
                </a:moveTo>
                <a:lnTo>
                  <a:pt x="6438763" y="6479561"/>
                </a:lnTo>
                <a:lnTo>
                  <a:pt x="6438520" y="6480050"/>
                </a:lnTo>
                <a:lnTo>
                  <a:pt x="6441327" y="6475866"/>
                </a:lnTo>
                <a:close/>
                <a:moveTo>
                  <a:pt x="4142355" y="6475805"/>
                </a:moveTo>
                <a:lnTo>
                  <a:pt x="4140484" y="6479561"/>
                </a:lnTo>
                <a:lnTo>
                  <a:pt x="4140241" y="6480050"/>
                </a:lnTo>
                <a:lnTo>
                  <a:pt x="4143048" y="6475866"/>
                </a:lnTo>
                <a:close/>
                <a:moveTo>
                  <a:pt x="8984947" y="6474303"/>
                </a:moveTo>
                <a:lnTo>
                  <a:pt x="8983611" y="6475611"/>
                </a:lnTo>
                <a:lnTo>
                  <a:pt x="8993595" y="6485873"/>
                </a:lnTo>
                <a:close/>
                <a:moveTo>
                  <a:pt x="1687820" y="6430862"/>
                </a:moveTo>
                <a:lnTo>
                  <a:pt x="1681765" y="6432596"/>
                </a:lnTo>
                <a:lnTo>
                  <a:pt x="1683885" y="6435790"/>
                </a:lnTo>
                <a:lnTo>
                  <a:pt x="1683760" y="6436191"/>
                </a:lnTo>
                <a:lnTo>
                  <a:pt x="1688068" y="6431904"/>
                </a:lnTo>
                <a:close/>
                <a:moveTo>
                  <a:pt x="9351677" y="6409705"/>
                </a:moveTo>
                <a:lnTo>
                  <a:pt x="9347938" y="6412093"/>
                </a:lnTo>
                <a:lnTo>
                  <a:pt x="9355569" y="6425641"/>
                </a:lnTo>
                <a:lnTo>
                  <a:pt x="9356793" y="6425909"/>
                </a:lnTo>
                <a:lnTo>
                  <a:pt x="9351677" y="6410321"/>
                </a:lnTo>
                <a:close/>
                <a:moveTo>
                  <a:pt x="7053398" y="6409705"/>
                </a:moveTo>
                <a:lnTo>
                  <a:pt x="7049659" y="6412093"/>
                </a:lnTo>
                <a:lnTo>
                  <a:pt x="7057290" y="6425641"/>
                </a:lnTo>
                <a:lnTo>
                  <a:pt x="7058514" y="6425909"/>
                </a:lnTo>
                <a:lnTo>
                  <a:pt x="7053398" y="6410321"/>
                </a:lnTo>
                <a:close/>
                <a:moveTo>
                  <a:pt x="9906863" y="6387501"/>
                </a:moveTo>
                <a:lnTo>
                  <a:pt x="9907446" y="6391605"/>
                </a:lnTo>
                <a:lnTo>
                  <a:pt x="9907285" y="6392252"/>
                </a:lnTo>
                <a:lnTo>
                  <a:pt x="9907868" y="6391788"/>
                </a:lnTo>
                <a:lnTo>
                  <a:pt x="9918884" y="6388940"/>
                </a:lnTo>
                <a:close/>
                <a:moveTo>
                  <a:pt x="7608584" y="6387501"/>
                </a:moveTo>
                <a:lnTo>
                  <a:pt x="7609167" y="6391605"/>
                </a:lnTo>
                <a:lnTo>
                  <a:pt x="7609006" y="6392252"/>
                </a:lnTo>
                <a:lnTo>
                  <a:pt x="7609589" y="6391788"/>
                </a:lnTo>
                <a:lnTo>
                  <a:pt x="7620605" y="6388940"/>
                </a:lnTo>
                <a:close/>
                <a:moveTo>
                  <a:pt x="1614698" y="6360904"/>
                </a:moveTo>
                <a:lnTo>
                  <a:pt x="1614509" y="6360959"/>
                </a:lnTo>
                <a:lnTo>
                  <a:pt x="1614786" y="6361532"/>
                </a:lnTo>
                <a:close/>
                <a:moveTo>
                  <a:pt x="3911963" y="6358888"/>
                </a:moveTo>
                <a:lnTo>
                  <a:pt x="3911925" y="6359186"/>
                </a:lnTo>
                <a:lnTo>
                  <a:pt x="3911963" y="6359262"/>
                </a:lnTo>
                <a:close/>
                <a:moveTo>
                  <a:pt x="1613683" y="6358888"/>
                </a:moveTo>
                <a:lnTo>
                  <a:pt x="1613646" y="6359186"/>
                </a:lnTo>
                <a:lnTo>
                  <a:pt x="1613683" y="6359262"/>
                </a:lnTo>
                <a:close/>
                <a:moveTo>
                  <a:pt x="3911759" y="6356107"/>
                </a:moveTo>
                <a:lnTo>
                  <a:pt x="3910492" y="6356235"/>
                </a:lnTo>
                <a:lnTo>
                  <a:pt x="3911759" y="6358844"/>
                </a:lnTo>
                <a:close/>
                <a:moveTo>
                  <a:pt x="1613480" y="6356107"/>
                </a:moveTo>
                <a:lnTo>
                  <a:pt x="1612212" y="6356235"/>
                </a:lnTo>
                <a:lnTo>
                  <a:pt x="1613480" y="6358844"/>
                </a:lnTo>
                <a:close/>
                <a:moveTo>
                  <a:pt x="8512985" y="6350823"/>
                </a:moveTo>
                <a:lnTo>
                  <a:pt x="8510918" y="6356059"/>
                </a:lnTo>
                <a:lnTo>
                  <a:pt x="8513520" y="6355836"/>
                </a:lnTo>
                <a:lnTo>
                  <a:pt x="8514740" y="6356086"/>
                </a:lnTo>
                <a:close/>
                <a:moveTo>
                  <a:pt x="6214706" y="6350823"/>
                </a:moveTo>
                <a:lnTo>
                  <a:pt x="6212639" y="6356059"/>
                </a:lnTo>
                <a:lnTo>
                  <a:pt x="6215241" y="6355836"/>
                </a:lnTo>
                <a:lnTo>
                  <a:pt x="6216461" y="6356086"/>
                </a:lnTo>
                <a:close/>
                <a:moveTo>
                  <a:pt x="4165949" y="6338737"/>
                </a:moveTo>
                <a:lnTo>
                  <a:pt x="4164402" y="6342229"/>
                </a:lnTo>
                <a:lnTo>
                  <a:pt x="4168103" y="6339061"/>
                </a:lnTo>
                <a:lnTo>
                  <a:pt x="4167969" y="6338983"/>
                </a:lnTo>
                <a:close/>
                <a:moveTo>
                  <a:pt x="4475834" y="6334735"/>
                </a:moveTo>
                <a:lnTo>
                  <a:pt x="4475165" y="6335186"/>
                </a:lnTo>
                <a:lnTo>
                  <a:pt x="4475165" y="6355073"/>
                </a:lnTo>
                <a:lnTo>
                  <a:pt x="4475834" y="6355309"/>
                </a:lnTo>
                <a:close/>
                <a:moveTo>
                  <a:pt x="4185829" y="6334387"/>
                </a:moveTo>
                <a:lnTo>
                  <a:pt x="4185579" y="6334536"/>
                </a:lnTo>
                <a:lnTo>
                  <a:pt x="4185579" y="6337416"/>
                </a:lnTo>
                <a:lnTo>
                  <a:pt x="4190712" y="6334387"/>
                </a:lnTo>
                <a:close/>
                <a:moveTo>
                  <a:pt x="8012014" y="6323449"/>
                </a:moveTo>
                <a:lnTo>
                  <a:pt x="8001499" y="6324648"/>
                </a:lnTo>
                <a:lnTo>
                  <a:pt x="8001499" y="6325447"/>
                </a:lnTo>
                <a:cubicBezTo>
                  <a:pt x="8001499" y="6325447"/>
                  <a:pt x="8001499" y="6327682"/>
                  <a:pt x="8001499" y="6329916"/>
                </a:cubicBezTo>
                <a:lnTo>
                  <a:pt x="8001499" y="6332558"/>
                </a:lnTo>
                <a:lnTo>
                  <a:pt x="8002508" y="6333058"/>
                </a:lnTo>
                <a:close/>
                <a:moveTo>
                  <a:pt x="5713735" y="6323449"/>
                </a:moveTo>
                <a:lnTo>
                  <a:pt x="5703220" y="6324648"/>
                </a:lnTo>
                <a:lnTo>
                  <a:pt x="5703220" y="6325447"/>
                </a:lnTo>
                <a:cubicBezTo>
                  <a:pt x="5703220" y="6325447"/>
                  <a:pt x="5703220" y="6327682"/>
                  <a:pt x="5703220" y="6329916"/>
                </a:cubicBezTo>
                <a:lnTo>
                  <a:pt x="5703220" y="6332558"/>
                </a:lnTo>
                <a:lnTo>
                  <a:pt x="5704229" y="6333058"/>
                </a:lnTo>
                <a:close/>
                <a:moveTo>
                  <a:pt x="8848990" y="6285385"/>
                </a:moveTo>
                <a:lnTo>
                  <a:pt x="8848836" y="6285496"/>
                </a:lnTo>
                <a:lnTo>
                  <a:pt x="8848912" y="6285611"/>
                </a:lnTo>
                <a:close/>
                <a:moveTo>
                  <a:pt x="8654996" y="6260990"/>
                </a:moveTo>
                <a:lnTo>
                  <a:pt x="8654959" y="6261058"/>
                </a:lnTo>
                <a:lnTo>
                  <a:pt x="8654977" y="6261071"/>
                </a:lnTo>
                <a:close/>
                <a:moveTo>
                  <a:pt x="8821991" y="6188321"/>
                </a:moveTo>
                <a:lnTo>
                  <a:pt x="8820940" y="6190426"/>
                </a:lnTo>
                <a:lnTo>
                  <a:pt x="8819851" y="6191211"/>
                </a:lnTo>
                <a:lnTo>
                  <a:pt x="8822595" y="6193226"/>
                </a:lnTo>
                <a:lnTo>
                  <a:pt x="8821991" y="6189642"/>
                </a:lnTo>
                <a:close/>
                <a:moveTo>
                  <a:pt x="8269634" y="6184028"/>
                </a:moveTo>
                <a:lnTo>
                  <a:pt x="8269252" y="6186711"/>
                </a:lnTo>
                <a:lnTo>
                  <a:pt x="8269634" y="6186902"/>
                </a:lnTo>
                <a:close/>
                <a:moveTo>
                  <a:pt x="7315172" y="6121061"/>
                </a:moveTo>
                <a:lnTo>
                  <a:pt x="7312057" y="6124029"/>
                </a:lnTo>
                <a:lnTo>
                  <a:pt x="7316916" y="6130475"/>
                </a:lnTo>
                <a:lnTo>
                  <a:pt x="7317518" y="6129187"/>
                </a:lnTo>
                <a:close/>
                <a:moveTo>
                  <a:pt x="9624517" y="6110516"/>
                </a:moveTo>
                <a:lnTo>
                  <a:pt x="9610336" y="6124029"/>
                </a:lnTo>
                <a:lnTo>
                  <a:pt x="9615195" y="6130475"/>
                </a:lnTo>
                <a:close/>
                <a:moveTo>
                  <a:pt x="2784792" y="6106911"/>
                </a:moveTo>
                <a:lnTo>
                  <a:pt x="2779441" y="6111289"/>
                </a:lnTo>
                <a:lnTo>
                  <a:pt x="2779553" y="6111319"/>
                </a:lnTo>
                <a:lnTo>
                  <a:pt x="2780304" y="6111527"/>
                </a:lnTo>
                <a:lnTo>
                  <a:pt x="2782307" y="6114486"/>
                </a:lnTo>
                <a:lnTo>
                  <a:pt x="2784694" y="6107208"/>
                </a:lnTo>
                <a:close/>
                <a:moveTo>
                  <a:pt x="486512" y="6106911"/>
                </a:moveTo>
                <a:lnTo>
                  <a:pt x="481161" y="6111289"/>
                </a:lnTo>
                <a:lnTo>
                  <a:pt x="481274" y="6111319"/>
                </a:lnTo>
                <a:lnTo>
                  <a:pt x="482024" y="6111527"/>
                </a:lnTo>
                <a:lnTo>
                  <a:pt x="484027" y="6114486"/>
                </a:lnTo>
                <a:lnTo>
                  <a:pt x="486414" y="6107208"/>
                </a:lnTo>
                <a:close/>
                <a:moveTo>
                  <a:pt x="11178700" y="6092678"/>
                </a:moveTo>
                <a:lnTo>
                  <a:pt x="11176844" y="6093262"/>
                </a:lnTo>
                <a:lnTo>
                  <a:pt x="11178700" y="6096068"/>
                </a:lnTo>
                <a:close/>
                <a:moveTo>
                  <a:pt x="504441" y="6085325"/>
                </a:moveTo>
                <a:lnTo>
                  <a:pt x="504441" y="6087909"/>
                </a:lnTo>
                <a:lnTo>
                  <a:pt x="504441" y="6091235"/>
                </a:lnTo>
                <a:lnTo>
                  <a:pt x="507449" y="6088789"/>
                </a:lnTo>
                <a:close/>
                <a:moveTo>
                  <a:pt x="403025" y="6044800"/>
                </a:moveTo>
                <a:lnTo>
                  <a:pt x="410519" y="6115339"/>
                </a:lnTo>
                <a:lnTo>
                  <a:pt x="411071" y="6111527"/>
                </a:lnTo>
                <a:lnTo>
                  <a:pt x="411178" y="6111499"/>
                </a:lnTo>
                <a:lnTo>
                  <a:pt x="407404" y="6044800"/>
                </a:lnTo>
                <a:close/>
                <a:moveTo>
                  <a:pt x="10960051" y="6033899"/>
                </a:moveTo>
                <a:lnTo>
                  <a:pt x="10959722" y="6034203"/>
                </a:lnTo>
                <a:lnTo>
                  <a:pt x="10956781" y="6057954"/>
                </a:lnTo>
                <a:lnTo>
                  <a:pt x="10957046" y="6058105"/>
                </a:lnTo>
                <a:close/>
                <a:moveTo>
                  <a:pt x="1733395" y="6023351"/>
                </a:moveTo>
                <a:lnTo>
                  <a:pt x="1734834" y="6030492"/>
                </a:lnTo>
                <a:lnTo>
                  <a:pt x="1736236" y="6023351"/>
                </a:lnTo>
                <a:lnTo>
                  <a:pt x="1735974" y="6023351"/>
                </a:lnTo>
                <a:close/>
                <a:moveTo>
                  <a:pt x="10646103" y="6016482"/>
                </a:moveTo>
                <a:lnTo>
                  <a:pt x="10645480" y="6017070"/>
                </a:lnTo>
                <a:lnTo>
                  <a:pt x="10645808" y="6017287"/>
                </a:lnTo>
                <a:close/>
                <a:moveTo>
                  <a:pt x="10269636" y="5998367"/>
                </a:moveTo>
                <a:lnTo>
                  <a:pt x="10267993" y="6000416"/>
                </a:lnTo>
                <a:lnTo>
                  <a:pt x="10267028" y="6001419"/>
                </a:lnTo>
                <a:lnTo>
                  <a:pt x="10268859" y="6002030"/>
                </a:lnTo>
                <a:lnTo>
                  <a:pt x="10268905" y="6001284"/>
                </a:lnTo>
                <a:close/>
                <a:moveTo>
                  <a:pt x="1179966" y="5982779"/>
                </a:moveTo>
                <a:lnTo>
                  <a:pt x="1179802" y="5982789"/>
                </a:lnTo>
                <a:lnTo>
                  <a:pt x="1176338" y="5993238"/>
                </a:lnTo>
                <a:lnTo>
                  <a:pt x="1176361" y="5993242"/>
                </a:lnTo>
                <a:close/>
                <a:moveTo>
                  <a:pt x="386114" y="5953136"/>
                </a:moveTo>
                <a:lnTo>
                  <a:pt x="382692" y="5955987"/>
                </a:lnTo>
                <a:lnTo>
                  <a:pt x="386114" y="5957416"/>
                </a:lnTo>
                <a:close/>
                <a:moveTo>
                  <a:pt x="11275420" y="5949757"/>
                </a:moveTo>
                <a:lnTo>
                  <a:pt x="11275420" y="5952832"/>
                </a:lnTo>
                <a:lnTo>
                  <a:pt x="11275232" y="5953423"/>
                </a:lnTo>
                <a:lnTo>
                  <a:pt x="11275930" y="5952689"/>
                </a:lnTo>
                <a:lnTo>
                  <a:pt x="11277325" y="5952559"/>
                </a:lnTo>
                <a:close/>
                <a:moveTo>
                  <a:pt x="387783" y="5946486"/>
                </a:moveTo>
                <a:lnTo>
                  <a:pt x="387087" y="5947231"/>
                </a:lnTo>
                <a:lnTo>
                  <a:pt x="386273" y="5948588"/>
                </a:lnTo>
                <a:lnTo>
                  <a:pt x="386273" y="5951114"/>
                </a:lnTo>
                <a:close/>
                <a:moveTo>
                  <a:pt x="1323505" y="5926141"/>
                </a:moveTo>
                <a:lnTo>
                  <a:pt x="1320340" y="5926198"/>
                </a:lnTo>
                <a:lnTo>
                  <a:pt x="1323014" y="5932098"/>
                </a:lnTo>
                <a:lnTo>
                  <a:pt x="1324287" y="5926438"/>
                </a:lnTo>
                <a:lnTo>
                  <a:pt x="1323916" y="5926821"/>
                </a:lnTo>
                <a:close/>
                <a:moveTo>
                  <a:pt x="675701" y="5914425"/>
                </a:moveTo>
                <a:lnTo>
                  <a:pt x="674956" y="5917042"/>
                </a:lnTo>
                <a:lnTo>
                  <a:pt x="673818" y="5917818"/>
                </a:lnTo>
                <a:lnTo>
                  <a:pt x="675701" y="5917886"/>
                </a:lnTo>
                <a:close/>
                <a:moveTo>
                  <a:pt x="413855" y="5902303"/>
                </a:moveTo>
                <a:lnTo>
                  <a:pt x="412892" y="5902496"/>
                </a:lnTo>
                <a:lnTo>
                  <a:pt x="412696" y="5903279"/>
                </a:lnTo>
                <a:close/>
                <a:moveTo>
                  <a:pt x="382863" y="5900344"/>
                </a:moveTo>
                <a:lnTo>
                  <a:pt x="386116" y="5901428"/>
                </a:lnTo>
                <a:lnTo>
                  <a:pt x="386116" y="5901350"/>
                </a:lnTo>
                <a:lnTo>
                  <a:pt x="385109" y="5900344"/>
                </a:lnTo>
                <a:close/>
                <a:moveTo>
                  <a:pt x="440413" y="5886602"/>
                </a:moveTo>
                <a:lnTo>
                  <a:pt x="442425" y="5889618"/>
                </a:lnTo>
                <a:cubicBezTo>
                  <a:pt x="438067" y="5893976"/>
                  <a:pt x="438067" y="5898332"/>
                  <a:pt x="433709" y="5898332"/>
                </a:cubicBezTo>
                <a:lnTo>
                  <a:pt x="431194" y="5898835"/>
                </a:lnTo>
                <a:lnTo>
                  <a:pt x="432888" y="5899243"/>
                </a:lnTo>
                <a:lnTo>
                  <a:pt x="434380" y="5904170"/>
                </a:lnTo>
                <a:lnTo>
                  <a:pt x="434582" y="5904840"/>
                </a:lnTo>
                <a:lnTo>
                  <a:pt x="445105" y="5894687"/>
                </a:lnTo>
                <a:cubicBezTo>
                  <a:pt x="448323" y="5894143"/>
                  <a:pt x="451540" y="5896322"/>
                  <a:pt x="455830" y="5900680"/>
                </a:cubicBezTo>
                <a:lnTo>
                  <a:pt x="455830" y="5901683"/>
                </a:lnTo>
                <a:lnTo>
                  <a:pt x="456499" y="5900680"/>
                </a:lnTo>
                <a:lnTo>
                  <a:pt x="457842" y="5900008"/>
                </a:lnTo>
                <a:lnTo>
                  <a:pt x="455829" y="5900008"/>
                </a:lnTo>
                <a:lnTo>
                  <a:pt x="455829" y="5886602"/>
                </a:lnTo>
                <a:close/>
                <a:moveTo>
                  <a:pt x="11061478" y="5877265"/>
                </a:moveTo>
                <a:lnTo>
                  <a:pt x="11061064" y="5880197"/>
                </a:lnTo>
                <a:lnTo>
                  <a:pt x="11062253" y="5878557"/>
                </a:lnTo>
                <a:lnTo>
                  <a:pt x="11065388" y="5878815"/>
                </a:lnTo>
                <a:lnTo>
                  <a:pt x="11061986" y="5877265"/>
                </a:lnTo>
                <a:close/>
                <a:moveTo>
                  <a:pt x="503200" y="5854802"/>
                </a:moveTo>
                <a:lnTo>
                  <a:pt x="503085" y="5855150"/>
                </a:lnTo>
                <a:lnTo>
                  <a:pt x="503200" y="5855171"/>
                </a:lnTo>
                <a:close/>
                <a:moveTo>
                  <a:pt x="793506" y="5851309"/>
                </a:moveTo>
                <a:lnTo>
                  <a:pt x="790825" y="5853304"/>
                </a:lnTo>
                <a:lnTo>
                  <a:pt x="793506" y="5854167"/>
                </a:lnTo>
                <a:close/>
                <a:moveTo>
                  <a:pt x="526775" y="5845158"/>
                </a:moveTo>
                <a:lnTo>
                  <a:pt x="525544" y="5851125"/>
                </a:lnTo>
                <a:lnTo>
                  <a:pt x="525672" y="5851125"/>
                </a:lnTo>
                <a:lnTo>
                  <a:pt x="526870" y="5845377"/>
                </a:lnTo>
                <a:close/>
                <a:moveTo>
                  <a:pt x="985923" y="5830294"/>
                </a:moveTo>
                <a:lnTo>
                  <a:pt x="986010" y="5831673"/>
                </a:lnTo>
                <a:lnTo>
                  <a:pt x="986618" y="5830294"/>
                </a:lnTo>
                <a:close/>
                <a:moveTo>
                  <a:pt x="481159" y="5826915"/>
                </a:moveTo>
                <a:lnTo>
                  <a:pt x="478180" y="5830668"/>
                </a:lnTo>
                <a:lnTo>
                  <a:pt x="482107" y="5830293"/>
                </a:lnTo>
                <a:lnTo>
                  <a:pt x="482642" y="5833536"/>
                </a:lnTo>
                <a:lnTo>
                  <a:pt x="482642" y="5830293"/>
                </a:lnTo>
                <a:lnTo>
                  <a:pt x="483206" y="5830293"/>
                </a:lnTo>
                <a:lnTo>
                  <a:pt x="482080" y="5829538"/>
                </a:lnTo>
                <a:close/>
                <a:moveTo>
                  <a:pt x="10847305" y="5762498"/>
                </a:moveTo>
                <a:lnTo>
                  <a:pt x="10847308" y="5762562"/>
                </a:lnTo>
                <a:lnTo>
                  <a:pt x="10847382" y="5762535"/>
                </a:lnTo>
                <a:close/>
                <a:moveTo>
                  <a:pt x="11065417" y="5757394"/>
                </a:moveTo>
                <a:lnTo>
                  <a:pt x="11064864" y="5760872"/>
                </a:lnTo>
                <a:lnTo>
                  <a:pt x="11065940" y="5759377"/>
                </a:lnTo>
                <a:lnTo>
                  <a:pt x="11066707" y="5757620"/>
                </a:lnTo>
                <a:lnTo>
                  <a:pt x="11066428" y="5757895"/>
                </a:lnTo>
                <a:close/>
                <a:moveTo>
                  <a:pt x="440239" y="5756554"/>
                </a:moveTo>
                <a:lnTo>
                  <a:pt x="435062" y="5757573"/>
                </a:lnTo>
                <a:lnTo>
                  <a:pt x="435018" y="5757661"/>
                </a:lnTo>
                <a:lnTo>
                  <a:pt x="434702" y="5757644"/>
                </a:lnTo>
                <a:lnTo>
                  <a:pt x="433937" y="5757794"/>
                </a:lnTo>
                <a:lnTo>
                  <a:pt x="435378" y="5766276"/>
                </a:lnTo>
                <a:lnTo>
                  <a:pt x="438133" y="5758676"/>
                </a:lnTo>
                <a:lnTo>
                  <a:pt x="438905" y="5757897"/>
                </a:lnTo>
                <a:lnTo>
                  <a:pt x="434898" y="5757897"/>
                </a:lnTo>
                <a:lnTo>
                  <a:pt x="435018" y="5757661"/>
                </a:lnTo>
                <a:lnTo>
                  <a:pt x="438925" y="5757877"/>
                </a:lnTo>
                <a:close/>
                <a:moveTo>
                  <a:pt x="456435" y="5752247"/>
                </a:moveTo>
                <a:lnTo>
                  <a:pt x="456123" y="5752641"/>
                </a:lnTo>
                <a:lnTo>
                  <a:pt x="456325" y="5752703"/>
                </a:lnTo>
                <a:close/>
                <a:moveTo>
                  <a:pt x="11516742" y="5655347"/>
                </a:moveTo>
                <a:lnTo>
                  <a:pt x="11516742" y="5657013"/>
                </a:lnTo>
                <a:lnTo>
                  <a:pt x="11515329" y="5657790"/>
                </a:lnTo>
                <a:lnTo>
                  <a:pt x="11516788" y="5659166"/>
                </a:lnTo>
                <a:lnTo>
                  <a:pt x="11517075" y="5657883"/>
                </a:lnTo>
                <a:close/>
                <a:moveTo>
                  <a:pt x="10439906" y="5648132"/>
                </a:moveTo>
                <a:lnTo>
                  <a:pt x="10439166" y="5649044"/>
                </a:lnTo>
                <a:lnTo>
                  <a:pt x="10432795" y="5661826"/>
                </a:lnTo>
                <a:lnTo>
                  <a:pt x="10433479" y="5661369"/>
                </a:lnTo>
                <a:lnTo>
                  <a:pt x="10432812" y="5663402"/>
                </a:lnTo>
                <a:lnTo>
                  <a:pt x="10436193" y="5658881"/>
                </a:lnTo>
                <a:lnTo>
                  <a:pt x="10433479" y="5661369"/>
                </a:lnTo>
                <a:close/>
                <a:moveTo>
                  <a:pt x="11374235" y="5580423"/>
                </a:moveTo>
                <a:lnTo>
                  <a:pt x="11372843" y="5581920"/>
                </a:lnTo>
                <a:lnTo>
                  <a:pt x="11371681" y="5582148"/>
                </a:lnTo>
                <a:lnTo>
                  <a:pt x="11373775" y="5582884"/>
                </a:lnTo>
                <a:close/>
                <a:moveTo>
                  <a:pt x="1542350" y="5539696"/>
                </a:moveTo>
                <a:lnTo>
                  <a:pt x="1540212" y="5541658"/>
                </a:lnTo>
                <a:lnTo>
                  <a:pt x="1547285" y="5552362"/>
                </a:lnTo>
                <a:close/>
                <a:moveTo>
                  <a:pt x="580162" y="5511565"/>
                </a:moveTo>
                <a:lnTo>
                  <a:pt x="579520" y="5511702"/>
                </a:lnTo>
                <a:lnTo>
                  <a:pt x="579510" y="5511707"/>
                </a:lnTo>
                <a:lnTo>
                  <a:pt x="579880" y="5511972"/>
                </a:lnTo>
                <a:close/>
                <a:moveTo>
                  <a:pt x="11373929" y="5464554"/>
                </a:moveTo>
                <a:lnTo>
                  <a:pt x="11371948" y="5468525"/>
                </a:lnTo>
                <a:lnTo>
                  <a:pt x="11371723" y="5468751"/>
                </a:lnTo>
                <a:lnTo>
                  <a:pt x="11371370" y="5469440"/>
                </a:lnTo>
                <a:lnTo>
                  <a:pt x="11372843" y="5468310"/>
                </a:lnTo>
                <a:lnTo>
                  <a:pt x="11381628" y="5468310"/>
                </a:lnTo>
                <a:close/>
                <a:moveTo>
                  <a:pt x="262189" y="5464072"/>
                </a:moveTo>
                <a:lnTo>
                  <a:pt x="262189" y="5464768"/>
                </a:lnTo>
                <a:lnTo>
                  <a:pt x="263463" y="5467947"/>
                </a:lnTo>
                <a:lnTo>
                  <a:pt x="263463" y="5465437"/>
                </a:lnTo>
                <a:lnTo>
                  <a:pt x="265297" y="5464485"/>
                </a:lnTo>
                <a:close/>
                <a:moveTo>
                  <a:pt x="9832971" y="5463969"/>
                </a:moveTo>
                <a:lnTo>
                  <a:pt x="9825829" y="5470695"/>
                </a:lnTo>
                <a:lnTo>
                  <a:pt x="9831333" y="5468542"/>
                </a:lnTo>
                <a:close/>
                <a:moveTo>
                  <a:pt x="1421113" y="5366999"/>
                </a:moveTo>
                <a:lnTo>
                  <a:pt x="1413564" y="5374597"/>
                </a:lnTo>
                <a:lnTo>
                  <a:pt x="1415421" y="5373905"/>
                </a:lnTo>
                <a:lnTo>
                  <a:pt x="1421113" y="5370086"/>
                </a:lnTo>
                <a:close/>
                <a:moveTo>
                  <a:pt x="10125627" y="5342587"/>
                </a:moveTo>
                <a:lnTo>
                  <a:pt x="10123134" y="5344453"/>
                </a:lnTo>
                <a:lnTo>
                  <a:pt x="10119403" y="5350069"/>
                </a:lnTo>
                <a:lnTo>
                  <a:pt x="10116957" y="5352929"/>
                </a:lnTo>
                <a:lnTo>
                  <a:pt x="10113033" y="5358619"/>
                </a:lnTo>
                <a:lnTo>
                  <a:pt x="10123783" y="5345673"/>
                </a:lnTo>
                <a:close/>
                <a:moveTo>
                  <a:pt x="578477" y="5325100"/>
                </a:moveTo>
                <a:lnTo>
                  <a:pt x="574600" y="5327112"/>
                </a:lnTo>
                <a:lnTo>
                  <a:pt x="576911" y="5332723"/>
                </a:lnTo>
                <a:close/>
                <a:moveTo>
                  <a:pt x="1853244" y="5247996"/>
                </a:moveTo>
                <a:lnTo>
                  <a:pt x="1853244" y="5248739"/>
                </a:lnTo>
                <a:lnTo>
                  <a:pt x="1854163" y="5249614"/>
                </a:lnTo>
                <a:close/>
                <a:moveTo>
                  <a:pt x="11512844" y="5243760"/>
                </a:moveTo>
                <a:lnTo>
                  <a:pt x="11511827" y="5249171"/>
                </a:lnTo>
                <a:lnTo>
                  <a:pt x="11511744" y="5249458"/>
                </a:lnTo>
                <a:lnTo>
                  <a:pt x="11512354" y="5248930"/>
                </a:lnTo>
                <a:lnTo>
                  <a:pt x="11517599" y="5247737"/>
                </a:lnTo>
                <a:close/>
                <a:moveTo>
                  <a:pt x="11517607" y="5102588"/>
                </a:moveTo>
                <a:lnTo>
                  <a:pt x="11516536" y="5103649"/>
                </a:lnTo>
                <a:lnTo>
                  <a:pt x="11514915" y="5103649"/>
                </a:lnTo>
                <a:lnTo>
                  <a:pt x="11516220" y="5104379"/>
                </a:lnTo>
                <a:lnTo>
                  <a:pt x="11519619" y="5106075"/>
                </a:lnTo>
                <a:lnTo>
                  <a:pt x="11520394" y="5104475"/>
                </a:lnTo>
                <a:close/>
                <a:moveTo>
                  <a:pt x="11180501" y="5066210"/>
                </a:moveTo>
                <a:lnTo>
                  <a:pt x="11180354" y="5067835"/>
                </a:lnTo>
                <a:lnTo>
                  <a:pt x="11180501" y="5067835"/>
                </a:lnTo>
                <a:close/>
                <a:moveTo>
                  <a:pt x="864008" y="4958856"/>
                </a:moveTo>
                <a:lnTo>
                  <a:pt x="868756" y="4967163"/>
                </a:lnTo>
                <a:lnTo>
                  <a:pt x="868756" y="4958856"/>
                </a:lnTo>
                <a:lnTo>
                  <a:pt x="868666" y="4958856"/>
                </a:lnTo>
                <a:close/>
                <a:moveTo>
                  <a:pt x="1246333" y="4937404"/>
                </a:moveTo>
                <a:lnTo>
                  <a:pt x="1247534" y="4943936"/>
                </a:lnTo>
                <a:lnTo>
                  <a:pt x="1252608" y="4937404"/>
                </a:lnTo>
                <a:close/>
                <a:moveTo>
                  <a:pt x="573880" y="4884823"/>
                </a:moveTo>
                <a:lnTo>
                  <a:pt x="570705" y="4885466"/>
                </a:lnTo>
                <a:lnTo>
                  <a:pt x="574026" y="4886552"/>
                </a:lnTo>
                <a:close/>
                <a:moveTo>
                  <a:pt x="11447026" y="4813892"/>
                </a:moveTo>
                <a:lnTo>
                  <a:pt x="11446835" y="4814064"/>
                </a:lnTo>
                <a:lnTo>
                  <a:pt x="11445837" y="4814064"/>
                </a:lnTo>
                <a:lnTo>
                  <a:pt x="11447026" y="4816466"/>
                </a:lnTo>
                <a:close/>
                <a:moveTo>
                  <a:pt x="870457" y="4810340"/>
                </a:moveTo>
                <a:lnTo>
                  <a:pt x="867053" y="4813795"/>
                </a:lnTo>
                <a:lnTo>
                  <a:pt x="866830" y="4816457"/>
                </a:lnTo>
                <a:lnTo>
                  <a:pt x="868666" y="4813593"/>
                </a:lnTo>
                <a:close/>
                <a:moveTo>
                  <a:pt x="1061813" y="4764502"/>
                </a:moveTo>
                <a:lnTo>
                  <a:pt x="1061365" y="4764953"/>
                </a:lnTo>
                <a:lnTo>
                  <a:pt x="1053747" y="4767982"/>
                </a:lnTo>
                <a:lnTo>
                  <a:pt x="1054577" y="4773470"/>
                </a:lnTo>
                <a:lnTo>
                  <a:pt x="1060473" y="4766499"/>
                </a:lnTo>
                <a:lnTo>
                  <a:pt x="1061813" y="4765746"/>
                </a:lnTo>
                <a:close/>
                <a:moveTo>
                  <a:pt x="1063578" y="4693945"/>
                </a:moveTo>
                <a:lnTo>
                  <a:pt x="1062020" y="4694737"/>
                </a:lnTo>
                <a:lnTo>
                  <a:pt x="1062145" y="4695681"/>
                </a:lnTo>
                <a:close/>
                <a:moveTo>
                  <a:pt x="551905" y="4690180"/>
                </a:moveTo>
                <a:lnTo>
                  <a:pt x="550688" y="4690291"/>
                </a:lnTo>
                <a:lnTo>
                  <a:pt x="556367" y="4698294"/>
                </a:lnTo>
                <a:lnTo>
                  <a:pt x="556745" y="4696419"/>
                </a:lnTo>
                <a:lnTo>
                  <a:pt x="558509" y="4696002"/>
                </a:lnTo>
                <a:lnTo>
                  <a:pt x="557124" y="4695340"/>
                </a:lnTo>
                <a:close/>
                <a:moveTo>
                  <a:pt x="1777970" y="4650028"/>
                </a:moveTo>
                <a:lnTo>
                  <a:pt x="1777170" y="4650864"/>
                </a:lnTo>
                <a:lnTo>
                  <a:pt x="1778047" y="4650150"/>
                </a:lnTo>
                <a:close/>
                <a:moveTo>
                  <a:pt x="11495650" y="4554954"/>
                </a:moveTo>
                <a:lnTo>
                  <a:pt x="11496175" y="4556624"/>
                </a:lnTo>
                <a:lnTo>
                  <a:pt x="11496148" y="4554954"/>
                </a:lnTo>
                <a:close/>
                <a:moveTo>
                  <a:pt x="11709774" y="4550056"/>
                </a:moveTo>
                <a:lnTo>
                  <a:pt x="11709439" y="4551415"/>
                </a:lnTo>
                <a:lnTo>
                  <a:pt x="11709797" y="4551292"/>
                </a:lnTo>
                <a:lnTo>
                  <a:pt x="11709544" y="4552025"/>
                </a:lnTo>
                <a:lnTo>
                  <a:pt x="11710316" y="4551099"/>
                </a:lnTo>
                <a:lnTo>
                  <a:pt x="11711019" y="4550694"/>
                </a:lnTo>
                <a:close/>
                <a:moveTo>
                  <a:pt x="797528" y="4501923"/>
                </a:moveTo>
                <a:lnTo>
                  <a:pt x="797798" y="4502508"/>
                </a:lnTo>
                <a:lnTo>
                  <a:pt x="797935" y="4502335"/>
                </a:lnTo>
                <a:close/>
                <a:moveTo>
                  <a:pt x="11583001" y="4495768"/>
                </a:moveTo>
                <a:lnTo>
                  <a:pt x="11582652" y="4496672"/>
                </a:lnTo>
                <a:lnTo>
                  <a:pt x="11582909" y="4496719"/>
                </a:lnTo>
                <a:lnTo>
                  <a:pt x="11583106" y="4496748"/>
                </a:lnTo>
                <a:close/>
                <a:moveTo>
                  <a:pt x="11442720" y="4482344"/>
                </a:moveTo>
                <a:lnTo>
                  <a:pt x="11440315" y="4501378"/>
                </a:lnTo>
                <a:lnTo>
                  <a:pt x="11446083" y="4502334"/>
                </a:lnTo>
                <a:close/>
                <a:moveTo>
                  <a:pt x="888945" y="4453782"/>
                </a:moveTo>
                <a:lnTo>
                  <a:pt x="889252" y="4454235"/>
                </a:lnTo>
                <a:lnTo>
                  <a:pt x="889469" y="4453882"/>
                </a:lnTo>
                <a:close/>
                <a:moveTo>
                  <a:pt x="892853" y="4265588"/>
                </a:moveTo>
                <a:lnTo>
                  <a:pt x="892889" y="4265808"/>
                </a:lnTo>
                <a:lnTo>
                  <a:pt x="892554" y="4267510"/>
                </a:lnTo>
                <a:lnTo>
                  <a:pt x="893401" y="4266032"/>
                </a:lnTo>
                <a:close/>
                <a:moveTo>
                  <a:pt x="11490245" y="4209885"/>
                </a:moveTo>
                <a:lnTo>
                  <a:pt x="11487753" y="4217675"/>
                </a:lnTo>
                <a:lnTo>
                  <a:pt x="11490707" y="4218792"/>
                </a:lnTo>
                <a:lnTo>
                  <a:pt x="11490442" y="4213024"/>
                </a:lnTo>
                <a:lnTo>
                  <a:pt x="11492197" y="4212281"/>
                </a:lnTo>
                <a:lnTo>
                  <a:pt x="11490408" y="4212281"/>
                </a:lnTo>
                <a:lnTo>
                  <a:pt x="11490442" y="4213024"/>
                </a:lnTo>
                <a:lnTo>
                  <a:pt x="11490245" y="4213106"/>
                </a:lnTo>
                <a:lnTo>
                  <a:pt x="11490245" y="4212281"/>
                </a:lnTo>
                <a:lnTo>
                  <a:pt x="11489929" y="4212281"/>
                </a:lnTo>
                <a:lnTo>
                  <a:pt x="11490245" y="4210671"/>
                </a:lnTo>
                <a:close/>
                <a:moveTo>
                  <a:pt x="11490643" y="4208637"/>
                </a:moveTo>
                <a:lnTo>
                  <a:pt x="11490290" y="4209742"/>
                </a:lnTo>
                <a:lnTo>
                  <a:pt x="11490316" y="4210306"/>
                </a:lnTo>
                <a:close/>
                <a:moveTo>
                  <a:pt x="11065417" y="4195294"/>
                </a:moveTo>
                <a:lnTo>
                  <a:pt x="11064864" y="4198772"/>
                </a:lnTo>
                <a:lnTo>
                  <a:pt x="11065940" y="4197277"/>
                </a:lnTo>
                <a:lnTo>
                  <a:pt x="11066707" y="4195520"/>
                </a:lnTo>
                <a:lnTo>
                  <a:pt x="11066428" y="4195795"/>
                </a:lnTo>
                <a:close/>
                <a:moveTo>
                  <a:pt x="1013288" y="4183503"/>
                </a:moveTo>
                <a:lnTo>
                  <a:pt x="1013013" y="4185325"/>
                </a:lnTo>
                <a:lnTo>
                  <a:pt x="1012966" y="4185530"/>
                </a:lnTo>
                <a:lnTo>
                  <a:pt x="1014170" y="4184568"/>
                </a:lnTo>
                <a:close/>
                <a:moveTo>
                  <a:pt x="486513" y="4182861"/>
                </a:moveTo>
                <a:lnTo>
                  <a:pt x="481162" y="4187239"/>
                </a:lnTo>
                <a:lnTo>
                  <a:pt x="481275" y="4187269"/>
                </a:lnTo>
                <a:lnTo>
                  <a:pt x="482025" y="4187477"/>
                </a:lnTo>
                <a:lnTo>
                  <a:pt x="484028" y="4190436"/>
                </a:lnTo>
                <a:lnTo>
                  <a:pt x="486415" y="4183158"/>
                </a:lnTo>
                <a:close/>
                <a:moveTo>
                  <a:pt x="504442" y="4161275"/>
                </a:moveTo>
                <a:lnTo>
                  <a:pt x="504442" y="4163859"/>
                </a:lnTo>
                <a:lnTo>
                  <a:pt x="504442" y="4167185"/>
                </a:lnTo>
                <a:lnTo>
                  <a:pt x="507450" y="4164739"/>
                </a:lnTo>
                <a:close/>
                <a:moveTo>
                  <a:pt x="11584464" y="4139851"/>
                </a:moveTo>
                <a:lnTo>
                  <a:pt x="11587070" y="4141476"/>
                </a:lnTo>
                <a:lnTo>
                  <a:pt x="11587192" y="4140029"/>
                </a:lnTo>
                <a:close/>
                <a:moveTo>
                  <a:pt x="11688314" y="4136544"/>
                </a:moveTo>
                <a:lnTo>
                  <a:pt x="11687860" y="4137470"/>
                </a:lnTo>
                <a:lnTo>
                  <a:pt x="11687711" y="4138380"/>
                </a:lnTo>
                <a:lnTo>
                  <a:pt x="11688990" y="4138458"/>
                </a:lnTo>
                <a:close/>
                <a:moveTo>
                  <a:pt x="403026" y="4120750"/>
                </a:moveTo>
                <a:lnTo>
                  <a:pt x="410520" y="4191289"/>
                </a:lnTo>
                <a:lnTo>
                  <a:pt x="411072" y="4187477"/>
                </a:lnTo>
                <a:lnTo>
                  <a:pt x="411179" y="4187449"/>
                </a:lnTo>
                <a:lnTo>
                  <a:pt x="407405" y="4120750"/>
                </a:lnTo>
                <a:close/>
                <a:moveTo>
                  <a:pt x="386115" y="4029086"/>
                </a:moveTo>
                <a:lnTo>
                  <a:pt x="382693" y="4031937"/>
                </a:lnTo>
                <a:lnTo>
                  <a:pt x="386115" y="4033366"/>
                </a:lnTo>
                <a:close/>
                <a:moveTo>
                  <a:pt x="387784" y="4022436"/>
                </a:moveTo>
                <a:lnTo>
                  <a:pt x="387088" y="4023181"/>
                </a:lnTo>
                <a:lnTo>
                  <a:pt x="386274" y="4024538"/>
                </a:lnTo>
                <a:lnTo>
                  <a:pt x="386274" y="4027064"/>
                </a:lnTo>
                <a:close/>
                <a:moveTo>
                  <a:pt x="675702" y="3990375"/>
                </a:moveTo>
                <a:lnTo>
                  <a:pt x="674957" y="3992992"/>
                </a:lnTo>
                <a:lnTo>
                  <a:pt x="673819" y="3993768"/>
                </a:lnTo>
                <a:lnTo>
                  <a:pt x="675702" y="3993836"/>
                </a:lnTo>
                <a:close/>
                <a:moveTo>
                  <a:pt x="413856" y="3978253"/>
                </a:moveTo>
                <a:lnTo>
                  <a:pt x="412893" y="3978446"/>
                </a:lnTo>
                <a:lnTo>
                  <a:pt x="412697" y="3979229"/>
                </a:lnTo>
                <a:close/>
                <a:moveTo>
                  <a:pt x="382864" y="3976294"/>
                </a:moveTo>
                <a:lnTo>
                  <a:pt x="386117" y="3977378"/>
                </a:lnTo>
                <a:lnTo>
                  <a:pt x="386117" y="3977300"/>
                </a:lnTo>
                <a:lnTo>
                  <a:pt x="385110" y="3976294"/>
                </a:lnTo>
                <a:close/>
                <a:moveTo>
                  <a:pt x="440414" y="3962552"/>
                </a:moveTo>
                <a:lnTo>
                  <a:pt x="442426" y="3965568"/>
                </a:lnTo>
                <a:cubicBezTo>
                  <a:pt x="438068" y="3969926"/>
                  <a:pt x="438068" y="3974282"/>
                  <a:pt x="433710" y="3974282"/>
                </a:cubicBezTo>
                <a:lnTo>
                  <a:pt x="431195" y="3974785"/>
                </a:lnTo>
                <a:lnTo>
                  <a:pt x="432889" y="3975193"/>
                </a:lnTo>
                <a:lnTo>
                  <a:pt x="434381" y="3980120"/>
                </a:lnTo>
                <a:lnTo>
                  <a:pt x="434583" y="3980790"/>
                </a:lnTo>
                <a:lnTo>
                  <a:pt x="445106" y="3970637"/>
                </a:lnTo>
                <a:cubicBezTo>
                  <a:pt x="448324" y="3970093"/>
                  <a:pt x="451541" y="3972272"/>
                  <a:pt x="455831" y="3976630"/>
                </a:cubicBezTo>
                <a:lnTo>
                  <a:pt x="455831" y="3977633"/>
                </a:lnTo>
                <a:lnTo>
                  <a:pt x="456500" y="3976630"/>
                </a:lnTo>
                <a:lnTo>
                  <a:pt x="457843" y="3975958"/>
                </a:lnTo>
                <a:lnTo>
                  <a:pt x="455830" y="3975958"/>
                </a:lnTo>
                <a:lnTo>
                  <a:pt x="455830" y="3962552"/>
                </a:lnTo>
                <a:close/>
                <a:moveTo>
                  <a:pt x="503201" y="3930752"/>
                </a:moveTo>
                <a:lnTo>
                  <a:pt x="503086" y="3931100"/>
                </a:lnTo>
                <a:lnTo>
                  <a:pt x="503201" y="3931121"/>
                </a:lnTo>
                <a:close/>
                <a:moveTo>
                  <a:pt x="793507" y="3927259"/>
                </a:moveTo>
                <a:lnTo>
                  <a:pt x="790826" y="3929254"/>
                </a:lnTo>
                <a:lnTo>
                  <a:pt x="793507" y="3930117"/>
                </a:lnTo>
                <a:close/>
                <a:moveTo>
                  <a:pt x="526776" y="3921108"/>
                </a:moveTo>
                <a:lnTo>
                  <a:pt x="525545" y="3927075"/>
                </a:lnTo>
                <a:lnTo>
                  <a:pt x="525673" y="3927075"/>
                </a:lnTo>
                <a:lnTo>
                  <a:pt x="526871" y="3921327"/>
                </a:lnTo>
                <a:close/>
                <a:moveTo>
                  <a:pt x="985924" y="3906244"/>
                </a:moveTo>
                <a:lnTo>
                  <a:pt x="986011" y="3907623"/>
                </a:lnTo>
                <a:lnTo>
                  <a:pt x="986619" y="3906244"/>
                </a:lnTo>
                <a:close/>
                <a:moveTo>
                  <a:pt x="481160" y="3902865"/>
                </a:moveTo>
                <a:lnTo>
                  <a:pt x="478181" y="3906618"/>
                </a:lnTo>
                <a:lnTo>
                  <a:pt x="482108" y="3906243"/>
                </a:lnTo>
                <a:lnTo>
                  <a:pt x="482643" y="3909486"/>
                </a:lnTo>
                <a:lnTo>
                  <a:pt x="482643" y="3906243"/>
                </a:lnTo>
                <a:lnTo>
                  <a:pt x="483207" y="3906243"/>
                </a:lnTo>
                <a:lnTo>
                  <a:pt x="482081" y="3905488"/>
                </a:lnTo>
                <a:close/>
                <a:moveTo>
                  <a:pt x="11373929" y="3902454"/>
                </a:moveTo>
                <a:lnTo>
                  <a:pt x="11371948" y="3906425"/>
                </a:lnTo>
                <a:lnTo>
                  <a:pt x="11371723" y="3906651"/>
                </a:lnTo>
                <a:lnTo>
                  <a:pt x="11371370" y="3907340"/>
                </a:lnTo>
                <a:lnTo>
                  <a:pt x="11372843" y="3906210"/>
                </a:lnTo>
                <a:lnTo>
                  <a:pt x="11381628" y="3906210"/>
                </a:lnTo>
                <a:close/>
                <a:moveTo>
                  <a:pt x="440240" y="3832504"/>
                </a:moveTo>
                <a:lnTo>
                  <a:pt x="435063" y="3833523"/>
                </a:lnTo>
                <a:lnTo>
                  <a:pt x="435019" y="3833611"/>
                </a:lnTo>
                <a:lnTo>
                  <a:pt x="434703" y="3833594"/>
                </a:lnTo>
                <a:lnTo>
                  <a:pt x="433938" y="3833744"/>
                </a:lnTo>
                <a:lnTo>
                  <a:pt x="435379" y="3842226"/>
                </a:lnTo>
                <a:lnTo>
                  <a:pt x="438134" y="3834626"/>
                </a:lnTo>
                <a:lnTo>
                  <a:pt x="438906" y="3833847"/>
                </a:lnTo>
                <a:lnTo>
                  <a:pt x="434899" y="3833847"/>
                </a:lnTo>
                <a:lnTo>
                  <a:pt x="435019" y="3833611"/>
                </a:lnTo>
                <a:lnTo>
                  <a:pt x="438926" y="3833827"/>
                </a:lnTo>
                <a:close/>
                <a:moveTo>
                  <a:pt x="456436" y="3828197"/>
                </a:moveTo>
                <a:lnTo>
                  <a:pt x="456124" y="3828591"/>
                </a:lnTo>
                <a:lnTo>
                  <a:pt x="456326" y="3828653"/>
                </a:lnTo>
                <a:close/>
                <a:moveTo>
                  <a:pt x="10125627" y="3780487"/>
                </a:moveTo>
                <a:lnTo>
                  <a:pt x="10123134" y="3782353"/>
                </a:lnTo>
                <a:lnTo>
                  <a:pt x="10119403" y="3787969"/>
                </a:lnTo>
                <a:lnTo>
                  <a:pt x="10116957" y="3790829"/>
                </a:lnTo>
                <a:lnTo>
                  <a:pt x="10113033" y="3796519"/>
                </a:lnTo>
                <a:lnTo>
                  <a:pt x="10123783" y="3783573"/>
                </a:lnTo>
                <a:close/>
                <a:moveTo>
                  <a:pt x="11512844" y="3681660"/>
                </a:moveTo>
                <a:lnTo>
                  <a:pt x="11511827" y="3687071"/>
                </a:lnTo>
                <a:lnTo>
                  <a:pt x="11511744" y="3687358"/>
                </a:lnTo>
                <a:lnTo>
                  <a:pt x="11512354" y="3686830"/>
                </a:lnTo>
                <a:lnTo>
                  <a:pt x="11517599" y="3685637"/>
                </a:lnTo>
                <a:close/>
                <a:moveTo>
                  <a:pt x="1542351" y="3615646"/>
                </a:moveTo>
                <a:lnTo>
                  <a:pt x="1540213" y="3617608"/>
                </a:lnTo>
                <a:lnTo>
                  <a:pt x="1547286" y="3628312"/>
                </a:lnTo>
                <a:close/>
                <a:moveTo>
                  <a:pt x="580163" y="3587515"/>
                </a:moveTo>
                <a:lnTo>
                  <a:pt x="579521" y="3587652"/>
                </a:lnTo>
                <a:lnTo>
                  <a:pt x="579511" y="3587657"/>
                </a:lnTo>
                <a:lnTo>
                  <a:pt x="579881" y="3587922"/>
                </a:lnTo>
                <a:close/>
                <a:moveTo>
                  <a:pt x="11517607" y="3540488"/>
                </a:moveTo>
                <a:lnTo>
                  <a:pt x="11516536" y="3541549"/>
                </a:lnTo>
                <a:lnTo>
                  <a:pt x="11514915" y="3541549"/>
                </a:lnTo>
                <a:lnTo>
                  <a:pt x="11516220" y="3542279"/>
                </a:lnTo>
                <a:lnTo>
                  <a:pt x="11519619" y="3543975"/>
                </a:lnTo>
                <a:lnTo>
                  <a:pt x="11520394" y="3542375"/>
                </a:lnTo>
                <a:close/>
                <a:moveTo>
                  <a:pt x="262190" y="3540022"/>
                </a:moveTo>
                <a:lnTo>
                  <a:pt x="262190" y="3540718"/>
                </a:lnTo>
                <a:lnTo>
                  <a:pt x="263464" y="3543897"/>
                </a:lnTo>
                <a:lnTo>
                  <a:pt x="263464" y="3541387"/>
                </a:lnTo>
                <a:lnTo>
                  <a:pt x="265298" y="3540435"/>
                </a:lnTo>
                <a:close/>
                <a:moveTo>
                  <a:pt x="11180501" y="3504110"/>
                </a:moveTo>
                <a:lnTo>
                  <a:pt x="11180354" y="3505735"/>
                </a:lnTo>
                <a:lnTo>
                  <a:pt x="11180501" y="3505735"/>
                </a:lnTo>
                <a:close/>
                <a:moveTo>
                  <a:pt x="1421114" y="3442949"/>
                </a:moveTo>
                <a:lnTo>
                  <a:pt x="1413565" y="3450547"/>
                </a:lnTo>
                <a:lnTo>
                  <a:pt x="1415422" y="3449855"/>
                </a:lnTo>
                <a:lnTo>
                  <a:pt x="1421114" y="3446036"/>
                </a:lnTo>
                <a:close/>
                <a:moveTo>
                  <a:pt x="578478" y="3401050"/>
                </a:moveTo>
                <a:lnTo>
                  <a:pt x="574601" y="3403062"/>
                </a:lnTo>
                <a:lnTo>
                  <a:pt x="576912" y="3408673"/>
                </a:lnTo>
                <a:close/>
                <a:moveTo>
                  <a:pt x="1853245" y="3323946"/>
                </a:moveTo>
                <a:lnTo>
                  <a:pt x="1853245" y="3324689"/>
                </a:lnTo>
                <a:lnTo>
                  <a:pt x="1854164" y="3325564"/>
                </a:lnTo>
                <a:close/>
                <a:moveTo>
                  <a:pt x="11447026" y="3251792"/>
                </a:moveTo>
                <a:lnTo>
                  <a:pt x="11446835" y="3251964"/>
                </a:lnTo>
                <a:lnTo>
                  <a:pt x="11445837" y="3251964"/>
                </a:lnTo>
                <a:lnTo>
                  <a:pt x="11447026" y="3254366"/>
                </a:lnTo>
                <a:close/>
                <a:moveTo>
                  <a:pt x="864009" y="3034806"/>
                </a:moveTo>
                <a:lnTo>
                  <a:pt x="868757" y="3043113"/>
                </a:lnTo>
                <a:lnTo>
                  <a:pt x="868757" y="3034806"/>
                </a:lnTo>
                <a:lnTo>
                  <a:pt x="868667" y="3034806"/>
                </a:lnTo>
                <a:close/>
                <a:moveTo>
                  <a:pt x="1246334" y="3013354"/>
                </a:moveTo>
                <a:lnTo>
                  <a:pt x="1247535" y="3019886"/>
                </a:lnTo>
                <a:lnTo>
                  <a:pt x="1252609" y="3013354"/>
                </a:lnTo>
                <a:close/>
                <a:moveTo>
                  <a:pt x="10891872" y="3003900"/>
                </a:moveTo>
                <a:lnTo>
                  <a:pt x="10890350" y="3009152"/>
                </a:lnTo>
                <a:lnTo>
                  <a:pt x="10890698" y="3010563"/>
                </a:lnTo>
                <a:lnTo>
                  <a:pt x="10894679" y="3006582"/>
                </a:lnTo>
                <a:close/>
                <a:moveTo>
                  <a:pt x="11495650" y="2992854"/>
                </a:moveTo>
                <a:lnTo>
                  <a:pt x="11496175" y="2994524"/>
                </a:lnTo>
                <a:lnTo>
                  <a:pt x="11496148" y="2992854"/>
                </a:lnTo>
                <a:close/>
                <a:moveTo>
                  <a:pt x="11709774" y="2987956"/>
                </a:moveTo>
                <a:lnTo>
                  <a:pt x="11709439" y="2989315"/>
                </a:lnTo>
                <a:lnTo>
                  <a:pt x="11709797" y="2989192"/>
                </a:lnTo>
                <a:lnTo>
                  <a:pt x="11709544" y="2989925"/>
                </a:lnTo>
                <a:lnTo>
                  <a:pt x="11710316" y="2988999"/>
                </a:lnTo>
                <a:lnTo>
                  <a:pt x="11711019" y="2988594"/>
                </a:lnTo>
                <a:close/>
                <a:moveTo>
                  <a:pt x="573881" y="2960773"/>
                </a:moveTo>
                <a:lnTo>
                  <a:pt x="570706" y="2961416"/>
                </a:lnTo>
                <a:lnTo>
                  <a:pt x="574027" y="2962502"/>
                </a:lnTo>
                <a:close/>
                <a:moveTo>
                  <a:pt x="11583001" y="2933668"/>
                </a:moveTo>
                <a:lnTo>
                  <a:pt x="11582652" y="2934572"/>
                </a:lnTo>
                <a:lnTo>
                  <a:pt x="11582909" y="2934619"/>
                </a:lnTo>
                <a:lnTo>
                  <a:pt x="11583106" y="2934648"/>
                </a:lnTo>
                <a:close/>
                <a:moveTo>
                  <a:pt x="11442720" y="2920244"/>
                </a:moveTo>
                <a:lnTo>
                  <a:pt x="11440315" y="2939278"/>
                </a:lnTo>
                <a:lnTo>
                  <a:pt x="11446083" y="2940234"/>
                </a:lnTo>
                <a:close/>
                <a:moveTo>
                  <a:pt x="870458" y="2886290"/>
                </a:moveTo>
                <a:lnTo>
                  <a:pt x="867054" y="2889745"/>
                </a:lnTo>
                <a:lnTo>
                  <a:pt x="866831" y="2892407"/>
                </a:lnTo>
                <a:lnTo>
                  <a:pt x="868667" y="2889543"/>
                </a:lnTo>
                <a:close/>
                <a:moveTo>
                  <a:pt x="11269302" y="2880025"/>
                </a:moveTo>
                <a:lnTo>
                  <a:pt x="11276347" y="2896935"/>
                </a:lnTo>
                <a:lnTo>
                  <a:pt x="11276698" y="2896547"/>
                </a:lnTo>
                <a:lnTo>
                  <a:pt x="11280620" y="2888694"/>
                </a:lnTo>
                <a:close/>
                <a:moveTo>
                  <a:pt x="1061814" y="2840452"/>
                </a:moveTo>
                <a:lnTo>
                  <a:pt x="1061366" y="2840903"/>
                </a:lnTo>
                <a:lnTo>
                  <a:pt x="1053748" y="2843932"/>
                </a:lnTo>
                <a:lnTo>
                  <a:pt x="1054578" y="2849420"/>
                </a:lnTo>
                <a:lnTo>
                  <a:pt x="1060474" y="2842450"/>
                </a:lnTo>
                <a:lnTo>
                  <a:pt x="1061814" y="2841696"/>
                </a:lnTo>
                <a:close/>
                <a:moveTo>
                  <a:pt x="551906" y="2766130"/>
                </a:moveTo>
                <a:lnTo>
                  <a:pt x="550689" y="2766241"/>
                </a:lnTo>
                <a:lnTo>
                  <a:pt x="556368" y="2774244"/>
                </a:lnTo>
                <a:lnTo>
                  <a:pt x="556746" y="2772369"/>
                </a:lnTo>
                <a:lnTo>
                  <a:pt x="558510" y="2771952"/>
                </a:lnTo>
                <a:lnTo>
                  <a:pt x="557125" y="2771290"/>
                </a:lnTo>
                <a:close/>
                <a:moveTo>
                  <a:pt x="11160690" y="2747790"/>
                </a:moveTo>
                <a:lnTo>
                  <a:pt x="11160704" y="2747871"/>
                </a:lnTo>
                <a:lnTo>
                  <a:pt x="11161112" y="2747871"/>
                </a:lnTo>
                <a:close/>
                <a:moveTo>
                  <a:pt x="11181864" y="2730942"/>
                </a:moveTo>
                <a:lnTo>
                  <a:pt x="11175991" y="2747871"/>
                </a:lnTo>
                <a:lnTo>
                  <a:pt x="11178403" y="2747871"/>
                </a:lnTo>
                <a:lnTo>
                  <a:pt x="11186056" y="2755470"/>
                </a:lnTo>
                <a:lnTo>
                  <a:pt x="11188002" y="2751011"/>
                </a:lnTo>
                <a:lnTo>
                  <a:pt x="11187666" y="2750551"/>
                </a:lnTo>
                <a:cubicBezTo>
                  <a:pt x="11187666" y="2750551"/>
                  <a:pt x="11178891" y="2746082"/>
                  <a:pt x="11178891" y="2746082"/>
                </a:cubicBezTo>
                <a:close/>
                <a:moveTo>
                  <a:pt x="11156674" y="2688078"/>
                </a:moveTo>
                <a:lnTo>
                  <a:pt x="11118431" y="2723738"/>
                </a:lnTo>
                <a:lnTo>
                  <a:pt x="11156674" y="2723738"/>
                </a:lnTo>
                <a:close/>
                <a:moveTo>
                  <a:pt x="11490245" y="2647785"/>
                </a:moveTo>
                <a:lnTo>
                  <a:pt x="11487753" y="2655575"/>
                </a:lnTo>
                <a:lnTo>
                  <a:pt x="11490707" y="2656692"/>
                </a:lnTo>
                <a:lnTo>
                  <a:pt x="11490442" y="2650924"/>
                </a:lnTo>
                <a:lnTo>
                  <a:pt x="11492197" y="2650181"/>
                </a:lnTo>
                <a:lnTo>
                  <a:pt x="11490408" y="2650181"/>
                </a:lnTo>
                <a:lnTo>
                  <a:pt x="11490442" y="2650924"/>
                </a:lnTo>
                <a:lnTo>
                  <a:pt x="11490245" y="2651006"/>
                </a:lnTo>
                <a:lnTo>
                  <a:pt x="11490245" y="2650181"/>
                </a:lnTo>
                <a:lnTo>
                  <a:pt x="11489929" y="2650181"/>
                </a:lnTo>
                <a:lnTo>
                  <a:pt x="11490245" y="2648571"/>
                </a:lnTo>
                <a:close/>
                <a:moveTo>
                  <a:pt x="11490643" y="2646537"/>
                </a:moveTo>
                <a:lnTo>
                  <a:pt x="11490290" y="2647642"/>
                </a:lnTo>
                <a:lnTo>
                  <a:pt x="11490316" y="2648206"/>
                </a:lnTo>
                <a:close/>
                <a:moveTo>
                  <a:pt x="11584464" y="2577751"/>
                </a:moveTo>
                <a:lnTo>
                  <a:pt x="11587070" y="2579376"/>
                </a:lnTo>
                <a:lnTo>
                  <a:pt x="11587192" y="2577929"/>
                </a:lnTo>
                <a:close/>
                <a:moveTo>
                  <a:pt x="11688314" y="2574444"/>
                </a:moveTo>
                <a:lnTo>
                  <a:pt x="11687860" y="2575370"/>
                </a:lnTo>
                <a:lnTo>
                  <a:pt x="11687711" y="2576280"/>
                </a:lnTo>
                <a:lnTo>
                  <a:pt x="11688990" y="2576358"/>
                </a:lnTo>
                <a:close/>
                <a:moveTo>
                  <a:pt x="386116" y="2524136"/>
                </a:moveTo>
                <a:lnTo>
                  <a:pt x="382694" y="2526987"/>
                </a:lnTo>
                <a:lnTo>
                  <a:pt x="386116" y="2528416"/>
                </a:lnTo>
                <a:close/>
                <a:moveTo>
                  <a:pt x="387785" y="2517486"/>
                </a:moveTo>
                <a:lnTo>
                  <a:pt x="387089" y="2518231"/>
                </a:lnTo>
                <a:lnTo>
                  <a:pt x="386275" y="2519588"/>
                </a:lnTo>
                <a:lnTo>
                  <a:pt x="386275" y="2522114"/>
                </a:lnTo>
                <a:close/>
                <a:moveTo>
                  <a:pt x="413857" y="2473303"/>
                </a:moveTo>
                <a:lnTo>
                  <a:pt x="412894" y="2473496"/>
                </a:lnTo>
                <a:lnTo>
                  <a:pt x="412698" y="2474279"/>
                </a:lnTo>
                <a:close/>
                <a:moveTo>
                  <a:pt x="382865" y="2471344"/>
                </a:moveTo>
                <a:lnTo>
                  <a:pt x="386118" y="2472428"/>
                </a:lnTo>
                <a:lnTo>
                  <a:pt x="386118" y="2472350"/>
                </a:lnTo>
                <a:lnTo>
                  <a:pt x="385111" y="2471344"/>
                </a:lnTo>
                <a:close/>
                <a:moveTo>
                  <a:pt x="440415" y="2457602"/>
                </a:moveTo>
                <a:lnTo>
                  <a:pt x="442427" y="2460618"/>
                </a:lnTo>
                <a:cubicBezTo>
                  <a:pt x="438069" y="2464976"/>
                  <a:pt x="438069" y="2469332"/>
                  <a:pt x="433711" y="2469332"/>
                </a:cubicBezTo>
                <a:lnTo>
                  <a:pt x="431196" y="2469835"/>
                </a:lnTo>
                <a:lnTo>
                  <a:pt x="432890" y="2470243"/>
                </a:lnTo>
                <a:lnTo>
                  <a:pt x="434382" y="2475170"/>
                </a:lnTo>
                <a:lnTo>
                  <a:pt x="434584" y="2475840"/>
                </a:lnTo>
                <a:lnTo>
                  <a:pt x="445107" y="2465687"/>
                </a:lnTo>
                <a:cubicBezTo>
                  <a:pt x="448325" y="2465143"/>
                  <a:pt x="451542" y="2467322"/>
                  <a:pt x="455832" y="2471680"/>
                </a:cubicBezTo>
                <a:lnTo>
                  <a:pt x="455832" y="2472683"/>
                </a:lnTo>
                <a:lnTo>
                  <a:pt x="456501" y="2471680"/>
                </a:lnTo>
                <a:lnTo>
                  <a:pt x="457844" y="2471008"/>
                </a:lnTo>
                <a:lnTo>
                  <a:pt x="455831" y="2471008"/>
                </a:lnTo>
                <a:lnTo>
                  <a:pt x="455831" y="2457602"/>
                </a:lnTo>
                <a:close/>
                <a:moveTo>
                  <a:pt x="11061478" y="2448265"/>
                </a:moveTo>
                <a:lnTo>
                  <a:pt x="11061064" y="2451197"/>
                </a:lnTo>
                <a:lnTo>
                  <a:pt x="11062253" y="2449557"/>
                </a:lnTo>
                <a:lnTo>
                  <a:pt x="11065388" y="2449815"/>
                </a:lnTo>
                <a:lnTo>
                  <a:pt x="11061986" y="2448265"/>
                </a:lnTo>
                <a:close/>
                <a:moveTo>
                  <a:pt x="503202" y="2425802"/>
                </a:moveTo>
                <a:lnTo>
                  <a:pt x="503087" y="2426150"/>
                </a:lnTo>
                <a:lnTo>
                  <a:pt x="503202" y="2426171"/>
                </a:lnTo>
                <a:close/>
                <a:moveTo>
                  <a:pt x="526777" y="2416158"/>
                </a:moveTo>
                <a:lnTo>
                  <a:pt x="525546" y="2422125"/>
                </a:lnTo>
                <a:lnTo>
                  <a:pt x="525674" y="2422125"/>
                </a:lnTo>
                <a:lnTo>
                  <a:pt x="526872" y="2416377"/>
                </a:lnTo>
                <a:close/>
                <a:moveTo>
                  <a:pt x="481161" y="2397915"/>
                </a:moveTo>
                <a:lnTo>
                  <a:pt x="478182" y="2401668"/>
                </a:lnTo>
                <a:lnTo>
                  <a:pt x="482109" y="2401293"/>
                </a:lnTo>
                <a:lnTo>
                  <a:pt x="482644" y="2404536"/>
                </a:lnTo>
                <a:lnTo>
                  <a:pt x="482644" y="2401293"/>
                </a:lnTo>
                <a:lnTo>
                  <a:pt x="483208" y="2401293"/>
                </a:lnTo>
                <a:lnTo>
                  <a:pt x="482082" y="2400538"/>
                </a:lnTo>
                <a:close/>
                <a:moveTo>
                  <a:pt x="10847305" y="2333498"/>
                </a:moveTo>
                <a:lnTo>
                  <a:pt x="10847308" y="2333562"/>
                </a:lnTo>
                <a:lnTo>
                  <a:pt x="10847382" y="2333535"/>
                </a:lnTo>
                <a:close/>
                <a:moveTo>
                  <a:pt x="11065417" y="2328394"/>
                </a:moveTo>
                <a:lnTo>
                  <a:pt x="11064864" y="2331872"/>
                </a:lnTo>
                <a:lnTo>
                  <a:pt x="11065940" y="2330377"/>
                </a:lnTo>
                <a:lnTo>
                  <a:pt x="11066707" y="2328620"/>
                </a:lnTo>
                <a:lnTo>
                  <a:pt x="11066428" y="2328895"/>
                </a:lnTo>
                <a:close/>
                <a:moveTo>
                  <a:pt x="440241" y="2327554"/>
                </a:moveTo>
                <a:lnTo>
                  <a:pt x="435064" y="2328573"/>
                </a:lnTo>
                <a:lnTo>
                  <a:pt x="435020" y="2328661"/>
                </a:lnTo>
                <a:lnTo>
                  <a:pt x="434704" y="2328644"/>
                </a:lnTo>
                <a:lnTo>
                  <a:pt x="433939" y="2328794"/>
                </a:lnTo>
                <a:lnTo>
                  <a:pt x="435380" y="2337276"/>
                </a:lnTo>
                <a:lnTo>
                  <a:pt x="438135" y="2329676"/>
                </a:lnTo>
                <a:lnTo>
                  <a:pt x="438907" y="2328897"/>
                </a:lnTo>
                <a:lnTo>
                  <a:pt x="434900" y="2328897"/>
                </a:lnTo>
                <a:lnTo>
                  <a:pt x="435020" y="2328661"/>
                </a:lnTo>
                <a:lnTo>
                  <a:pt x="438927" y="2328877"/>
                </a:lnTo>
                <a:close/>
                <a:moveTo>
                  <a:pt x="456437" y="2323247"/>
                </a:moveTo>
                <a:lnTo>
                  <a:pt x="456125" y="2323641"/>
                </a:lnTo>
                <a:lnTo>
                  <a:pt x="456327" y="2323703"/>
                </a:lnTo>
                <a:close/>
                <a:moveTo>
                  <a:pt x="11516742" y="2226347"/>
                </a:moveTo>
                <a:lnTo>
                  <a:pt x="11516742" y="2228013"/>
                </a:lnTo>
                <a:lnTo>
                  <a:pt x="11515329" y="2228790"/>
                </a:lnTo>
                <a:lnTo>
                  <a:pt x="11516788" y="2230166"/>
                </a:lnTo>
                <a:lnTo>
                  <a:pt x="11517075" y="2228883"/>
                </a:lnTo>
                <a:close/>
                <a:moveTo>
                  <a:pt x="10439906" y="2219132"/>
                </a:moveTo>
                <a:lnTo>
                  <a:pt x="10439166" y="2220044"/>
                </a:lnTo>
                <a:lnTo>
                  <a:pt x="10432795" y="2232826"/>
                </a:lnTo>
                <a:lnTo>
                  <a:pt x="10433479" y="2232369"/>
                </a:lnTo>
                <a:lnTo>
                  <a:pt x="10432812" y="2234402"/>
                </a:lnTo>
                <a:lnTo>
                  <a:pt x="10436193" y="2229881"/>
                </a:lnTo>
                <a:lnTo>
                  <a:pt x="10433479" y="2232369"/>
                </a:lnTo>
                <a:close/>
                <a:moveTo>
                  <a:pt x="11374235" y="2151423"/>
                </a:moveTo>
                <a:lnTo>
                  <a:pt x="11372843" y="2152920"/>
                </a:lnTo>
                <a:lnTo>
                  <a:pt x="11371681" y="2153148"/>
                </a:lnTo>
                <a:lnTo>
                  <a:pt x="11373775" y="2153884"/>
                </a:lnTo>
                <a:close/>
                <a:moveTo>
                  <a:pt x="580164" y="2082565"/>
                </a:moveTo>
                <a:lnTo>
                  <a:pt x="579522" y="2082702"/>
                </a:lnTo>
                <a:lnTo>
                  <a:pt x="579512" y="2082707"/>
                </a:lnTo>
                <a:lnTo>
                  <a:pt x="579882" y="2082972"/>
                </a:lnTo>
                <a:close/>
                <a:moveTo>
                  <a:pt x="11373929" y="2035554"/>
                </a:moveTo>
                <a:lnTo>
                  <a:pt x="11371948" y="2039525"/>
                </a:lnTo>
                <a:lnTo>
                  <a:pt x="11371723" y="2039751"/>
                </a:lnTo>
                <a:lnTo>
                  <a:pt x="11371370" y="2040440"/>
                </a:lnTo>
                <a:lnTo>
                  <a:pt x="11372843" y="2039310"/>
                </a:lnTo>
                <a:lnTo>
                  <a:pt x="11381628" y="2039310"/>
                </a:lnTo>
                <a:close/>
                <a:moveTo>
                  <a:pt x="262191" y="2035072"/>
                </a:moveTo>
                <a:lnTo>
                  <a:pt x="262191" y="2035768"/>
                </a:lnTo>
                <a:lnTo>
                  <a:pt x="263465" y="2038947"/>
                </a:lnTo>
                <a:lnTo>
                  <a:pt x="263465" y="2036437"/>
                </a:lnTo>
                <a:lnTo>
                  <a:pt x="265299" y="2035485"/>
                </a:lnTo>
                <a:close/>
                <a:moveTo>
                  <a:pt x="9832971" y="2034969"/>
                </a:moveTo>
                <a:lnTo>
                  <a:pt x="9825829" y="2041695"/>
                </a:lnTo>
                <a:lnTo>
                  <a:pt x="9831333" y="2039542"/>
                </a:lnTo>
                <a:close/>
                <a:moveTo>
                  <a:pt x="10125627" y="1913587"/>
                </a:moveTo>
                <a:lnTo>
                  <a:pt x="10123134" y="1915454"/>
                </a:lnTo>
                <a:lnTo>
                  <a:pt x="10119403" y="1921070"/>
                </a:lnTo>
                <a:lnTo>
                  <a:pt x="10116957" y="1923930"/>
                </a:lnTo>
                <a:lnTo>
                  <a:pt x="10113033" y="1929619"/>
                </a:lnTo>
                <a:lnTo>
                  <a:pt x="10123783" y="1916673"/>
                </a:lnTo>
                <a:close/>
                <a:moveTo>
                  <a:pt x="578479" y="1896101"/>
                </a:moveTo>
                <a:lnTo>
                  <a:pt x="574602" y="1898112"/>
                </a:lnTo>
                <a:lnTo>
                  <a:pt x="576913" y="1903723"/>
                </a:lnTo>
                <a:close/>
                <a:moveTo>
                  <a:pt x="1853246" y="1818997"/>
                </a:moveTo>
                <a:lnTo>
                  <a:pt x="1853246" y="1819739"/>
                </a:lnTo>
                <a:lnTo>
                  <a:pt x="1854165" y="1820615"/>
                </a:lnTo>
                <a:close/>
                <a:moveTo>
                  <a:pt x="11512844" y="1814760"/>
                </a:moveTo>
                <a:lnTo>
                  <a:pt x="11511827" y="1820172"/>
                </a:lnTo>
                <a:lnTo>
                  <a:pt x="11511744" y="1820458"/>
                </a:lnTo>
                <a:lnTo>
                  <a:pt x="11512354" y="1819930"/>
                </a:lnTo>
                <a:lnTo>
                  <a:pt x="11517599" y="1818738"/>
                </a:lnTo>
                <a:close/>
                <a:moveTo>
                  <a:pt x="11517607" y="1673589"/>
                </a:moveTo>
                <a:lnTo>
                  <a:pt x="11516536" y="1674649"/>
                </a:lnTo>
                <a:lnTo>
                  <a:pt x="11514915" y="1674649"/>
                </a:lnTo>
                <a:lnTo>
                  <a:pt x="11516220" y="1675379"/>
                </a:lnTo>
                <a:lnTo>
                  <a:pt x="11519619" y="1677075"/>
                </a:lnTo>
                <a:lnTo>
                  <a:pt x="11520394" y="1675475"/>
                </a:lnTo>
                <a:close/>
                <a:moveTo>
                  <a:pt x="11180501" y="1637210"/>
                </a:moveTo>
                <a:lnTo>
                  <a:pt x="11180354" y="1638835"/>
                </a:lnTo>
                <a:lnTo>
                  <a:pt x="11180501" y="1638835"/>
                </a:lnTo>
                <a:close/>
                <a:moveTo>
                  <a:pt x="864010" y="1529856"/>
                </a:moveTo>
                <a:lnTo>
                  <a:pt x="868758" y="1538164"/>
                </a:lnTo>
                <a:lnTo>
                  <a:pt x="868758" y="1529856"/>
                </a:lnTo>
                <a:lnTo>
                  <a:pt x="868668" y="1529856"/>
                </a:lnTo>
                <a:close/>
                <a:moveTo>
                  <a:pt x="1246335" y="1508405"/>
                </a:moveTo>
                <a:lnTo>
                  <a:pt x="1247536" y="1514937"/>
                </a:lnTo>
                <a:lnTo>
                  <a:pt x="1252610" y="1508405"/>
                </a:lnTo>
                <a:close/>
                <a:moveTo>
                  <a:pt x="573882" y="1455824"/>
                </a:moveTo>
                <a:lnTo>
                  <a:pt x="570707" y="1456466"/>
                </a:lnTo>
                <a:lnTo>
                  <a:pt x="574028" y="1457552"/>
                </a:lnTo>
                <a:close/>
                <a:moveTo>
                  <a:pt x="11447026" y="1384892"/>
                </a:moveTo>
                <a:lnTo>
                  <a:pt x="11446835" y="1385064"/>
                </a:lnTo>
                <a:lnTo>
                  <a:pt x="11445837" y="1385064"/>
                </a:lnTo>
                <a:lnTo>
                  <a:pt x="11447026" y="1387466"/>
                </a:lnTo>
                <a:close/>
                <a:moveTo>
                  <a:pt x="870459" y="1381340"/>
                </a:moveTo>
                <a:lnTo>
                  <a:pt x="867055" y="1384795"/>
                </a:lnTo>
                <a:lnTo>
                  <a:pt x="866832" y="1387458"/>
                </a:lnTo>
                <a:lnTo>
                  <a:pt x="868668" y="1384593"/>
                </a:lnTo>
                <a:close/>
                <a:moveTo>
                  <a:pt x="1061815" y="1335502"/>
                </a:moveTo>
                <a:lnTo>
                  <a:pt x="1061367" y="1335953"/>
                </a:lnTo>
                <a:lnTo>
                  <a:pt x="1053749" y="1338982"/>
                </a:lnTo>
                <a:lnTo>
                  <a:pt x="1054579" y="1344470"/>
                </a:lnTo>
                <a:lnTo>
                  <a:pt x="1060475" y="1337499"/>
                </a:lnTo>
                <a:lnTo>
                  <a:pt x="1061815" y="1336746"/>
                </a:lnTo>
                <a:close/>
                <a:moveTo>
                  <a:pt x="1063580" y="1264945"/>
                </a:moveTo>
                <a:lnTo>
                  <a:pt x="1062022" y="1265738"/>
                </a:lnTo>
                <a:lnTo>
                  <a:pt x="1062147" y="1266681"/>
                </a:lnTo>
                <a:close/>
                <a:moveTo>
                  <a:pt x="551907" y="1261181"/>
                </a:moveTo>
                <a:lnTo>
                  <a:pt x="550690" y="1261291"/>
                </a:lnTo>
                <a:lnTo>
                  <a:pt x="556369" y="1269294"/>
                </a:lnTo>
                <a:lnTo>
                  <a:pt x="556747" y="1267419"/>
                </a:lnTo>
                <a:lnTo>
                  <a:pt x="558511" y="1267002"/>
                </a:lnTo>
                <a:lnTo>
                  <a:pt x="557126" y="1266340"/>
                </a:lnTo>
                <a:close/>
                <a:moveTo>
                  <a:pt x="1777972" y="1221028"/>
                </a:moveTo>
                <a:lnTo>
                  <a:pt x="1777172" y="1221864"/>
                </a:lnTo>
                <a:lnTo>
                  <a:pt x="1778049" y="1221150"/>
                </a:lnTo>
                <a:close/>
                <a:moveTo>
                  <a:pt x="10891872" y="1137000"/>
                </a:moveTo>
                <a:lnTo>
                  <a:pt x="10890350" y="1142251"/>
                </a:lnTo>
                <a:lnTo>
                  <a:pt x="10890698" y="1143663"/>
                </a:lnTo>
                <a:lnTo>
                  <a:pt x="10894679" y="1139682"/>
                </a:lnTo>
                <a:close/>
                <a:moveTo>
                  <a:pt x="11495650" y="1125954"/>
                </a:moveTo>
                <a:lnTo>
                  <a:pt x="11496175" y="1127624"/>
                </a:lnTo>
                <a:lnTo>
                  <a:pt x="11496148" y="1125954"/>
                </a:lnTo>
                <a:close/>
                <a:moveTo>
                  <a:pt x="11709774" y="1121056"/>
                </a:moveTo>
                <a:lnTo>
                  <a:pt x="11709439" y="1122415"/>
                </a:lnTo>
                <a:lnTo>
                  <a:pt x="11709797" y="1122292"/>
                </a:lnTo>
                <a:lnTo>
                  <a:pt x="11709544" y="1123025"/>
                </a:lnTo>
                <a:lnTo>
                  <a:pt x="11710316" y="1122099"/>
                </a:lnTo>
                <a:lnTo>
                  <a:pt x="11711019" y="1121694"/>
                </a:lnTo>
                <a:close/>
                <a:moveTo>
                  <a:pt x="1536207" y="1096166"/>
                </a:moveTo>
                <a:lnTo>
                  <a:pt x="1536033" y="1096267"/>
                </a:lnTo>
                <a:lnTo>
                  <a:pt x="1536295" y="1096256"/>
                </a:lnTo>
                <a:close/>
                <a:moveTo>
                  <a:pt x="797530" y="1072923"/>
                </a:moveTo>
                <a:lnTo>
                  <a:pt x="797800" y="1073508"/>
                </a:lnTo>
                <a:lnTo>
                  <a:pt x="797937" y="1073335"/>
                </a:lnTo>
                <a:close/>
                <a:moveTo>
                  <a:pt x="11583001" y="1066768"/>
                </a:moveTo>
                <a:lnTo>
                  <a:pt x="11582652" y="1067672"/>
                </a:lnTo>
                <a:lnTo>
                  <a:pt x="11582909" y="1067719"/>
                </a:lnTo>
                <a:lnTo>
                  <a:pt x="11583106" y="1067748"/>
                </a:lnTo>
                <a:close/>
                <a:moveTo>
                  <a:pt x="11442720" y="1053344"/>
                </a:moveTo>
                <a:lnTo>
                  <a:pt x="11440315" y="1072378"/>
                </a:lnTo>
                <a:lnTo>
                  <a:pt x="11446083" y="1073334"/>
                </a:lnTo>
                <a:close/>
                <a:moveTo>
                  <a:pt x="888947" y="1024783"/>
                </a:moveTo>
                <a:lnTo>
                  <a:pt x="889254" y="1025236"/>
                </a:lnTo>
                <a:lnTo>
                  <a:pt x="889471" y="1024882"/>
                </a:lnTo>
                <a:close/>
                <a:moveTo>
                  <a:pt x="11269302" y="1013125"/>
                </a:moveTo>
                <a:lnTo>
                  <a:pt x="11276347" y="1030035"/>
                </a:lnTo>
                <a:lnTo>
                  <a:pt x="11276698" y="1029647"/>
                </a:lnTo>
                <a:lnTo>
                  <a:pt x="11280620" y="1021794"/>
                </a:lnTo>
                <a:close/>
                <a:moveTo>
                  <a:pt x="1517452" y="998261"/>
                </a:moveTo>
                <a:lnTo>
                  <a:pt x="1517140" y="998950"/>
                </a:lnTo>
                <a:lnTo>
                  <a:pt x="1515907" y="1000391"/>
                </a:lnTo>
                <a:lnTo>
                  <a:pt x="1516045" y="1000898"/>
                </a:lnTo>
                <a:lnTo>
                  <a:pt x="1517432" y="998831"/>
                </a:lnTo>
                <a:close/>
                <a:moveTo>
                  <a:pt x="11160690" y="880890"/>
                </a:moveTo>
                <a:lnTo>
                  <a:pt x="11160704" y="880971"/>
                </a:lnTo>
                <a:lnTo>
                  <a:pt x="11161112" y="880971"/>
                </a:lnTo>
                <a:close/>
                <a:moveTo>
                  <a:pt x="11181864" y="864042"/>
                </a:moveTo>
                <a:lnTo>
                  <a:pt x="11175991" y="880971"/>
                </a:lnTo>
                <a:lnTo>
                  <a:pt x="11178403" y="880971"/>
                </a:lnTo>
                <a:lnTo>
                  <a:pt x="11186056" y="888570"/>
                </a:lnTo>
                <a:lnTo>
                  <a:pt x="11188002" y="884111"/>
                </a:lnTo>
                <a:lnTo>
                  <a:pt x="11187666" y="883651"/>
                </a:lnTo>
                <a:cubicBezTo>
                  <a:pt x="11187666" y="883651"/>
                  <a:pt x="11178891" y="879182"/>
                  <a:pt x="11178891" y="879182"/>
                </a:cubicBezTo>
                <a:close/>
                <a:moveTo>
                  <a:pt x="892855" y="836588"/>
                </a:moveTo>
                <a:lnTo>
                  <a:pt x="892891" y="836808"/>
                </a:lnTo>
                <a:lnTo>
                  <a:pt x="892556" y="838510"/>
                </a:lnTo>
                <a:lnTo>
                  <a:pt x="893403" y="837032"/>
                </a:lnTo>
                <a:close/>
                <a:moveTo>
                  <a:pt x="11490245" y="780885"/>
                </a:moveTo>
                <a:lnTo>
                  <a:pt x="11487753" y="788675"/>
                </a:lnTo>
                <a:lnTo>
                  <a:pt x="11490707" y="789792"/>
                </a:lnTo>
                <a:lnTo>
                  <a:pt x="11490442" y="784024"/>
                </a:lnTo>
                <a:lnTo>
                  <a:pt x="11492197" y="783281"/>
                </a:lnTo>
                <a:lnTo>
                  <a:pt x="11490408" y="783281"/>
                </a:lnTo>
                <a:lnTo>
                  <a:pt x="11490442" y="784024"/>
                </a:lnTo>
                <a:lnTo>
                  <a:pt x="11490245" y="784106"/>
                </a:lnTo>
                <a:lnTo>
                  <a:pt x="11490245" y="783281"/>
                </a:lnTo>
                <a:lnTo>
                  <a:pt x="11489929" y="783281"/>
                </a:lnTo>
                <a:lnTo>
                  <a:pt x="11490245" y="781671"/>
                </a:lnTo>
                <a:close/>
                <a:moveTo>
                  <a:pt x="11490643" y="779637"/>
                </a:moveTo>
                <a:lnTo>
                  <a:pt x="11490290" y="780742"/>
                </a:lnTo>
                <a:lnTo>
                  <a:pt x="11490316" y="781306"/>
                </a:lnTo>
                <a:close/>
                <a:moveTo>
                  <a:pt x="1013290" y="754503"/>
                </a:moveTo>
                <a:lnTo>
                  <a:pt x="1013015" y="756325"/>
                </a:lnTo>
                <a:lnTo>
                  <a:pt x="1012968" y="756530"/>
                </a:lnTo>
                <a:lnTo>
                  <a:pt x="1014172" y="755568"/>
                </a:lnTo>
                <a:close/>
                <a:moveTo>
                  <a:pt x="11584464" y="710851"/>
                </a:moveTo>
                <a:lnTo>
                  <a:pt x="11587070" y="712476"/>
                </a:lnTo>
                <a:lnTo>
                  <a:pt x="11587192" y="711029"/>
                </a:lnTo>
                <a:close/>
                <a:moveTo>
                  <a:pt x="11688314" y="707544"/>
                </a:moveTo>
                <a:lnTo>
                  <a:pt x="11687860" y="708470"/>
                </a:lnTo>
                <a:lnTo>
                  <a:pt x="11687711" y="709380"/>
                </a:lnTo>
                <a:lnTo>
                  <a:pt x="11688990" y="709458"/>
                </a:lnTo>
                <a:close/>
                <a:moveTo>
                  <a:pt x="1999412" y="692378"/>
                </a:moveTo>
                <a:lnTo>
                  <a:pt x="1999626" y="694089"/>
                </a:lnTo>
                <a:lnTo>
                  <a:pt x="2002074" y="692912"/>
                </a:lnTo>
                <a:close/>
                <a:moveTo>
                  <a:pt x="1448682" y="615753"/>
                </a:moveTo>
                <a:lnTo>
                  <a:pt x="1448874" y="616166"/>
                </a:lnTo>
                <a:lnTo>
                  <a:pt x="1449428" y="616166"/>
                </a:lnTo>
                <a:close/>
                <a:moveTo>
                  <a:pt x="1494262" y="615652"/>
                </a:moveTo>
                <a:lnTo>
                  <a:pt x="1496444" y="616861"/>
                </a:lnTo>
                <a:lnTo>
                  <a:pt x="1497935" y="616718"/>
                </a:lnTo>
                <a:lnTo>
                  <a:pt x="1495763" y="615652"/>
                </a:lnTo>
                <a:close/>
                <a:moveTo>
                  <a:pt x="2192448" y="541683"/>
                </a:moveTo>
                <a:lnTo>
                  <a:pt x="2192448" y="544863"/>
                </a:lnTo>
                <a:lnTo>
                  <a:pt x="2192535" y="545235"/>
                </a:lnTo>
                <a:lnTo>
                  <a:pt x="2195083" y="544316"/>
                </a:lnTo>
                <a:close/>
                <a:moveTo>
                  <a:pt x="5932207" y="526076"/>
                </a:moveTo>
                <a:lnTo>
                  <a:pt x="5931838" y="526420"/>
                </a:lnTo>
                <a:lnTo>
                  <a:pt x="5931838" y="540439"/>
                </a:lnTo>
                <a:lnTo>
                  <a:pt x="5932207" y="540439"/>
                </a:lnTo>
                <a:close/>
                <a:moveTo>
                  <a:pt x="9745508" y="522164"/>
                </a:moveTo>
                <a:lnTo>
                  <a:pt x="9741647" y="522814"/>
                </a:lnTo>
                <a:lnTo>
                  <a:pt x="9741691" y="523113"/>
                </a:lnTo>
                <a:lnTo>
                  <a:pt x="9741685" y="523117"/>
                </a:lnTo>
                <a:close/>
                <a:moveTo>
                  <a:pt x="9304253" y="520125"/>
                </a:moveTo>
                <a:lnTo>
                  <a:pt x="9301000" y="522351"/>
                </a:lnTo>
                <a:lnTo>
                  <a:pt x="9307186" y="523400"/>
                </a:lnTo>
                <a:lnTo>
                  <a:pt x="9308163" y="524394"/>
                </a:lnTo>
                <a:lnTo>
                  <a:pt x="9308080" y="523981"/>
                </a:lnTo>
                <a:close/>
                <a:moveTo>
                  <a:pt x="9544722" y="496953"/>
                </a:moveTo>
                <a:lnTo>
                  <a:pt x="9545149" y="497952"/>
                </a:lnTo>
                <a:lnTo>
                  <a:pt x="9545143" y="498056"/>
                </a:lnTo>
                <a:lnTo>
                  <a:pt x="9545357" y="497697"/>
                </a:lnTo>
                <a:lnTo>
                  <a:pt x="9545906" y="496975"/>
                </a:lnTo>
                <a:close/>
                <a:moveTo>
                  <a:pt x="1951575" y="469023"/>
                </a:moveTo>
                <a:lnTo>
                  <a:pt x="1945498" y="472065"/>
                </a:lnTo>
                <a:lnTo>
                  <a:pt x="1951425" y="472065"/>
                </a:lnTo>
                <a:lnTo>
                  <a:pt x="1951575" y="470312"/>
                </a:lnTo>
                <a:close/>
                <a:moveTo>
                  <a:pt x="1639882" y="464002"/>
                </a:moveTo>
                <a:lnTo>
                  <a:pt x="1634702" y="470839"/>
                </a:lnTo>
                <a:lnTo>
                  <a:pt x="1632009" y="478899"/>
                </a:lnTo>
                <a:lnTo>
                  <a:pt x="1638304" y="476087"/>
                </a:lnTo>
                <a:lnTo>
                  <a:pt x="1638304" y="478842"/>
                </a:lnTo>
                <a:lnTo>
                  <a:pt x="1639684" y="476310"/>
                </a:lnTo>
                <a:lnTo>
                  <a:pt x="1638762" y="475776"/>
                </a:lnTo>
                <a:lnTo>
                  <a:pt x="1638977" y="473513"/>
                </a:lnTo>
                <a:lnTo>
                  <a:pt x="1636046" y="470583"/>
                </a:lnTo>
                <a:lnTo>
                  <a:pt x="1639194" y="471233"/>
                </a:lnTo>
                <a:close/>
                <a:moveTo>
                  <a:pt x="8906130" y="451199"/>
                </a:moveTo>
                <a:lnTo>
                  <a:pt x="8899536" y="457671"/>
                </a:lnTo>
                <a:lnTo>
                  <a:pt x="8899495" y="458582"/>
                </a:lnTo>
                <a:lnTo>
                  <a:pt x="8903223" y="454339"/>
                </a:lnTo>
                <a:lnTo>
                  <a:pt x="8906657" y="451299"/>
                </a:lnTo>
                <a:close/>
                <a:moveTo>
                  <a:pt x="2501951" y="422681"/>
                </a:moveTo>
                <a:lnTo>
                  <a:pt x="2501804" y="423823"/>
                </a:lnTo>
                <a:lnTo>
                  <a:pt x="2502241" y="423382"/>
                </a:lnTo>
                <a:close/>
                <a:moveTo>
                  <a:pt x="2769832" y="421860"/>
                </a:moveTo>
                <a:lnTo>
                  <a:pt x="2769832" y="422078"/>
                </a:lnTo>
                <a:lnTo>
                  <a:pt x="2769457" y="422703"/>
                </a:lnTo>
                <a:lnTo>
                  <a:pt x="2769474" y="422698"/>
                </a:lnTo>
                <a:lnTo>
                  <a:pt x="2770453" y="422217"/>
                </a:lnTo>
                <a:close/>
                <a:moveTo>
                  <a:pt x="7208837" y="419290"/>
                </a:moveTo>
                <a:lnTo>
                  <a:pt x="7208019" y="419530"/>
                </a:lnTo>
                <a:lnTo>
                  <a:pt x="7211299" y="426193"/>
                </a:lnTo>
                <a:lnTo>
                  <a:pt x="7212024" y="422507"/>
                </a:lnTo>
                <a:close/>
                <a:moveTo>
                  <a:pt x="4260661" y="396172"/>
                </a:moveTo>
                <a:lnTo>
                  <a:pt x="4260661" y="404681"/>
                </a:lnTo>
                <a:lnTo>
                  <a:pt x="4272748" y="396973"/>
                </a:lnTo>
                <a:close/>
                <a:moveTo>
                  <a:pt x="2674514" y="391911"/>
                </a:moveTo>
                <a:lnTo>
                  <a:pt x="2673303" y="392733"/>
                </a:lnTo>
                <a:lnTo>
                  <a:pt x="2673303" y="398059"/>
                </a:lnTo>
                <a:lnTo>
                  <a:pt x="2674514" y="396942"/>
                </a:lnTo>
                <a:close/>
                <a:moveTo>
                  <a:pt x="6315958" y="375089"/>
                </a:moveTo>
                <a:lnTo>
                  <a:pt x="6315735" y="376471"/>
                </a:lnTo>
                <a:lnTo>
                  <a:pt x="6317034" y="375089"/>
                </a:lnTo>
                <a:close/>
                <a:moveTo>
                  <a:pt x="4311805" y="369570"/>
                </a:moveTo>
                <a:lnTo>
                  <a:pt x="4309189" y="373899"/>
                </a:lnTo>
                <a:lnTo>
                  <a:pt x="4308944" y="374196"/>
                </a:lnTo>
                <a:lnTo>
                  <a:pt x="4312742" y="374196"/>
                </a:lnTo>
                <a:close/>
                <a:moveTo>
                  <a:pt x="3007558" y="351560"/>
                </a:moveTo>
                <a:lnTo>
                  <a:pt x="3007104" y="352899"/>
                </a:lnTo>
                <a:lnTo>
                  <a:pt x="3009722" y="353558"/>
                </a:lnTo>
                <a:close/>
                <a:moveTo>
                  <a:pt x="5305835" y="351560"/>
                </a:moveTo>
                <a:lnTo>
                  <a:pt x="5305381" y="352899"/>
                </a:lnTo>
                <a:lnTo>
                  <a:pt x="5307999" y="353558"/>
                </a:lnTo>
                <a:close/>
                <a:moveTo>
                  <a:pt x="5752296" y="350600"/>
                </a:moveTo>
                <a:lnTo>
                  <a:pt x="5722911" y="355834"/>
                </a:lnTo>
                <a:lnTo>
                  <a:pt x="5692272" y="368872"/>
                </a:lnTo>
                <a:lnTo>
                  <a:pt x="5692255" y="368906"/>
                </a:lnTo>
                <a:cubicBezTo>
                  <a:pt x="5683433" y="377723"/>
                  <a:pt x="5674612" y="386538"/>
                  <a:pt x="5665788" y="395353"/>
                </a:cubicBezTo>
                <a:lnTo>
                  <a:pt x="5665511" y="396343"/>
                </a:lnTo>
                <a:lnTo>
                  <a:pt x="5672046" y="409139"/>
                </a:lnTo>
                <a:lnTo>
                  <a:pt x="5750479" y="373576"/>
                </a:lnTo>
                <a:cubicBezTo>
                  <a:pt x="5750479" y="364776"/>
                  <a:pt x="5754838" y="355976"/>
                  <a:pt x="5750479" y="351575"/>
                </a:cubicBezTo>
                <a:close/>
                <a:moveTo>
                  <a:pt x="3153124" y="342577"/>
                </a:moveTo>
                <a:lnTo>
                  <a:pt x="3152929" y="342726"/>
                </a:lnTo>
                <a:lnTo>
                  <a:pt x="3153091" y="342739"/>
                </a:lnTo>
                <a:close/>
                <a:moveTo>
                  <a:pt x="5451401" y="342577"/>
                </a:moveTo>
                <a:lnTo>
                  <a:pt x="5451206" y="342726"/>
                </a:lnTo>
                <a:lnTo>
                  <a:pt x="5451369" y="342739"/>
                </a:lnTo>
                <a:close/>
                <a:moveTo>
                  <a:pt x="4335495" y="325648"/>
                </a:moveTo>
                <a:lnTo>
                  <a:pt x="4335736" y="329953"/>
                </a:lnTo>
                <a:lnTo>
                  <a:pt x="4335259" y="330740"/>
                </a:lnTo>
                <a:lnTo>
                  <a:pt x="4336290" y="330088"/>
                </a:lnTo>
                <a:lnTo>
                  <a:pt x="4340427" y="327141"/>
                </a:lnTo>
                <a:close/>
                <a:moveTo>
                  <a:pt x="3084284" y="268278"/>
                </a:moveTo>
                <a:lnTo>
                  <a:pt x="3080467" y="276708"/>
                </a:lnTo>
                <a:lnTo>
                  <a:pt x="3082082" y="277742"/>
                </a:lnTo>
                <a:lnTo>
                  <a:pt x="3087164" y="277044"/>
                </a:lnTo>
                <a:close/>
                <a:moveTo>
                  <a:pt x="5382561" y="268278"/>
                </a:moveTo>
                <a:lnTo>
                  <a:pt x="5378745" y="276708"/>
                </a:lnTo>
                <a:lnTo>
                  <a:pt x="5380359" y="277742"/>
                </a:lnTo>
                <a:lnTo>
                  <a:pt x="5385441" y="277044"/>
                </a:lnTo>
                <a:close/>
                <a:moveTo>
                  <a:pt x="2598226" y="132875"/>
                </a:moveTo>
                <a:cubicBezTo>
                  <a:pt x="2615777" y="132875"/>
                  <a:pt x="2628939" y="132875"/>
                  <a:pt x="2646490" y="132875"/>
                </a:cubicBezTo>
                <a:cubicBezTo>
                  <a:pt x="2637714" y="154660"/>
                  <a:pt x="2622357" y="167732"/>
                  <a:pt x="2604808" y="177536"/>
                </a:cubicBezTo>
                <a:lnTo>
                  <a:pt x="2558000" y="198918"/>
                </a:lnTo>
                <a:lnTo>
                  <a:pt x="2556218" y="201980"/>
                </a:lnTo>
                <a:cubicBezTo>
                  <a:pt x="2555100" y="203078"/>
                  <a:pt x="2553983" y="203078"/>
                  <a:pt x="2551749" y="203078"/>
                </a:cubicBezTo>
                <a:cubicBezTo>
                  <a:pt x="2533874" y="246954"/>
                  <a:pt x="2489183" y="255729"/>
                  <a:pt x="2453433" y="277667"/>
                </a:cubicBezTo>
                <a:cubicBezTo>
                  <a:pt x="2453433" y="260117"/>
                  <a:pt x="2453433" y="242566"/>
                  <a:pt x="2453433" y="229403"/>
                </a:cubicBezTo>
                <a:cubicBezTo>
                  <a:pt x="2462370" y="229403"/>
                  <a:pt x="2471308" y="229403"/>
                  <a:pt x="2480247" y="225015"/>
                </a:cubicBezTo>
                <a:lnTo>
                  <a:pt x="2549962" y="182235"/>
                </a:lnTo>
                <a:lnTo>
                  <a:pt x="2549962" y="180803"/>
                </a:lnTo>
                <a:cubicBezTo>
                  <a:pt x="2567512" y="163375"/>
                  <a:pt x="2580675" y="145946"/>
                  <a:pt x="2598226" y="132875"/>
                </a:cubicBezTo>
                <a:close/>
                <a:moveTo>
                  <a:pt x="4896503" y="132875"/>
                </a:moveTo>
                <a:cubicBezTo>
                  <a:pt x="4914054" y="132875"/>
                  <a:pt x="4927216" y="132875"/>
                  <a:pt x="4944767" y="132875"/>
                </a:cubicBezTo>
                <a:cubicBezTo>
                  <a:pt x="4935991" y="154660"/>
                  <a:pt x="4920634" y="167732"/>
                  <a:pt x="4903085" y="177536"/>
                </a:cubicBezTo>
                <a:lnTo>
                  <a:pt x="4856278" y="198918"/>
                </a:lnTo>
                <a:lnTo>
                  <a:pt x="4854496" y="201980"/>
                </a:lnTo>
                <a:cubicBezTo>
                  <a:pt x="4853377" y="203078"/>
                  <a:pt x="4852260" y="203078"/>
                  <a:pt x="4850026" y="203078"/>
                </a:cubicBezTo>
                <a:cubicBezTo>
                  <a:pt x="4832152" y="246954"/>
                  <a:pt x="4787460" y="255729"/>
                  <a:pt x="4751710" y="277667"/>
                </a:cubicBezTo>
                <a:cubicBezTo>
                  <a:pt x="4751710" y="260117"/>
                  <a:pt x="4751710" y="242566"/>
                  <a:pt x="4751710" y="229403"/>
                </a:cubicBezTo>
                <a:cubicBezTo>
                  <a:pt x="4760647" y="229403"/>
                  <a:pt x="4769585" y="229403"/>
                  <a:pt x="4778524" y="225015"/>
                </a:cubicBezTo>
                <a:lnTo>
                  <a:pt x="4848239" y="182235"/>
                </a:lnTo>
                <a:lnTo>
                  <a:pt x="4848239" y="180803"/>
                </a:lnTo>
                <a:cubicBezTo>
                  <a:pt x="4865790" y="163375"/>
                  <a:pt x="4878952" y="145946"/>
                  <a:pt x="4896503" y="132875"/>
                </a:cubicBezTo>
                <a:close/>
                <a:moveTo>
                  <a:pt x="5353337" y="559"/>
                </a:moveTo>
                <a:cubicBezTo>
                  <a:pt x="5392550" y="-3875"/>
                  <a:pt x="5423051" y="18297"/>
                  <a:pt x="5427409" y="58209"/>
                </a:cubicBezTo>
                <a:lnTo>
                  <a:pt x="5427403" y="58216"/>
                </a:lnTo>
                <a:lnTo>
                  <a:pt x="5428481" y="57797"/>
                </a:lnTo>
                <a:cubicBezTo>
                  <a:pt x="5459585" y="138238"/>
                  <a:pt x="5370716" y="98017"/>
                  <a:pt x="5357386" y="133768"/>
                </a:cubicBezTo>
                <a:lnTo>
                  <a:pt x="5356690" y="133069"/>
                </a:lnTo>
                <a:lnTo>
                  <a:pt x="5350514" y="159280"/>
                </a:lnTo>
                <a:cubicBezTo>
                  <a:pt x="5347252" y="168139"/>
                  <a:pt x="5341816" y="175891"/>
                  <a:pt x="5330939" y="180322"/>
                </a:cubicBezTo>
                <a:lnTo>
                  <a:pt x="5329956" y="181757"/>
                </a:lnTo>
                <a:lnTo>
                  <a:pt x="5331552" y="181139"/>
                </a:lnTo>
                <a:lnTo>
                  <a:pt x="5357218" y="224091"/>
                </a:lnTo>
                <a:lnTo>
                  <a:pt x="5400595" y="228446"/>
                </a:lnTo>
                <a:lnTo>
                  <a:pt x="5399490" y="230888"/>
                </a:lnTo>
                <a:lnTo>
                  <a:pt x="5401532" y="229074"/>
                </a:lnTo>
                <a:cubicBezTo>
                  <a:pt x="5467289" y="172165"/>
                  <a:pt x="5515511" y="88989"/>
                  <a:pt x="5633874" y="84611"/>
                </a:cubicBezTo>
                <a:cubicBezTo>
                  <a:pt x="5572501" y="141521"/>
                  <a:pt x="5524279" y="185298"/>
                  <a:pt x="5476057" y="229074"/>
                </a:cubicBezTo>
                <a:lnTo>
                  <a:pt x="5475966" y="229576"/>
                </a:lnTo>
                <a:lnTo>
                  <a:pt x="5476078" y="229403"/>
                </a:lnTo>
                <a:cubicBezTo>
                  <a:pt x="5484779" y="229403"/>
                  <a:pt x="5489130" y="229403"/>
                  <a:pt x="5497833" y="229403"/>
                </a:cubicBezTo>
                <a:lnTo>
                  <a:pt x="5498885" y="231871"/>
                </a:lnTo>
                <a:lnTo>
                  <a:pt x="5499268" y="229594"/>
                </a:lnTo>
                <a:cubicBezTo>
                  <a:pt x="5537590" y="225740"/>
                  <a:pt x="5589323" y="191532"/>
                  <a:pt x="5595789" y="247964"/>
                </a:cubicBezTo>
                <a:lnTo>
                  <a:pt x="5595628" y="276646"/>
                </a:lnTo>
                <a:lnTo>
                  <a:pt x="5617197" y="292185"/>
                </a:lnTo>
                <a:cubicBezTo>
                  <a:pt x="5629086" y="296938"/>
                  <a:pt x="5642060" y="297661"/>
                  <a:pt x="5654958" y="297608"/>
                </a:cubicBezTo>
                <a:lnTo>
                  <a:pt x="5690806" y="298353"/>
                </a:lnTo>
                <a:lnTo>
                  <a:pt x="5712927" y="282248"/>
                </a:lnTo>
                <a:cubicBezTo>
                  <a:pt x="5737890" y="276636"/>
                  <a:pt x="5767847" y="296592"/>
                  <a:pt x="5787820" y="276636"/>
                </a:cubicBezTo>
                <a:cubicBezTo>
                  <a:pt x="5793645" y="294929"/>
                  <a:pt x="5794945" y="308544"/>
                  <a:pt x="5793007" y="318798"/>
                </a:cubicBezTo>
                <a:lnTo>
                  <a:pt x="5779707" y="339343"/>
                </a:lnTo>
                <a:lnTo>
                  <a:pt x="5798409" y="347175"/>
                </a:lnTo>
                <a:cubicBezTo>
                  <a:pt x="5798409" y="364776"/>
                  <a:pt x="5798409" y="382376"/>
                  <a:pt x="5798409" y="395577"/>
                </a:cubicBezTo>
                <a:lnTo>
                  <a:pt x="5799751" y="400543"/>
                </a:lnTo>
                <a:lnTo>
                  <a:pt x="5799751" y="395263"/>
                </a:lnTo>
                <a:cubicBezTo>
                  <a:pt x="5834991" y="386453"/>
                  <a:pt x="5865826" y="377643"/>
                  <a:pt x="5896662" y="368833"/>
                </a:cubicBezTo>
                <a:lnTo>
                  <a:pt x="5896846" y="369355"/>
                </a:lnTo>
                <a:lnTo>
                  <a:pt x="5932028" y="339339"/>
                </a:lnTo>
                <a:cubicBezTo>
                  <a:pt x="5934263" y="356769"/>
                  <a:pt x="5938732" y="375287"/>
                  <a:pt x="5939291" y="393261"/>
                </a:cubicBezTo>
                <a:lnTo>
                  <a:pt x="5923950" y="441230"/>
                </a:lnTo>
                <a:lnTo>
                  <a:pt x="5926783" y="441230"/>
                </a:lnTo>
                <a:lnTo>
                  <a:pt x="5931129" y="445470"/>
                </a:lnTo>
                <a:lnTo>
                  <a:pt x="5928820" y="439523"/>
                </a:lnTo>
                <a:cubicBezTo>
                  <a:pt x="5931017" y="426360"/>
                  <a:pt x="5937609" y="416488"/>
                  <a:pt x="5946947" y="409358"/>
                </a:cubicBezTo>
                <a:lnTo>
                  <a:pt x="5979842" y="396324"/>
                </a:lnTo>
                <a:lnTo>
                  <a:pt x="5979766" y="396071"/>
                </a:lnTo>
                <a:cubicBezTo>
                  <a:pt x="5988505" y="387320"/>
                  <a:pt x="5997244" y="382945"/>
                  <a:pt x="6005983" y="374196"/>
                </a:cubicBezTo>
                <a:cubicBezTo>
                  <a:pt x="6036570" y="382945"/>
                  <a:pt x="6067156" y="387320"/>
                  <a:pt x="6097745" y="396071"/>
                </a:cubicBezTo>
                <a:lnTo>
                  <a:pt x="6097745" y="407260"/>
                </a:lnTo>
                <a:lnTo>
                  <a:pt x="6098559" y="406000"/>
                </a:lnTo>
                <a:lnTo>
                  <a:pt x="6098559" y="395539"/>
                </a:lnTo>
                <a:lnTo>
                  <a:pt x="6124709" y="347952"/>
                </a:lnTo>
                <a:lnTo>
                  <a:pt x="6124559" y="347871"/>
                </a:lnTo>
                <a:lnTo>
                  <a:pt x="6124987" y="347443"/>
                </a:lnTo>
                <a:lnTo>
                  <a:pt x="6125139" y="347166"/>
                </a:lnTo>
                <a:lnTo>
                  <a:pt x="6125269" y="347165"/>
                </a:lnTo>
                <a:lnTo>
                  <a:pt x="6146680" y="325932"/>
                </a:lnTo>
                <a:lnTo>
                  <a:pt x="6146999" y="325932"/>
                </a:lnTo>
                <a:lnTo>
                  <a:pt x="6146009" y="325232"/>
                </a:lnTo>
                <a:cubicBezTo>
                  <a:pt x="6176844" y="276502"/>
                  <a:pt x="6212084" y="245491"/>
                  <a:pt x="6269351" y="254352"/>
                </a:cubicBezTo>
                <a:lnTo>
                  <a:pt x="6269351" y="260531"/>
                </a:lnTo>
                <a:lnTo>
                  <a:pt x="6270080" y="255323"/>
                </a:lnTo>
                <a:cubicBezTo>
                  <a:pt x="6292019" y="232979"/>
                  <a:pt x="6318345" y="215102"/>
                  <a:pt x="6340284" y="197227"/>
                </a:cubicBezTo>
                <a:lnTo>
                  <a:pt x="6340409" y="197322"/>
                </a:lnTo>
                <a:lnTo>
                  <a:pt x="6365315" y="176506"/>
                </a:lnTo>
                <a:lnTo>
                  <a:pt x="6366459" y="176645"/>
                </a:lnTo>
                <a:lnTo>
                  <a:pt x="6414250" y="132875"/>
                </a:lnTo>
                <a:cubicBezTo>
                  <a:pt x="6475815" y="137305"/>
                  <a:pt x="6431841" y="181605"/>
                  <a:pt x="6436238" y="203755"/>
                </a:cubicBezTo>
                <a:lnTo>
                  <a:pt x="6436263" y="204809"/>
                </a:lnTo>
                <a:lnTo>
                  <a:pt x="6437543" y="203260"/>
                </a:lnTo>
                <a:lnTo>
                  <a:pt x="6529452" y="181195"/>
                </a:lnTo>
                <a:lnTo>
                  <a:pt x="6529440" y="181139"/>
                </a:lnTo>
                <a:cubicBezTo>
                  <a:pt x="6540240" y="166124"/>
                  <a:pt x="6551040" y="155398"/>
                  <a:pt x="6563459" y="150036"/>
                </a:cubicBezTo>
                <a:lnTo>
                  <a:pt x="6606136" y="151081"/>
                </a:lnTo>
                <a:lnTo>
                  <a:pt x="6607288" y="150353"/>
                </a:lnTo>
                <a:cubicBezTo>
                  <a:pt x="6642325" y="132875"/>
                  <a:pt x="6642325" y="163462"/>
                  <a:pt x="6655465" y="180940"/>
                </a:cubicBezTo>
                <a:lnTo>
                  <a:pt x="6655196" y="181208"/>
                </a:lnTo>
                <a:lnTo>
                  <a:pt x="6655799" y="181197"/>
                </a:lnTo>
                <a:cubicBezTo>
                  <a:pt x="6681942" y="163626"/>
                  <a:pt x="6703727" y="146053"/>
                  <a:pt x="6725514" y="132875"/>
                </a:cubicBezTo>
                <a:cubicBezTo>
                  <a:pt x="6764728" y="154839"/>
                  <a:pt x="6795229" y="181197"/>
                  <a:pt x="6799585" y="229518"/>
                </a:cubicBezTo>
                <a:lnTo>
                  <a:pt x="6799293" y="230405"/>
                </a:lnTo>
                <a:lnTo>
                  <a:pt x="6800592" y="229087"/>
                </a:lnTo>
                <a:cubicBezTo>
                  <a:pt x="6852877" y="202590"/>
                  <a:pt x="6865949" y="246753"/>
                  <a:pt x="6861593" y="277667"/>
                </a:cubicBezTo>
                <a:cubicBezTo>
                  <a:pt x="6861593" y="326248"/>
                  <a:pt x="6883378" y="326248"/>
                  <a:pt x="6918236" y="326248"/>
                </a:cubicBezTo>
                <a:lnTo>
                  <a:pt x="6917922" y="326536"/>
                </a:lnTo>
                <a:lnTo>
                  <a:pt x="6918846" y="326170"/>
                </a:lnTo>
                <a:cubicBezTo>
                  <a:pt x="6936360" y="308533"/>
                  <a:pt x="6953873" y="295304"/>
                  <a:pt x="6971387" y="282076"/>
                </a:cubicBezTo>
                <a:cubicBezTo>
                  <a:pt x="7007509" y="325067"/>
                  <a:pt x="7041168" y="313494"/>
                  <a:pt x="7076058" y="295718"/>
                </a:cubicBezTo>
                <a:lnTo>
                  <a:pt x="7111332" y="277750"/>
                </a:lnTo>
                <a:lnTo>
                  <a:pt x="7111293" y="277725"/>
                </a:lnTo>
                <a:cubicBezTo>
                  <a:pt x="7137618" y="246974"/>
                  <a:pt x="7168332" y="233796"/>
                  <a:pt x="7207821" y="229403"/>
                </a:cubicBezTo>
                <a:lnTo>
                  <a:pt x="7209115" y="231570"/>
                </a:lnTo>
                <a:lnTo>
                  <a:pt x="7209250" y="229224"/>
                </a:lnTo>
                <a:cubicBezTo>
                  <a:pt x="7273303" y="221784"/>
                  <a:pt x="7273611" y="252011"/>
                  <a:pt x="7269415" y="284593"/>
                </a:cubicBezTo>
                <a:lnTo>
                  <a:pt x="7266779" y="308716"/>
                </a:lnTo>
                <a:lnTo>
                  <a:pt x="7274524" y="305763"/>
                </a:lnTo>
                <a:cubicBezTo>
                  <a:pt x="7288972" y="302441"/>
                  <a:pt x="7303975" y="300780"/>
                  <a:pt x="7319256" y="299949"/>
                </a:cubicBezTo>
                <a:lnTo>
                  <a:pt x="7348573" y="299424"/>
                </a:lnTo>
                <a:lnTo>
                  <a:pt x="7369038" y="285711"/>
                </a:lnTo>
                <a:cubicBezTo>
                  <a:pt x="7369038" y="303229"/>
                  <a:pt x="7370127" y="318557"/>
                  <a:pt x="7371216" y="332791"/>
                </a:cubicBezTo>
                <a:lnTo>
                  <a:pt x="7373278" y="371133"/>
                </a:lnTo>
                <a:lnTo>
                  <a:pt x="7382262" y="367839"/>
                </a:lnTo>
                <a:lnTo>
                  <a:pt x="7400108" y="353123"/>
                </a:lnTo>
                <a:lnTo>
                  <a:pt x="7399804" y="351566"/>
                </a:lnTo>
                <a:cubicBezTo>
                  <a:pt x="7432786" y="319684"/>
                  <a:pt x="7452848" y="308690"/>
                  <a:pt x="7465285" y="309996"/>
                </a:cubicBezTo>
                <a:cubicBezTo>
                  <a:pt x="7472281" y="310731"/>
                  <a:pt x="7476863" y="315356"/>
                  <a:pt x="7479974" y="322345"/>
                </a:cubicBezTo>
                <a:lnTo>
                  <a:pt x="7481203" y="327908"/>
                </a:lnTo>
                <a:lnTo>
                  <a:pt x="7489079" y="332213"/>
                </a:lnTo>
                <a:cubicBezTo>
                  <a:pt x="7496059" y="337402"/>
                  <a:pt x="7502837" y="343409"/>
                  <a:pt x="7509343" y="348870"/>
                </a:cubicBezTo>
                <a:cubicBezTo>
                  <a:pt x="7508258" y="360887"/>
                  <a:pt x="7510969" y="371539"/>
                  <a:pt x="7515578" y="381507"/>
                </a:cubicBezTo>
                <a:lnTo>
                  <a:pt x="7532307" y="408600"/>
                </a:lnTo>
                <a:lnTo>
                  <a:pt x="7540308" y="402744"/>
                </a:lnTo>
                <a:cubicBezTo>
                  <a:pt x="7567122" y="389504"/>
                  <a:pt x="7593935" y="395206"/>
                  <a:pt x="7620748" y="418021"/>
                </a:cubicBezTo>
                <a:lnTo>
                  <a:pt x="7620228" y="418780"/>
                </a:lnTo>
                <a:lnTo>
                  <a:pt x="7667482" y="418780"/>
                </a:lnTo>
                <a:lnTo>
                  <a:pt x="7668025" y="418231"/>
                </a:lnTo>
                <a:cubicBezTo>
                  <a:pt x="7668025" y="387190"/>
                  <a:pt x="7663650" y="342844"/>
                  <a:pt x="7707398" y="338409"/>
                </a:cubicBezTo>
                <a:cubicBezTo>
                  <a:pt x="7727085" y="336193"/>
                  <a:pt x="7733647" y="345062"/>
                  <a:pt x="7735834" y="357257"/>
                </a:cubicBezTo>
                <a:lnTo>
                  <a:pt x="7738018" y="395976"/>
                </a:lnTo>
                <a:lnTo>
                  <a:pt x="7738961" y="395647"/>
                </a:lnTo>
                <a:cubicBezTo>
                  <a:pt x="7747820" y="413165"/>
                  <a:pt x="7756680" y="430682"/>
                  <a:pt x="7765541" y="448201"/>
                </a:cubicBezTo>
                <a:lnTo>
                  <a:pt x="7763702" y="449503"/>
                </a:lnTo>
                <a:lnTo>
                  <a:pt x="7764725" y="449334"/>
                </a:lnTo>
                <a:cubicBezTo>
                  <a:pt x="7769117" y="449334"/>
                  <a:pt x="7777898" y="449334"/>
                  <a:pt x="7786681" y="449334"/>
                </a:cubicBezTo>
                <a:cubicBezTo>
                  <a:pt x="7808637" y="444970"/>
                  <a:pt x="7826201" y="449334"/>
                  <a:pt x="7843767" y="462430"/>
                </a:cubicBezTo>
                <a:lnTo>
                  <a:pt x="7846066" y="465478"/>
                </a:lnTo>
                <a:lnTo>
                  <a:pt x="8048757" y="373576"/>
                </a:lnTo>
                <a:cubicBezTo>
                  <a:pt x="8048757" y="364776"/>
                  <a:pt x="8053115" y="355976"/>
                  <a:pt x="8048757" y="351575"/>
                </a:cubicBezTo>
                <a:cubicBezTo>
                  <a:pt x="8057472" y="342775"/>
                  <a:pt x="8066186" y="338375"/>
                  <a:pt x="8074356" y="337824"/>
                </a:cubicBezTo>
                <a:cubicBezTo>
                  <a:pt x="8082526" y="337275"/>
                  <a:pt x="8090150" y="340576"/>
                  <a:pt x="8096687" y="347175"/>
                </a:cubicBezTo>
                <a:cubicBezTo>
                  <a:pt x="8096687" y="364776"/>
                  <a:pt x="8096687" y="382376"/>
                  <a:pt x="8096687" y="395577"/>
                </a:cubicBezTo>
                <a:lnTo>
                  <a:pt x="8098028" y="400543"/>
                </a:lnTo>
                <a:lnTo>
                  <a:pt x="8098028" y="395263"/>
                </a:lnTo>
                <a:lnTo>
                  <a:pt x="8178991" y="373183"/>
                </a:lnTo>
                <a:lnTo>
                  <a:pt x="8183265" y="368833"/>
                </a:lnTo>
                <a:lnTo>
                  <a:pt x="8186459" y="371146"/>
                </a:lnTo>
                <a:lnTo>
                  <a:pt x="8194940" y="368833"/>
                </a:lnTo>
                <a:lnTo>
                  <a:pt x="8195124" y="369355"/>
                </a:lnTo>
                <a:lnTo>
                  <a:pt x="8230306" y="339339"/>
                </a:lnTo>
                <a:cubicBezTo>
                  <a:pt x="8232540" y="356769"/>
                  <a:pt x="8237010" y="375287"/>
                  <a:pt x="8237569" y="393261"/>
                </a:cubicBezTo>
                <a:lnTo>
                  <a:pt x="8231321" y="412796"/>
                </a:lnTo>
                <a:lnTo>
                  <a:pt x="8242801" y="432204"/>
                </a:lnTo>
                <a:lnTo>
                  <a:pt x="8253081" y="514806"/>
                </a:lnTo>
                <a:lnTo>
                  <a:pt x="8254011" y="514997"/>
                </a:lnTo>
                <a:lnTo>
                  <a:pt x="8268851" y="535156"/>
                </a:lnTo>
                <a:lnTo>
                  <a:pt x="8279822" y="518120"/>
                </a:lnTo>
                <a:lnTo>
                  <a:pt x="8316235" y="500678"/>
                </a:lnTo>
                <a:lnTo>
                  <a:pt x="8324574" y="483696"/>
                </a:lnTo>
                <a:lnTo>
                  <a:pt x="8344435" y="468929"/>
                </a:lnTo>
                <a:lnTo>
                  <a:pt x="8353809" y="448033"/>
                </a:lnTo>
                <a:cubicBezTo>
                  <a:pt x="8362619" y="435880"/>
                  <a:pt x="8373631" y="425937"/>
                  <a:pt x="8386846" y="417098"/>
                </a:cubicBezTo>
                <a:lnTo>
                  <a:pt x="8388694" y="418604"/>
                </a:lnTo>
                <a:lnTo>
                  <a:pt x="8421292" y="368147"/>
                </a:lnTo>
                <a:cubicBezTo>
                  <a:pt x="8434901" y="356218"/>
                  <a:pt x="8450882" y="350087"/>
                  <a:pt x="8468550" y="351838"/>
                </a:cubicBezTo>
                <a:cubicBezTo>
                  <a:pt x="8480327" y="353007"/>
                  <a:pt x="8492855" y="357679"/>
                  <a:pt x="8505926" y="366474"/>
                </a:cubicBezTo>
                <a:cubicBezTo>
                  <a:pt x="8553856" y="401653"/>
                  <a:pt x="8523356" y="445627"/>
                  <a:pt x="8501569" y="485203"/>
                </a:cubicBezTo>
                <a:lnTo>
                  <a:pt x="8462500" y="542160"/>
                </a:lnTo>
                <a:lnTo>
                  <a:pt x="8487019" y="567033"/>
                </a:lnTo>
                <a:lnTo>
                  <a:pt x="8488254" y="568156"/>
                </a:lnTo>
                <a:lnTo>
                  <a:pt x="8488251" y="568148"/>
                </a:lnTo>
                <a:cubicBezTo>
                  <a:pt x="8494821" y="544115"/>
                  <a:pt x="8506864" y="527728"/>
                  <a:pt x="8522741" y="515712"/>
                </a:cubicBezTo>
                <a:lnTo>
                  <a:pt x="8579540" y="489805"/>
                </a:lnTo>
                <a:lnTo>
                  <a:pt x="8579774" y="488275"/>
                </a:lnTo>
                <a:cubicBezTo>
                  <a:pt x="8588713" y="483887"/>
                  <a:pt x="8597650" y="475113"/>
                  <a:pt x="8606588" y="470724"/>
                </a:cubicBezTo>
                <a:lnTo>
                  <a:pt x="8606699" y="471184"/>
                </a:lnTo>
                <a:lnTo>
                  <a:pt x="8606995" y="470409"/>
                </a:lnTo>
                <a:lnTo>
                  <a:pt x="8606995" y="444497"/>
                </a:lnTo>
                <a:cubicBezTo>
                  <a:pt x="8598220" y="444497"/>
                  <a:pt x="8589444" y="444497"/>
                  <a:pt x="8580670" y="444497"/>
                </a:cubicBezTo>
                <a:cubicBezTo>
                  <a:pt x="8593832" y="417851"/>
                  <a:pt x="8611383" y="395647"/>
                  <a:pt x="8642097" y="422293"/>
                </a:cubicBezTo>
                <a:cubicBezTo>
                  <a:pt x="8657453" y="435616"/>
                  <a:pt x="8671714" y="438947"/>
                  <a:pt x="8685424" y="437281"/>
                </a:cubicBezTo>
                <a:lnTo>
                  <a:pt x="8723665" y="422965"/>
                </a:lnTo>
                <a:lnTo>
                  <a:pt x="8723518" y="421889"/>
                </a:lnTo>
                <a:cubicBezTo>
                  <a:pt x="8723518" y="413103"/>
                  <a:pt x="8723518" y="404318"/>
                  <a:pt x="8723518" y="395532"/>
                </a:cubicBezTo>
                <a:cubicBezTo>
                  <a:pt x="8776213" y="417496"/>
                  <a:pt x="8811343" y="399925"/>
                  <a:pt x="8850863" y="364781"/>
                </a:cubicBezTo>
                <a:cubicBezTo>
                  <a:pt x="8890385" y="325246"/>
                  <a:pt x="8924415" y="308773"/>
                  <a:pt x="8951861" y="314813"/>
                </a:cubicBezTo>
                <a:cubicBezTo>
                  <a:pt x="8979306" y="320853"/>
                  <a:pt x="9000164" y="349408"/>
                  <a:pt x="9013338" y="399925"/>
                </a:cubicBezTo>
                <a:lnTo>
                  <a:pt x="9013117" y="401692"/>
                </a:lnTo>
                <a:lnTo>
                  <a:pt x="9013833" y="401269"/>
                </a:lnTo>
                <a:cubicBezTo>
                  <a:pt x="9035841" y="383624"/>
                  <a:pt x="9057848" y="370390"/>
                  <a:pt x="9084257" y="352745"/>
                </a:cubicBezTo>
                <a:lnTo>
                  <a:pt x="9086169" y="354108"/>
                </a:lnTo>
                <a:lnTo>
                  <a:pt x="9084762" y="351404"/>
                </a:lnTo>
                <a:cubicBezTo>
                  <a:pt x="9106637" y="355809"/>
                  <a:pt x="9141636" y="320569"/>
                  <a:pt x="9154759" y="360214"/>
                </a:cubicBezTo>
                <a:cubicBezTo>
                  <a:pt x="9161323" y="373429"/>
                  <a:pt x="9163510" y="388847"/>
                  <a:pt x="9160229" y="403715"/>
                </a:cubicBezTo>
                <a:lnTo>
                  <a:pt x="9133353" y="443224"/>
                </a:lnTo>
                <a:lnTo>
                  <a:pt x="9133109" y="443999"/>
                </a:lnTo>
                <a:lnTo>
                  <a:pt x="9133270" y="443911"/>
                </a:lnTo>
                <a:cubicBezTo>
                  <a:pt x="9142044" y="461511"/>
                  <a:pt x="9150819" y="474712"/>
                  <a:pt x="9159595" y="492312"/>
                </a:cubicBezTo>
                <a:lnTo>
                  <a:pt x="9160791" y="491913"/>
                </a:lnTo>
                <a:lnTo>
                  <a:pt x="9189405" y="449934"/>
                </a:lnTo>
                <a:cubicBezTo>
                  <a:pt x="9222209" y="424573"/>
                  <a:pt x="9263518" y="447855"/>
                  <a:pt x="9302398" y="471137"/>
                </a:cubicBezTo>
                <a:lnTo>
                  <a:pt x="9303161" y="475062"/>
                </a:lnTo>
                <a:lnTo>
                  <a:pt x="9303685" y="469876"/>
                </a:lnTo>
                <a:cubicBezTo>
                  <a:pt x="9330184" y="430503"/>
                  <a:pt x="9352265" y="434878"/>
                  <a:pt x="9374348" y="469876"/>
                </a:cubicBezTo>
                <a:lnTo>
                  <a:pt x="9372594" y="471319"/>
                </a:lnTo>
                <a:lnTo>
                  <a:pt x="9374155" y="470724"/>
                </a:lnTo>
                <a:lnTo>
                  <a:pt x="9400070" y="470724"/>
                </a:lnTo>
                <a:lnTo>
                  <a:pt x="9400110" y="470265"/>
                </a:lnTo>
                <a:cubicBezTo>
                  <a:pt x="9400110" y="435331"/>
                  <a:pt x="9382391" y="396030"/>
                  <a:pt x="9422260" y="374196"/>
                </a:cubicBezTo>
                <a:cubicBezTo>
                  <a:pt x="9439980" y="400396"/>
                  <a:pt x="9439980" y="430964"/>
                  <a:pt x="9470991" y="448431"/>
                </a:cubicBezTo>
                <a:lnTo>
                  <a:pt x="9471308" y="448796"/>
                </a:lnTo>
                <a:lnTo>
                  <a:pt x="9516963" y="436317"/>
                </a:lnTo>
                <a:lnTo>
                  <a:pt x="9517179" y="435101"/>
                </a:lnTo>
                <a:cubicBezTo>
                  <a:pt x="9512745" y="430696"/>
                  <a:pt x="9512745" y="430696"/>
                  <a:pt x="9512745" y="430696"/>
                </a:cubicBezTo>
                <a:lnTo>
                  <a:pt x="9513609" y="429392"/>
                </a:lnTo>
                <a:lnTo>
                  <a:pt x="9497228" y="393245"/>
                </a:lnTo>
                <a:lnTo>
                  <a:pt x="9496701" y="354079"/>
                </a:lnTo>
                <a:lnTo>
                  <a:pt x="9495007" y="352279"/>
                </a:lnTo>
                <a:cubicBezTo>
                  <a:pt x="9539461" y="299118"/>
                  <a:pt x="9601697" y="299118"/>
                  <a:pt x="9663933" y="299118"/>
                </a:cubicBezTo>
                <a:lnTo>
                  <a:pt x="9663933" y="373777"/>
                </a:lnTo>
                <a:lnTo>
                  <a:pt x="9664159" y="373845"/>
                </a:lnTo>
                <a:lnTo>
                  <a:pt x="9720199" y="353296"/>
                </a:lnTo>
                <a:lnTo>
                  <a:pt x="9720871" y="344501"/>
                </a:lnTo>
                <a:cubicBezTo>
                  <a:pt x="9736053" y="320469"/>
                  <a:pt x="9751233" y="316100"/>
                  <a:pt x="9765873" y="320469"/>
                </a:cubicBezTo>
                <a:cubicBezTo>
                  <a:pt x="9780511" y="324839"/>
                  <a:pt x="9794608" y="337948"/>
                  <a:pt x="9807621" y="348870"/>
                </a:cubicBezTo>
                <a:cubicBezTo>
                  <a:pt x="9805451" y="372904"/>
                  <a:pt x="9818464" y="391475"/>
                  <a:pt x="9831478" y="410046"/>
                </a:cubicBezTo>
                <a:lnTo>
                  <a:pt x="9854817" y="469898"/>
                </a:lnTo>
                <a:lnTo>
                  <a:pt x="9855648" y="469767"/>
                </a:lnTo>
                <a:cubicBezTo>
                  <a:pt x="9855648" y="478577"/>
                  <a:pt x="9855648" y="482982"/>
                  <a:pt x="9855648" y="491792"/>
                </a:cubicBezTo>
                <a:lnTo>
                  <a:pt x="9857683" y="492640"/>
                </a:lnTo>
                <a:lnTo>
                  <a:pt x="9880411" y="489390"/>
                </a:lnTo>
                <a:cubicBezTo>
                  <a:pt x="9898839" y="480161"/>
                  <a:pt x="9904509" y="455553"/>
                  <a:pt x="9917469" y="435866"/>
                </a:cubicBezTo>
                <a:cubicBezTo>
                  <a:pt x="9934749" y="470864"/>
                  <a:pt x="9930429" y="497114"/>
                  <a:pt x="9908829" y="518989"/>
                </a:cubicBezTo>
                <a:lnTo>
                  <a:pt x="9907816" y="518818"/>
                </a:lnTo>
                <a:lnTo>
                  <a:pt x="9903588" y="540191"/>
                </a:lnTo>
                <a:lnTo>
                  <a:pt x="9903633" y="540194"/>
                </a:lnTo>
                <a:cubicBezTo>
                  <a:pt x="9925642" y="570908"/>
                  <a:pt x="9952050" y="584070"/>
                  <a:pt x="9991665" y="566520"/>
                </a:cubicBezTo>
                <a:cubicBezTo>
                  <a:pt x="10031277" y="548971"/>
                  <a:pt x="10022475" y="579684"/>
                  <a:pt x="10022475" y="601621"/>
                </a:cubicBezTo>
                <a:lnTo>
                  <a:pt x="10020207" y="604030"/>
                </a:lnTo>
                <a:lnTo>
                  <a:pt x="10022713" y="603934"/>
                </a:lnTo>
                <a:cubicBezTo>
                  <a:pt x="10039255" y="594039"/>
                  <a:pt x="10060759" y="569303"/>
                  <a:pt x="10077922" y="572396"/>
                </a:cubicBezTo>
                <a:cubicBezTo>
                  <a:pt x="10083645" y="573426"/>
                  <a:pt x="10088882" y="577549"/>
                  <a:pt x="10093294" y="586344"/>
                </a:cubicBezTo>
                <a:cubicBezTo>
                  <a:pt x="10119761" y="639113"/>
                  <a:pt x="10066825" y="665497"/>
                  <a:pt x="10027124" y="691882"/>
                </a:cubicBezTo>
                <a:lnTo>
                  <a:pt x="10026908" y="691750"/>
                </a:lnTo>
                <a:lnTo>
                  <a:pt x="10026908" y="707681"/>
                </a:lnTo>
                <a:lnTo>
                  <a:pt x="10027298" y="708270"/>
                </a:lnTo>
                <a:lnTo>
                  <a:pt x="10081084" y="699035"/>
                </a:lnTo>
                <a:cubicBezTo>
                  <a:pt x="10132251" y="681327"/>
                  <a:pt x="10172854" y="642614"/>
                  <a:pt x="10215941" y="616257"/>
                </a:cubicBezTo>
                <a:lnTo>
                  <a:pt x="10218318" y="616715"/>
                </a:lnTo>
                <a:lnTo>
                  <a:pt x="10216289" y="614892"/>
                </a:lnTo>
                <a:cubicBezTo>
                  <a:pt x="10220664" y="579855"/>
                  <a:pt x="10233788" y="553578"/>
                  <a:pt x="10264411" y="540439"/>
                </a:cubicBezTo>
                <a:lnTo>
                  <a:pt x="10264559" y="540534"/>
                </a:lnTo>
                <a:lnTo>
                  <a:pt x="10276465" y="512994"/>
                </a:lnTo>
                <a:cubicBezTo>
                  <a:pt x="10290637" y="493824"/>
                  <a:pt x="10311397" y="498771"/>
                  <a:pt x="10336951" y="518559"/>
                </a:cubicBezTo>
                <a:lnTo>
                  <a:pt x="10336921" y="518664"/>
                </a:lnTo>
                <a:lnTo>
                  <a:pt x="10337743" y="518022"/>
                </a:lnTo>
                <a:cubicBezTo>
                  <a:pt x="10350851" y="518022"/>
                  <a:pt x="10368329" y="513626"/>
                  <a:pt x="10381439" y="513626"/>
                </a:cubicBezTo>
                <a:lnTo>
                  <a:pt x="10382938" y="514703"/>
                </a:lnTo>
                <a:lnTo>
                  <a:pt x="10400459" y="464043"/>
                </a:lnTo>
                <a:lnTo>
                  <a:pt x="10434679" y="418829"/>
                </a:lnTo>
                <a:lnTo>
                  <a:pt x="10433477" y="417751"/>
                </a:lnTo>
                <a:cubicBezTo>
                  <a:pt x="10446586" y="404409"/>
                  <a:pt x="10464064" y="386622"/>
                  <a:pt x="10481543" y="368833"/>
                </a:cubicBezTo>
                <a:cubicBezTo>
                  <a:pt x="10514315" y="384398"/>
                  <a:pt x="10531793" y="406634"/>
                  <a:pt x="10541079" y="432204"/>
                </a:cubicBezTo>
                <a:lnTo>
                  <a:pt x="10551359" y="514806"/>
                </a:lnTo>
                <a:lnTo>
                  <a:pt x="10552289" y="514997"/>
                </a:lnTo>
                <a:cubicBezTo>
                  <a:pt x="10560981" y="528280"/>
                  <a:pt x="10569671" y="537134"/>
                  <a:pt x="10578363" y="550416"/>
                </a:cubicBezTo>
                <a:lnTo>
                  <a:pt x="10578589" y="550552"/>
                </a:lnTo>
                <a:lnTo>
                  <a:pt x="10578270" y="549927"/>
                </a:lnTo>
                <a:cubicBezTo>
                  <a:pt x="10587146" y="541264"/>
                  <a:pt x="10596022" y="532600"/>
                  <a:pt x="10604897" y="519607"/>
                </a:cubicBezTo>
                <a:lnTo>
                  <a:pt x="10605215" y="519614"/>
                </a:lnTo>
                <a:lnTo>
                  <a:pt x="10622852" y="483696"/>
                </a:lnTo>
                <a:cubicBezTo>
                  <a:pt x="10645115" y="453792"/>
                  <a:pt x="10680244" y="442321"/>
                  <a:pt x="10722727" y="445598"/>
                </a:cubicBezTo>
                <a:cubicBezTo>
                  <a:pt x="10731442" y="454337"/>
                  <a:pt x="10735798" y="463076"/>
                  <a:pt x="10744513" y="471815"/>
                </a:cubicBezTo>
                <a:cubicBezTo>
                  <a:pt x="10740156" y="493663"/>
                  <a:pt x="10731442" y="515513"/>
                  <a:pt x="10727084" y="537360"/>
                </a:cubicBezTo>
                <a:cubicBezTo>
                  <a:pt x="10727084" y="537360"/>
                  <a:pt x="10724905" y="539544"/>
                  <a:pt x="10722727" y="541730"/>
                </a:cubicBezTo>
                <a:lnTo>
                  <a:pt x="10718749" y="545719"/>
                </a:lnTo>
                <a:lnTo>
                  <a:pt x="10718827" y="548217"/>
                </a:lnTo>
                <a:lnTo>
                  <a:pt x="10729219" y="537757"/>
                </a:lnTo>
                <a:cubicBezTo>
                  <a:pt x="10766361" y="550948"/>
                  <a:pt x="10774007" y="572936"/>
                  <a:pt x="10774007" y="597672"/>
                </a:cubicBezTo>
                <a:lnTo>
                  <a:pt x="10772948" y="671784"/>
                </a:lnTo>
                <a:lnTo>
                  <a:pt x="10792778" y="663781"/>
                </a:lnTo>
                <a:lnTo>
                  <a:pt x="10793984" y="664757"/>
                </a:lnTo>
                <a:lnTo>
                  <a:pt x="10824261" y="630914"/>
                </a:lnTo>
                <a:cubicBezTo>
                  <a:pt x="10836394" y="621601"/>
                  <a:pt x="10850728" y="615025"/>
                  <a:pt x="10868374" y="612835"/>
                </a:cubicBezTo>
                <a:lnTo>
                  <a:pt x="10884632" y="637064"/>
                </a:lnTo>
                <a:lnTo>
                  <a:pt x="10885256" y="636573"/>
                </a:lnTo>
                <a:lnTo>
                  <a:pt x="10867855" y="610718"/>
                </a:lnTo>
                <a:cubicBezTo>
                  <a:pt x="10889936" y="553845"/>
                  <a:pt x="10916435" y="571345"/>
                  <a:pt x="10942933" y="610718"/>
                </a:cubicBezTo>
                <a:lnTo>
                  <a:pt x="10939909" y="613257"/>
                </a:lnTo>
                <a:lnTo>
                  <a:pt x="10942788" y="612835"/>
                </a:lnTo>
                <a:cubicBezTo>
                  <a:pt x="10975398" y="642506"/>
                  <a:pt x="10954202" y="709264"/>
                  <a:pt x="10983755" y="742644"/>
                </a:cubicBezTo>
                <a:lnTo>
                  <a:pt x="11032943" y="761835"/>
                </a:lnTo>
                <a:lnTo>
                  <a:pt x="11035232" y="760310"/>
                </a:lnTo>
                <a:cubicBezTo>
                  <a:pt x="11056982" y="769096"/>
                  <a:pt x="11074380" y="781176"/>
                  <a:pt x="11086886" y="797100"/>
                </a:cubicBezTo>
                <a:lnTo>
                  <a:pt x="11109136" y="856838"/>
                </a:lnTo>
                <a:lnTo>
                  <a:pt x="11156674" y="856838"/>
                </a:lnTo>
                <a:lnTo>
                  <a:pt x="11156674" y="808574"/>
                </a:lnTo>
                <a:lnTo>
                  <a:pt x="11157907" y="810748"/>
                </a:lnTo>
                <a:lnTo>
                  <a:pt x="11157440" y="809702"/>
                </a:lnTo>
                <a:cubicBezTo>
                  <a:pt x="11159675" y="798766"/>
                  <a:pt x="11165261" y="792202"/>
                  <a:pt x="11172524" y="787827"/>
                </a:cubicBezTo>
                <a:lnTo>
                  <a:pt x="11197248" y="779222"/>
                </a:lnTo>
                <a:lnTo>
                  <a:pt x="11197248" y="761997"/>
                </a:lnTo>
                <a:lnTo>
                  <a:pt x="11198123" y="762019"/>
                </a:lnTo>
                <a:lnTo>
                  <a:pt x="11196601" y="761039"/>
                </a:lnTo>
                <a:cubicBezTo>
                  <a:pt x="11192174" y="752265"/>
                  <a:pt x="11187745" y="743489"/>
                  <a:pt x="11178891" y="739102"/>
                </a:cubicBezTo>
                <a:lnTo>
                  <a:pt x="11179335" y="738786"/>
                </a:lnTo>
                <a:lnTo>
                  <a:pt x="11178891" y="738859"/>
                </a:lnTo>
                <a:cubicBezTo>
                  <a:pt x="11196320" y="712939"/>
                  <a:pt x="11191963" y="661099"/>
                  <a:pt x="11248606" y="687019"/>
                </a:cubicBezTo>
                <a:lnTo>
                  <a:pt x="11248537" y="687379"/>
                </a:lnTo>
                <a:lnTo>
                  <a:pt x="11249729" y="686450"/>
                </a:lnTo>
                <a:lnTo>
                  <a:pt x="11250753" y="686029"/>
                </a:lnTo>
                <a:lnTo>
                  <a:pt x="11248606" y="685066"/>
                </a:lnTo>
                <a:cubicBezTo>
                  <a:pt x="11248606" y="632534"/>
                  <a:pt x="11314484" y="632534"/>
                  <a:pt x="11323268" y="588758"/>
                </a:cubicBezTo>
                <a:cubicBezTo>
                  <a:pt x="11349619" y="588758"/>
                  <a:pt x="11362795" y="562491"/>
                  <a:pt x="11380363" y="553735"/>
                </a:cubicBezTo>
                <a:cubicBezTo>
                  <a:pt x="11413302" y="536225"/>
                  <a:pt x="11444044" y="524186"/>
                  <a:pt x="11464906" y="530205"/>
                </a:cubicBezTo>
                <a:cubicBezTo>
                  <a:pt x="11485767" y="536225"/>
                  <a:pt x="11496746" y="560302"/>
                  <a:pt x="11490158" y="615024"/>
                </a:cubicBezTo>
                <a:lnTo>
                  <a:pt x="11487380" y="615946"/>
                </a:lnTo>
                <a:lnTo>
                  <a:pt x="11491091" y="615946"/>
                </a:lnTo>
                <a:cubicBezTo>
                  <a:pt x="11530249" y="615946"/>
                  <a:pt x="11525898" y="532396"/>
                  <a:pt x="11582459" y="563177"/>
                </a:cubicBezTo>
                <a:lnTo>
                  <a:pt x="11582914" y="563868"/>
                </a:lnTo>
                <a:lnTo>
                  <a:pt x="11582670" y="562412"/>
                </a:lnTo>
                <a:cubicBezTo>
                  <a:pt x="11591502" y="562412"/>
                  <a:pt x="11604751" y="562412"/>
                  <a:pt x="11613585" y="562412"/>
                </a:cubicBezTo>
                <a:lnTo>
                  <a:pt x="11613923" y="562422"/>
                </a:lnTo>
                <a:lnTo>
                  <a:pt x="11648600" y="543233"/>
                </a:lnTo>
                <a:cubicBezTo>
                  <a:pt x="11660744" y="540439"/>
                  <a:pt x="11672890" y="540439"/>
                  <a:pt x="11683930" y="540439"/>
                </a:cubicBezTo>
                <a:lnTo>
                  <a:pt x="11688238" y="562233"/>
                </a:lnTo>
                <a:lnTo>
                  <a:pt x="11688662" y="562412"/>
                </a:lnTo>
                <a:lnTo>
                  <a:pt x="11688336" y="562735"/>
                </a:lnTo>
                <a:lnTo>
                  <a:pt x="11688347" y="562784"/>
                </a:lnTo>
                <a:lnTo>
                  <a:pt x="11688279" y="562792"/>
                </a:lnTo>
                <a:lnTo>
                  <a:pt x="11684246" y="566805"/>
                </a:lnTo>
                <a:lnTo>
                  <a:pt x="11684335" y="567253"/>
                </a:lnTo>
                <a:lnTo>
                  <a:pt x="11731767" y="567253"/>
                </a:lnTo>
                <a:lnTo>
                  <a:pt x="11732143" y="567253"/>
                </a:lnTo>
                <a:lnTo>
                  <a:pt x="11732040" y="567695"/>
                </a:lnTo>
                <a:lnTo>
                  <a:pt x="11772312" y="632875"/>
                </a:lnTo>
                <a:cubicBezTo>
                  <a:pt x="11780421" y="655843"/>
                  <a:pt x="11779340" y="680998"/>
                  <a:pt x="11757715" y="711621"/>
                </a:cubicBezTo>
                <a:lnTo>
                  <a:pt x="11754270" y="713395"/>
                </a:lnTo>
                <a:lnTo>
                  <a:pt x="11758957" y="713679"/>
                </a:lnTo>
                <a:cubicBezTo>
                  <a:pt x="11763426" y="748186"/>
                  <a:pt x="11750018" y="778381"/>
                  <a:pt x="11732143" y="808576"/>
                </a:cubicBezTo>
                <a:lnTo>
                  <a:pt x="11729436" y="808576"/>
                </a:lnTo>
                <a:lnTo>
                  <a:pt x="11730927" y="809352"/>
                </a:lnTo>
                <a:cubicBezTo>
                  <a:pt x="11739722" y="813764"/>
                  <a:pt x="11748517" y="822586"/>
                  <a:pt x="11752913" y="831410"/>
                </a:cubicBezTo>
                <a:lnTo>
                  <a:pt x="11752331" y="834144"/>
                </a:lnTo>
                <a:lnTo>
                  <a:pt x="11754406" y="831825"/>
                </a:lnTo>
                <a:cubicBezTo>
                  <a:pt x="11763181" y="823083"/>
                  <a:pt x="11771957" y="814340"/>
                  <a:pt x="11780732" y="805598"/>
                </a:cubicBezTo>
                <a:lnTo>
                  <a:pt x="11782909" y="805564"/>
                </a:lnTo>
                <a:lnTo>
                  <a:pt x="11779514" y="803699"/>
                </a:lnTo>
                <a:cubicBezTo>
                  <a:pt x="11783872" y="786148"/>
                  <a:pt x="11783872" y="759821"/>
                  <a:pt x="11792585" y="751047"/>
                </a:cubicBezTo>
                <a:cubicBezTo>
                  <a:pt x="11823086" y="733496"/>
                  <a:pt x="11831800" y="772984"/>
                  <a:pt x="11849229" y="781760"/>
                </a:cubicBezTo>
                <a:lnTo>
                  <a:pt x="11848200" y="784041"/>
                </a:lnTo>
                <a:lnTo>
                  <a:pt x="11850234" y="782311"/>
                </a:lnTo>
                <a:cubicBezTo>
                  <a:pt x="11854590" y="773509"/>
                  <a:pt x="11854590" y="769109"/>
                  <a:pt x="11854590" y="760310"/>
                </a:cubicBezTo>
                <a:lnTo>
                  <a:pt x="11855980" y="762961"/>
                </a:lnTo>
                <a:lnTo>
                  <a:pt x="11855867" y="761179"/>
                </a:lnTo>
                <a:cubicBezTo>
                  <a:pt x="11860208" y="739438"/>
                  <a:pt x="11847183" y="709002"/>
                  <a:pt x="11877573" y="704654"/>
                </a:cubicBezTo>
                <a:cubicBezTo>
                  <a:pt x="11912303" y="695957"/>
                  <a:pt x="11912303" y="735091"/>
                  <a:pt x="11925327" y="756830"/>
                </a:cubicBezTo>
                <a:lnTo>
                  <a:pt x="11925004" y="759004"/>
                </a:lnTo>
                <a:lnTo>
                  <a:pt x="11948328" y="805007"/>
                </a:lnTo>
                <a:cubicBezTo>
                  <a:pt x="11950841" y="812193"/>
                  <a:pt x="11950422" y="818448"/>
                  <a:pt x="11943790" y="822907"/>
                </a:cubicBezTo>
                <a:lnTo>
                  <a:pt x="11904131" y="829656"/>
                </a:lnTo>
                <a:lnTo>
                  <a:pt x="11903621" y="830749"/>
                </a:lnTo>
                <a:cubicBezTo>
                  <a:pt x="11894938" y="839446"/>
                  <a:pt x="11890597" y="848141"/>
                  <a:pt x="11881913" y="856838"/>
                </a:cubicBezTo>
                <a:lnTo>
                  <a:pt x="11880645" y="854357"/>
                </a:lnTo>
                <a:lnTo>
                  <a:pt x="11880735" y="857113"/>
                </a:lnTo>
                <a:lnTo>
                  <a:pt x="11876389" y="927330"/>
                </a:lnTo>
                <a:lnTo>
                  <a:pt x="11876414" y="927342"/>
                </a:lnTo>
                <a:cubicBezTo>
                  <a:pt x="11898387" y="940591"/>
                  <a:pt x="11915964" y="975922"/>
                  <a:pt x="11951120" y="953841"/>
                </a:cubicBezTo>
                <a:cubicBezTo>
                  <a:pt x="11915964" y="1015668"/>
                  <a:pt x="11951120" y="1112828"/>
                  <a:pt x="11854441" y="1143743"/>
                </a:cubicBezTo>
                <a:lnTo>
                  <a:pt x="11854088" y="1143663"/>
                </a:lnTo>
                <a:lnTo>
                  <a:pt x="11828486" y="1217111"/>
                </a:lnTo>
                <a:lnTo>
                  <a:pt x="11827146" y="1216638"/>
                </a:lnTo>
                <a:lnTo>
                  <a:pt x="11827776" y="1217525"/>
                </a:lnTo>
                <a:lnTo>
                  <a:pt x="11805900" y="1288336"/>
                </a:lnTo>
                <a:lnTo>
                  <a:pt x="11806326" y="1288723"/>
                </a:lnTo>
                <a:cubicBezTo>
                  <a:pt x="11767111" y="1385101"/>
                  <a:pt x="11740968" y="1494620"/>
                  <a:pt x="11640753" y="1555953"/>
                </a:cubicBezTo>
                <a:lnTo>
                  <a:pt x="11639711" y="1556496"/>
                </a:lnTo>
                <a:lnTo>
                  <a:pt x="11640084" y="1556496"/>
                </a:lnTo>
                <a:cubicBezTo>
                  <a:pt x="11622702" y="1596198"/>
                  <a:pt x="11609665" y="1635899"/>
                  <a:pt x="11592283" y="1680012"/>
                </a:cubicBezTo>
                <a:lnTo>
                  <a:pt x="11590715" y="1680012"/>
                </a:lnTo>
                <a:lnTo>
                  <a:pt x="11590985" y="1708877"/>
                </a:lnTo>
                <a:cubicBezTo>
                  <a:pt x="11592632" y="1736375"/>
                  <a:pt x="11601691" y="1752791"/>
                  <a:pt x="11647805" y="1710109"/>
                </a:cubicBezTo>
                <a:cubicBezTo>
                  <a:pt x="11696114" y="1670709"/>
                  <a:pt x="11726858" y="1688221"/>
                  <a:pt x="11731250" y="1749508"/>
                </a:cubicBezTo>
                <a:cubicBezTo>
                  <a:pt x="11709291" y="1784530"/>
                  <a:pt x="11726858" y="1837063"/>
                  <a:pt x="11682940" y="1867707"/>
                </a:cubicBezTo>
                <a:lnTo>
                  <a:pt x="11682908" y="1867686"/>
                </a:lnTo>
                <a:lnTo>
                  <a:pt x="11639535" y="1915936"/>
                </a:lnTo>
                <a:lnTo>
                  <a:pt x="11640084" y="1916624"/>
                </a:lnTo>
                <a:cubicBezTo>
                  <a:pt x="11640084" y="1934151"/>
                  <a:pt x="11635671" y="1951676"/>
                  <a:pt x="11635671" y="1964822"/>
                </a:cubicBezTo>
                <a:lnTo>
                  <a:pt x="11635578" y="1965107"/>
                </a:lnTo>
                <a:lnTo>
                  <a:pt x="11655046" y="2018326"/>
                </a:lnTo>
                <a:cubicBezTo>
                  <a:pt x="11652179" y="2062134"/>
                  <a:pt x="11591590" y="2079410"/>
                  <a:pt x="11565390" y="2109027"/>
                </a:cubicBezTo>
                <a:lnTo>
                  <a:pt x="11565006" y="2108562"/>
                </a:lnTo>
                <a:lnTo>
                  <a:pt x="11565006" y="2110535"/>
                </a:lnTo>
                <a:cubicBezTo>
                  <a:pt x="11556426" y="2119585"/>
                  <a:pt x="11547846" y="2128635"/>
                  <a:pt x="11539266" y="2133160"/>
                </a:cubicBezTo>
                <a:lnTo>
                  <a:pt x="11539029" y="2132219"/>
                </a:lnTo>
                <a:lnTo>
                  <a:pt x="11538789" y="2132861"/>
                </a:lnTo>
                <a:lnTo>
                  <a:pt x="11538789" y="2158073"/>
                </a:lnTo>
                <a:lnTo>
                  <a:pt x="11538862" y="2158095"/>
                </a:lnTo>
                <a:cubicBezTo>
                  <a:pt x="11565005" y="2193489"/>
                  <a:pt x="11534504" y="2242155"/>
                  <a:pt x="11565005" y="2277549"/>
                </a:cubicBezTo>
                <a:cubicBezTo>
                  <a:pt x="11538862" y="2295246"/>
                  <a:pt x="11517075" y="2312943"/>
                  <a:pt x="11495290" y="2326215"/>
                </a:cubicBezTo>
                <a:lnTo>
                  <a:pt x="11495916" y="2323418"/>
                </a:lnTo>
                <a:lnTo>
                  <a:pt x="11494423" y="2325727"/>
                </a:lnTo>
                <a:cubicBezTo>
                  <a:pt x="11476916" y="2343278"/>
                  <a:pt x="11459408" y="2360828"/>
                  <a:pt x="11446277" y="2373991"/>
                </a:cubicBezTo>
                <a:cubicBezTo>
                  <a:pt x="11437525" y="2382767"/>
                  <a:pt x="11428770" y="2391542"/>
                  <a:pt x="11424393" y="2400318"/>
                </a:cubicBezTo>
                <a:lnTo>
                  <a:pt x="11418907" y="2403679"/>
                </a:lnTo>
                <a:lnTo>
                  <a:pt x="11427163" y="2400047"/>
                </a:lnTo>
                <a:cubicBezTo>
                  <a:pt x="11441574" y="2395601"/>
                  <a:pt x="11454475" y="2394096"/>
                  <a:pt x="11464906" y="2397105"/>
                </a:cubicBezTo>
                <a:cubicBezTo>
                  <a:pt x="11485767" y="2403125"/>
                  <a:pt x="11496746" y="2427202"/>
                  <a:pt x="11490158" y="2481924"/>
                </a:cubicBezTo>
                <a:lnTo>
                  <a:pt x="11487380" y="2482846"/>
                </a:lnTo>
                <a:lnTo>
                  <a:pt x="11491091" y="2482846"/>
                </a:lnTo>
                <a:cubicBezTo>
                  <a:pt x="11530249" y="2482846"/>
                  <a:pt x="11525898" y="2399296"/>
                  <a:pt x="11582459" y="2430077"/>
                </a:cubicBezTo>
                <a:lnTo>
                  <a:pt x="11582914" y="2430768"/>
                </a:lnTo>
                <a:lnTo>
                  <a:pt x="11582670" y="2429312"/>
                </a:lnTo>
                <a:cubicBezTo>
                  <a:pt x="11591502" y="2429312"/>
                  <a:pt x="11604751" y="2429312"/>
                  <a:pt x="11613585" y="2429312"/>
                </a:cubicBezTo>
                <a:lnTo>
                  <a:pt x="11613923" y="2429322"/>
                </a:lnTo>
                <a:lnTo>
                  <a:pt x="11648600" y="2410133"/>
                </a:lnTo>
                <a:cubicBezTo>
                  <a:pt x="11660744" y="2407339"/>
                  <a:pt x="11672890" y="2407339"/>
                  <a:pt x="11683930" y="2407339"/>
                </a:cubicBezTo>
                <a:lnTo>
                  <a:pt x="11688238" y="2429133"/>
                </a:lnTo>
                <a:lnTo>
                  <a:pt x="11688662" y="2429312"/>
                </a:lnTo>
                <a:lnTo>
                  <a:pt x="11688336" y="2429635"/>
                </a:lnTo>
                <a:lnTo>
                  <a:pt x="11688347" y="2429684"/>
                </a:lnTo>
                <a:lnTo>
                  <a:pt x="11688279" y="2429692"/>
                </a:lnTo>
                <a:lnTo>
                  <a:pt x="11684246" y="2433705"/>
                </a:lnTo>
                <a:lnTo>
                  <a:pt x="11684335" y="2434153"/>
                </a:lnTo>
                <a:lnTo>
                  <a:pt x="11731767" y="2434153"/>
                </a:lnTo>
                <a:lnTo>
                  <a:pt x="11732143" y="2434153"/>
                </a:lnTo>
                <a:lnTo>
                  <a:pt x="11732040" y="2434595"/>
                </a:lnTo>
                <a:lnTo>
                  <a:pt x="11772312" y="2499775"/>
                </a:lnTo>
                <a:cubicBezTo>
                  <a:pt x="11780421" y="2522743"/>
                  <a:pt x="11779340" y="2547898"/>
                  <a:pt x="11757715" y="2578521"/>
                </a:cubicBezTo>
                <a:lnTo>
                  <a:pt x="11754270" y="2580295"/>
                </a:lnTo>
                <a:lnTo>
                  <a:pt x="11758957" y="2580579"/>
                </a:lnTo>
                <a:cubicBezTo>
                  <a:pt x="11763426" y="2615086"/>
                  <a:pt x="11750018" y="2645281"/>
                  <a:pt x="11732143" y="2675476"/>
                </a:cubicBezTo>
                <a:lnTo>
                  <a:pt x="11729436" y="2675476"/>
                </a:lnTo>
                <a:lnTo>
                  <a:pt x="11730927" y="2676252"/>
                </a:lnTo>
                <a:cubicBezTo>
                  <a:pt x="11739722" y="2680664"/>
                  <a:pt x="11748517" y="2689486"/>
                  <a:pt x="11752913" y="2698310"/>
                </a:cubicBezTo>
                <a:lnTo>
                  <a:pt x="11752331" y="2701044"/>
                </a:lnTo>
                <a:lnTo>
                  <a:pt x="11754406" y="2698725"/>
                </a:lnTo>
                <a:cubicBezTo>
                  <a:pt x="11763181" y="2689983"/>
                  <a:pt x="11771957" y="2681240"/>
                  <a:pt x="11780732" y="2672498"/>
                </a:cubicBezTo>
                <a:lnTo>
                  <a:pt x="11782909" y="2672464"/>
                </a:lnTo>
                <a:lnTo>
                  <a:pt x="11779514" y="2670599"/>
                </a:lnTo>
                <a:cubicBezTo>
                  <a:pt x="11783872" y="2653048"/>
                  <a:pt x="11783872" y="2626721"/>
                  <a:pt x="11792585" y="2617947"/>
                </a:cubicBezTo>
                <a:cubicBezTo>
                  <a:pt x="11823086" y="2600396"/>
                  <a:pt x="11831800" y="2639884"/>
                  <a:pt x="11849229" y="2648660"/>
                </a:cubicBezTo>
                <a:lnTo>
                  <a:pt x="11848200" y="2650941"/>
                </a:lnTo>
                <a:lnTo>
                  <a:pt x="11850234" y="2649211"/>
                </a:lnTo>
                <a:cubicBezTo>
                  <a:pt x="11854590" y="2640409"/>
                  <a:pt x="11854590" y="2636009"/>
                  <a:pt x="11854590" y="2627210"/>
                </a:cubicBezTo>
                <a:lnTo>
                  <a:pt x="11855980" y="2629861"/>
                </a:lnTo>
                <a:lnTo>
                  <a:pt x="11855867" y="2628079"/>
                </a:lnTo>
                <a:cubicBezTo>
                  <a:pt x="11860208" y="2606338"/>
                  <a:pt x="11847183" y="2575902"/>
                  <a:pt x="11877573" y="2571554"/>
                </a:cubicBezTo>
                <a:cubicBezTo>
                  <a:pt x="11912303" y="2562857"/>
                  <a:pt x="11912303" y="2601991"/>
                  <a:pt x="11925327" y="2623730"/>
                </a:cubicBezTo>
                <a:lnTo>
                  <a:pt x="11925004" y="2625904"/>
                </a:lnTo>
                <a:lnTo>
                  <a:pt x="11948328" y="2671907"/>
                </a:lnTo>
                <a:cubicBezTo>
                  <a:pt x="11950841" y="2679093"/>
                  <a:pt x="11950422" y="2685348"/>
                  <a:pt x="11943790" y="2689807"/>
                </a:cubicBezTo>
                <a:lnTo>
                  <a:pt x="11904131" y="2696556"/>
                </a:lnTo>
                <a:lnTo>
                  <a:pt x="11903621" y="2697649"/>
                </a:lnTo>
                <a:cubicBezTo>
                  <a:pt x="11894938" y="2706346"/>
                  <a:pt x="11890597" y="2715041"/>
                  <a:pt x="11881913" y="2723738"/>
                </a:cubicBezTo>
                <a:lnTo>
                  <a:pt x="11880645" y="2721257"/>
                </a:lnTo>
                <a:lnTo>
                  <a:pt x="11880735" y="2724013"/>
                </a:lnTo>
                <a:lnTo>
                  <a:pt x="11876389" y="2794230"/>
                </a:lnTo>
                <a:lnTo>
                  <a:pt x="11876414" y="2794242"/>
                </a:lnTo>
                <a:cubicBezTo>
                  <a:pt x="11898387" y="2807491"/>
                  <a:pt x="11915964" y="2842822"/>
                  <a:pt x="11951120" y="2820741"/>
                </a:cubicBezTo>
                <a:cubicBezTo>
                  <a:pt x="11915964" y="2882568"/>
                  <a:pt x="11951120" y="2979728"/>
                  <a:pt x="11854441" y="3010643"/>
                </a:cubicBezTo>
                <a:lnTo>
                  <a:pt x="11854088" y="3010563"/>
                </a:lnTo>
                <a:lnTo>
                  <a:pt x="11828486" y="3084011"/>
                </a:lnTo>
                <a:lnTo>
                  <a:pt x="11827146" y="3083538"/>
                </a:lnTo>
                <a:lnTo>
                  <a:pt x="11827776" y="3084425"/>
                </a:lnTo>
                <a:lnTo>
                  <a:pt x="11805900" y="3155236"/>
                </a:lnTo>
                <a:lnTo>
                  <a:pt x="11806326" y="3155623"/>
                </a:lnTo>
                <a:cubicBezTo>
                  <a:pt x="11767111" y="3252001"/>
                  <a:pt x="11740968" y="3361520"/>
                  <a:pt x="11640753" y="3422852"/>
                </a:cubicBezTo>
                <a:lnTo>
                  <a:pt x="11639711" y="3423396"/>
                </a:lnTo>
                <a:lnTo>
                  <a:pt x="11640084" y="3423396"/>
                </a:lnTo>
                <a:cubicBezTo>
                  <a:pt x="11622702" y="3463097"/>
                  <a:pt x="11609665" y="3502799"/>
                  <a:pt x="11592283" y="3546912"/>
                </a:cubicBezTo>
                <a:lnTo>
                  <a:pt x="11590715" y="3546912"/>
                </a:lnTo>
                <a:lnTo>
                  <a:pt x="11590985" y="3575777"/>
                </a:lnTo>
                <a:cubicBezTo>
                  <a:pt x="11592632" y="3603275"/>
                  <a:pt x="11601691" y="3619691"/>
                  <a:pt x="11647805" y="3577009"/>
                </a:cubicBezTo>
                <a:cubicBezTo>
                  <a:pt x="11696114" y="3537609"/>
                  <a:pt x="11726858" y="3555120"/>
                  <a:pt x="11731250" y="3616407"/>
                </a:cubicBezTo>
                <a:cubicBezTo>
                  <a:pt x="11709291" y="3651429"/>
                  <a:pt x="11726858" y="3703962"/>
                  <a:pt x="11682940" y="3734606"/>
                </a:cubicBezTo>
                <a:lnTo>
                  <a:pt x="11682908" y="3734586"/>
                </a:lnTo>
                <a:lnTo>
                  <a:pt x="11639535" y="3782836"/>
                </a:lnTo>
                <a:lnTo>
                  <a:pt x="11640084" y="3783524"/>
                </a:lnTo>
                <a:cubicBezTo>
                  <a:pt x="11640084" y="3801051"/>
                  <a:pt x="11635671" y="3818576"/>
                  <a:pt x="11635671" y="3831722"/>
                </a:cubicBezTo>
                <a:lnTo>
                  <a:pt x="11635578" y="3832006"/>
                </a:lnTo>
                <a:lnTo>
                  <a:pt x="11655046" y="3885226"/>
                </a:lnTo>
                <a:cubicBezTo>
                  <a:pt x="11652179" y="3929034"/>
                  <a:pt x="11591590" y="3946310"/>
                  <a:pt x="11565390" y="3975927"/>
                </a:cubicBezTo>
                <a:lnTo>
                  <a:pt x="11565006" y="3975462"/>
                </a:lnTo>
                <a:lnTo>
                  <a:pt x="11565006" y="3977435"/>
                </a:lnTo>
                <a:lnTo>
                  <a:pt x="11554287" y="3986857"/>
                </a:lnTo>
                <a:lnTo>
                  <a:pt x="11563900" y="3985607"/>
                </a:lnTo>
                <a:cubicBezTo>
                  <a:pt x="11569271" y="3986268"/>
                  <a:pt x="11575389" y="3988330"/>
                  <a:pt x="11582459" y="3992177"/>
                </a:cubicBezTo>
                <a:lnTo>
                  <a:pt x="11582914" y="3992868"/>
                </a:lnTo>
                <a:lnTo>
                  <a:pt x="11582670" y="3991412"/>
                </a:lnTo>
                <a:cubicBezTo>
                  <a:pt x="11591502" y="3991412"/>
                  <a:pt x="11604751" y="3991412"/>
                  <a:pt x="11613585" y="3991412"/>
                </a:cubicBezTo>
                <a:lnTo>
                  <a:pt x="11613923" y="3991422"/>
                </a:lnTo>
                <a:lnTo>
                  <a:pt x="11648600" y="3972233"/>
                </a:lnTo>
                <a:cubicBezTo>
                  <a:pt x="11660744" y="3969439"/>
                  <a:pt x="11672890" y="3969439"/>
                  <a:pt x="11683930" y="3969439"/>
                </a:cubicBezTo>
                <a:lnTo>
                  <a:pt x="11688238" y="3991233"/>
                </a:lnTo>
                <a:lnTo>
                  <a:pt x="11688662" y="3991412"/>
                </a:lnTo>
                <a:lnTo>
                  <a:pt x="11688336" y="3991735"/>
                </a:lnTo>
                <a:lnTo>
                  <a:pt x="11688347" y="3991784"/>
                </a:lnTo>
                <a:lnTo>
                  <a:pt x="11688279" y="3991792"/>
                </a:lnTo>
                <a:lnTo>
                  <a:pt x="11684246" y="3995805"/>
                </a:lnTo>
                <a:lnTo>
                  <a:pt x="11684335" y="3996253"/>
                </a:lnTo>
                <a:lnTo>
                  <a:pt x="11731767" y="3996253"/>
                </a:lnTo>
                <a:lnTo>
                  <a:pt x="11732143" y="3996253"/>
                </a:lnTo>
                <a:lnTo>
                  <a:pt x="11732040" y="3996695"/>
                </a:lnTo>
                <a:lnTo>
                  <a:pt x="11772312" y="4061875"/>
                </a:lnTo>
                <a:cubicBezTo>
                  <a:pt x="11780421" y="4084843"/>
                  <a:pt x="11779340" y="4109998"/>
                  <a:pt x="11757715" y="4140621"/>
                </a:cubicBezTo>
                <a:lnTo>
                  <a:pt x="11754270" y="4142395"/>
                </a:lnTo>
                <a:lnTo>
                  <a:pt x="11758957" y="4142679"/>
                </a:lnTo>
                <a:cubicBezTo>
                  <a:pt x="11763426" y="4177186"/>
                  <a:pt x="11750018" y="4207381"/>
                  <a:pt x="11732143" y="4237576"/>
                </a:cubicBezTo>
                <a:lnTo>
                  <a:pt x="11729436" y="4237576"/>
                </a:lnTo>
                <a:lnTo>
                  <a:pt x="11730927" y="4238352"/>
                </a:lnTo>
                <a:cubicBezTo>
                  <a:pt x="11739722" y="4242764"/>
                  <a:pt x="11748517" y="4251586"/>
                  <a:pt x="11752913" y="4260410"/>
                </a:cubicBezTo>
                <a:lnTo>
                  <a:pt x="11752331" y="4263144"/>
                </a:lnTo>
                <a:lnTo>
                  <a:pt x="11754406" y="4260825"/>
                </a:lnTo>
                <a:cubicBezTo>
                  <a:pt x="11763181" y="4252083"/>
                  <a:pt x="11771957" y="4243340"/>
                  <a:pt x="11780732" y="4234598"/>
                </a:cubicBezTo>
                <a:lnTo>
                  <a:pt x="11782909" y="4234564"/>
                </a:lnTo>
                <a:lnTo>
                  <a:pt x="11779514" y="4232699"/>
                </a:lnTo>
                <a:cubicBezTo>
                  <a:pt x="11783872" y="4215148"/>
                  <a:pt x="11783872" y="4188821"/>
                  <a:pt x="11792585" y="4180047"/>
                </a:cubicBezTo>
                <a:cubicBezTo>
                  <a:pt x="11823086" y="4162496"/>
                  <a:pt x="11831800" y="4201984"/>
                  <a:pt x="11849229" y="4210760"/>
                </a:cubicBezTo>
                <a:lnTo>
                  <a:pt x="11848200" y="4213041"/>
                </a:lnTo>
                <a:lnTo>
                  <a:pt x="11850234" y="4211311"/>
                </a:lnTo>
                <a:cubicBezTo>
                  <a:pt x="11854590" y="4202509"/>
                  <a:pt x="11854590" y="4198109"/>
                  <a:pt x="11854590" y="4189310"/>
                </a:cubicBezTo>
                <a:lnTo>
                  <a:pt x="11855980" y="4191961"/>
                </a:lnTo>
                <a:lnTo>
                  <a:pt x="11855867" y="4190179"/>
                </a:lnTo>
                <a:cubicBezTo>
                  <a:pt x="11860208" y="4168438"/>
                  <a:pt x="11847183" y="4138002"/>
                  <a:pt x="11877573" y="4133654"/>
                </a:cubicBezTo>
                <a:cubicBezTo>
                  <a:pt x="11912303" y="4124957"/>
                  <a:pt x="11912303" y="4164091"/>
                  <a:pt x="11925327" y="4185830"/>
                </a:cubicBezTo>
                <a:lnTo>
                  <a:pt x="11925004" y="4188004"/>
                </a:lnTo>
                <a:lnTo>
                  <a:pt x="11948328" y="4234007"/>
                </a:lnTo>
                <a:cubicBezTo>
                  <a:pt x="11950841" y="4241193"/>
                  <a:pt x="11950422" y="4247448"/>
                  <a:pt x="11943790" y="4251907"/>
                </a:cubicBezTo>
                <a:lnTo>
                  <a:pt x="11904131" y="4258656"/>
                </a:lnTo>
                <a:lnTo>
                  <a:pt x="11903621" y="4259749"/>
                </a:lnTo>
                <a:cubicBezTo>
                  <a:pt x="11894938" y="4268446"/>
                  <a:pt x="11890597" y="4277141"/>
                  <a:pt x="11881913" y="4285838"/>
                </a:cubicBezTo>
                <a:lnTo>
                  <a:pt x="11880645" y="4283357"/>
                </a:lnTo>
                <a:lnTo>
                  <a:pt x="11880735" y="4286113"/>
                </a:lnTo>
                <a:lnTo>
                  <a:pt x="11876389" y="4356330"/>
                </a:lnTo>
                <a:lnTo>
                  <a:pt x="11876414" y="4356342"/>
                </a:lnTo>
                <a:cubicBezTo>
                  <a:pt x="11898387" y="4369591"/>
                  <a:pt x="11915964" y="4404922"/>
                  <a:pt x="11951120" y="4382841"/>
                </a:cubicBezTo>
                <a:cubicBezTo>
                  <a:pt x="11915964" y="4444668"/>
                  <a:pt x="11951120" y="4541828"/>
                  <a:pt x="11854441" y="4572743"/>
                </a:cubicBezTo>
                <a:lnTo>
                  <a:pt x="11854088" y="4572663"/>
                </a:lnTo>
                <a:lnTo>
                  <a:pt x="11828486" y="4646111"/>
                </a:lnTo>
                <a:lnTo>
                  <a:pt x="11827146" y="4645638"/>
                </a:lnTo>
                <a:lnTo>
                  <a:pt x="11827776" y="4646525"/>
                </a:lnTo>
                <a:lnTo>
                  <a:pt x="11805900" y="4717336"/>
                </a:lnTo>
                <a:lnTo>
                  <a:pt x="11806326" y="4717723"/>
                </a:lnTo>
                <a:cubicBezTo>
                  <a:pt x="11767111" y="4814101"/>
                  <a:pt x="11740968" y="4923620"/>
                  <a:pt x="11640753" y="4984952"/>
                </a:cubicBezTo>
                <a:lnTo>
                  <a:pt x="11639711" y="4985496"/>
                </a:lnTo>
                <a:lnTo>
                  <a:pt x="11640084" y="4985496"/>
                </a:lnTo>
                <a:cubicBezTo>
                  <a:pt x="11622702" y="5025197"/>
                  <a:pt x="11609665" y="5064899"/>
                  <a:pt x="11592283" y="5109012"/>
                </a:cubicBezTo>
                <a:lnTo>
                  <a:pt x="11590715" y="5109012"/>
                </a:lnTo>
                <a:lnTo>
                  <a:pt x="11590985" y="5137877"/>
                </a:lnTo>
                <a:cubicBezTo>
                  <a:pt x="11592632" y="5165375"/>
                  <a:pt x="11601691" y="5181791"/>
                  <a:pt x="11647805" y="5139109"/>
                </a:cubicBezTo>
                <a:cubicBezTo>
                  <a:pt x="11696114" y="5099709"/>
                  <a:pt x="11726858" y="5117220"/>
                  <a:pt x="11731250" y="5178507"/>
                </a:cubicBezTo>
                <a:cubicBezTo>
                  <a:pt x="11709291" y="5213529"/>
                  <a:pt x="11726858" y="5266062"/>
                  <a:pt x="11682940" y="5296706"/>
                </a:cubicBezTo>
                <a:lnTo>
                  <a:pt x="11682908" y="5296686"/>
                </a:lnTo>
                <a:lnTo>
                  <a:pt x="11639535" y="5344936"/>
                </a:lnTo>
                <a:lnTo>
                  <a:pt x="11640084" y="5345624"/>
                </a:lnTo>
                <a:cubicBezTo>
                  <a:pt x="11640084" y="5363151"/>
                  <a:pt x="11635671" y="5380676"/>
                  <a:pt x="11635671" y="5393822"/>
                </a:cubicBezTo>
                <a:lnTo>
                  <a:pt x="11635578" y="5394106"/>
                </a:lnTo>
                <a:lnTo>
                  <a:pt x="11655046" y="5447326"/>
                </a:lnTo>
                <a:cubicBezTo>
                  <a:pt x="11652179" y="5491134"/>
                  <a:pt x="11591590" y="5508410"/>
                  <a:pt x="11565390" y="5538027"/>
                </a:cubicBezTo>
                <a:lnTo>
                  <a:pt x="11565006" y="5537562"/>
                </a:lnTo>
                <a:lnTo>
                  <a:pt x="11565006" y="5539535"/>
                </a:lnTo>
                <a:cubicBezTo>
                  <a:pt x="11556426" y="5548585"/>
                  <a:pt x="11547846" y="5557635"/>
                  <a:pt x="11539266" y="5562160"/>
                </a:cubicBezTo>
                <a:lnTo>
                  <a:pt x="11539029" y="5561219"/>
                </a:lnTo>
                <a:lnTo>
                  <a:pt x="11538789" y="5561861"/>
                </a:lnTo>
                <a:lnTo>
                  <a:pt x="11538789" y="5587073"/>
                </a:lnTo>
                <a:lnTo>
                  <a:pt x="11538862" y="5587095"/>
                </a:lnTo>
                <a:cubicBezTo>
                  <a:pt x="11565005" y="5622489"/>
                  <a:pt x="11534504" y="5671155"/>
                  <a:pt x="11565005" y="5706549"/>
                </a:cubicBezTo>
                <a:cubicBezTo>
                  <a:pt x="11538862" y="5724246"/>
                  <a:pt x="11517075" y="5741943"/>
                  <a:pt x="11495290" y="5755215"/>
                </a:cubicBezTo>
                <a:lnTo>
                  <a:pt x="11495916" y="5752418"/>
                </a:lnTo>
                <a:lnTo>
                  <a:pt x="11494423" y="5754727"/>
                </a:lnTo>
                <a:cubicBezTo>
                  <a:pt x="11476916" y="5772278"/>
                  <a:pt x="11459408" y="5789828"/>
                  <a:pt x="11446277" y="5802991"/>
                </a:cubicBezTo>
                <a:cubicBezTo>
                  <a:pt x="11437525" y="5811767"/>
                  <a:pt x="11428770" y="5820542"/>
                  <a:pt x="11424393" y="5829318"/>
                </a:cubicBezTo>
                <a:cubicBezTo>
                  <a:pt x="11398131" y="5842481"/>
                  <a:pt x="11371870" y="5860031"/>
                  <a:pt x="11345609" y="5877582"/>
                </a:cubicBezTo>
                <a:lnTo>
                  <a:pt x="11344055" y="5878981"/>
                </a:lnTo>
                <a:lnTo>
                  <a:pt x="11345136" y="5878557"/>
                </a:lnTo>
                <a:cubicBezTo>
                  <a:pt x="11336387" y="5904298"/>
                  <a:pt x="11332012" y="5925749"/>
                  <a:pt x="11323261" y="5947199"/>
                </a:cubicBezTo>
                <a:lnTo>
                  <a:pt x="11321398" y="5948483"/>
                </a:lnTo>
                <a:lnTo>
                  <a:pt x="11323684" y="5948272"/>
                </a:lnTo>
                <a:lnTo>
                  <a:pt x="11323684" y="5973831"/>
                </a:lnTo>
                <a:lnTo>
                  <a:pt x="11324069" y="5973905"/>
                </a:lnTo>
                <a:cubicBezTo>
                  <a:pt x="11332879" y="5982699"/>
                  <a:pt x="11341689" y="5991494"/>
                  <a:pt x="11350499" y="5995892"/>
                </a:cubicBezTo>
                <a:cubicBezTo>
                  <a:pt x="11332879" y="6039867"/>
                  <a:pt x="11284422" y="6057456"/>
                  <a:pt x="11271207" y="6105827"/>
                </a:cubicBezTo>
                <a:cubicBezTo>
                  <a:pt x="11244777" y="6176185"/>
                  <a:pt x="11213942" y="6092635"/>
                  <a:pt x="11178700" y="6097032"/>
                </a:cubicBezTo>
                <a:lnTo>
                  <a:pt x="11178700" y="6096539"/>
                </a:lnTo>
                <a:lnTo>
                  <a:pt x="11111747" y="6158971"/>
                </a:lnTo>
                <a:cubicBezTo>
                  <a:pt x="11042412" y="6218546"/>
                  <a:pt x="10964460" y="6260747"/>
                  <a:pt x="10859432" y="6211099"/>
                </a:cubicBezTo>
                <a:cubicBezTo>
                  <a:pt x="10802542" y="6184620"/>
                  <a:pt x="10780662" y="6286121"/>
                  <a:pt x="10723772" y="6237578"/>
                </a:cubicBezTo>
                <a:lnTo>
                  <a:pt x="10724152" y="6234315"/>
                </a:lnTo>
                <a:lnTo>
                  <a:pt x="10723063" y="6237857"/>
                </a:lnTo>
                <a:cubicBezTo>
                  <a:pt x="10697322" y="6220428"/>
                  <a:pt x="10684451" y="6189927"/>
                  <a:pt x="10650130" y="6189927"/>
                </a:cubicBezTo>
                <a:cubicBezTo>
                  <a:pt x="10637259" y="6150713"/>
                  <a:pt x="10663001" y="6141999"/>
                  <a:pt x="10693032" y="6133284"/>
                </a:cubicBezTo>
                <a:lnTo>
                  <a:pt x="10708956" y="6138108"/>
                </a:lnTo>
                <a:lnTo>
                  <a:pt x="10742909" y="6100682"/>
                </a:lnTo>
                <a:lnTo>
                  <a:pt x="10793296" y="6072080"/>
                </a:lnTo>
                <a:lnTo>
                  <a:pt x="10793408" y="6071701"/>
                </a:lnTo>
                <a:lnTo>
                  <a:pt x="10793544" y="6071452"/>
                </a:lnTo>
                <a:lnTo>
                  <a:pt x="10793544" y="6050156"/>
                </a:lnTo>
                <a:lnTo>
                  <a:pt x="10723628" y="6045797"/>
                </a:lnTo>
                <a:lnTo>
                  <a:pt x="10706508" y="6071923"/>
                </a:lnTo>
                <a:cubicBezTo>
                  <a:pt x="10672795" y="6109274"/>
                  <a:pt x="10688632" y="5981078"/>
                  <a:pt x="10654079" y="6023015"/>
                </a:cubicBezTo>
                <a:lnTo>
                  <a:pt x="10653226" y="6022591"/>
                </a:lnTo>
                <a:lnTo>
                  <a:pt x="10627321" y="6081078"/>
                </a:lnTo>
                <a:cubicBezTo>
                  <a:pt x="10614585" y="6096598"/>
                  <a:pt x="10597971" y="6108793"/>
                  <a:pt x="10578037" y="6119880"/>
                </a:cubicBezTo>
                <a:lnTo>
                  <a:pt x="10556183" y="6098003"/>
                </a:lnTo>
                <a:lnTo>
                  <a:pt x="10524423" y="6110217"/>
                </a:lnTo>
                <a:cubicBezTo>
                  <a:pt x="10489829" y="6117365"/>
                  <a:pt x="10450293" y="6114097"/>
                  <a:pt x="10420643" y="6150044"/>
                </a:cubicBezTo>
                <a:cubicBezTo>
                  <a:pt x="10398679" y="6176187"/>
                  <a:pt x="10376714" y="6141331"/>
                  <a:pt x="10359141" y="6119543"/>
                </a:cubicBezTo>
                <a:lnTo>
                  <a:pt x="10358791" y="6118851"/>
                </a:lnTo>
                <a:lnTo>
                  <a:pt x="10331132" y="6100192"/>
                </a:lnTo>
                <a:cubicBezTo>
                  <a:pt x="10322873" y="6091441"/>
                  <a:pt x="10316265" y="6080505"/>
                  <a:pt x="10311860" y="6067381"/>
                </a:cubicBezTo>
                <a:lnTo>
                  <a:pt x="10311905" y="6067266"/>
                </a:lnTo>
                <a:lnTo>
                  <a:pt x="10264553" y="6071614"/>
                </a:lnTo>
                <a:lnTo>
                  <a:pt x="10264883" y="6066293"/>
                </a:lnTo>
                <a:lnTo>
                  <a:pt x="10264011" y="6070639"/>
                </a:lnTo>
                <a:cubicBezTo>
                  <a:pt x="10264011" y="6075027"/>
                  <a:pt x="10264011" y="6083802"/>
                  <a:pt x="10264011" y="6088190"/>
                </a:cubicBezTo>
                <a:lnTo>
                  <a:pt x="10261693" y="6090435"/>
                </a:lnTo>
                <a:lnTo>
                  <a:pt x="10272874" y="6091906"/>
                </a:lnTo>
                <a:cubicBezTo>
                  <a:pt x="10277252" y="6105116"/>
                  <a:pt x="10286005" y="6118326"/>
                  <a:pt x="10281628" y="6127131"/>
                </a:cubicBezTo>
                <a:cubicBezTo>
                  <a:pt x="10198475" y="6259222"/>
                  <a:pt x="10124075" y="6400121"/>
                  <a:pt x="9988405" y="6492584"/>
                </a:cubicBezTo>
                <a:cubicBezTo>
                  <a:pt x="9975276" y="6492584"/>
                  <a:pt x="9962147" y="6488181"/>
                  <a:pt x="9953395" y="6479376"/>
                </a:cubicBezTo>
                <a:cubicBezTo>
                  <a:pt x="9944642" y="6479376"/>
                  <a:pt x="9935887" y="6479376"/>
                  <a:pt x="9931511" y="6479376"/>
                </a:cubicBezTo>
                <a:lnTo>
                  <a:pt x="9930071" y="6477927"/>
                </a:lnTo>
                <a:lnTo>
                  <a:pt x="9929777" y="6479178"/>
                </a:lnTo>
                <a:lnTo>
                  <a:pt x="9883207" y="6479178"/>
                </a:lnTo>
                <a:lnTo>
                  <a:pt x="9883036" y="6479715"/>
                </a:lnTo>
                <a:cubicBezTo>
                  <a:pt x="9847489" y="6492815"/>
                  <a:pt x="9829717" y="6540850"/>
                  <a:pt x="9785281" y="6527750"/>
                </a:cubicBezTo>
                <a:lnTo>
                  <a:pt x="9785035" y="6527142"/>
                </a:lnTo>
                <a:lnTo>
                  <a:pt x="9734024" y="6501137"/>
                </a:lnTo>
                <a:lnTo>
                  <a:pt x="9733916" y="6501794"/>
                </a:lnTo>
                <a:cubicBezTo>
                  <a:pt x="9716397" y="6510655"/>
                  <a:pt x="9703259" y="6523946"/>
                  <a:pt x="9690121" y="6532805"/>
                </a:cubicBezTo>
                <a:lnTo>
                  <a:pt x="9687768" y="6531966"/>
                </a:lnTo>
                <a:lnTo>
                  <a:pt x="9662535" y="6574823"/>
                </a:lnTo>
                <a:lnTo>
                  <a:pt x="9663933" y="6576195"/>
                </a:lnTo>
                <a:cubicBezTo>
                  <a:pt x="9663933" y="6593745"/>
                  <a:pt x="9663933" y="6611296"/>
                  <a:pt x="9663933" y="6624459"/>
                </a:cubicBezTo>
                <a:cubicBezTo>
                  <a:pt x="9654994" y="6633233"/>
                  <a:pt x="9650525" y="6642010"/>
                  <a:pt x="9641587" y="6650784"/>
                </a:cubicBezTo>
                <a:cubicBezTo>
                  <a:pt x="9619243" y="6633233"/>
                  <a:pt x="9620359" y="6616780"/>
                  <a:pt x="9626505" y="6600875"/>
                </a:cubicBezTo>
                <a:lnTo>
                  <a:pt x="9641237" y="6555338"/>
                </a:lnTo>
                <a:lnTo>
                  <a:pt x="9640309" y="6553585"/>
                </a:lnTo>
                <a:lnTo>
                  <a:pt x="9597942" y="6553585"/>
                </a:lnTo>
                <a:lnTo>
                  <a:pt x="9596898" y="6554639"/>
                </a:lnTo>
                <a:cubicBezTo>
                  <a:pt x="9579023" y="6576664"/>
                  <a:pt x="9561146" y="6581069"/>
                  <a:pt x="9543271" y="6554639"/>
                </a:cubicBezTo>
                <a:lnTo>
                  <a:pt x="9543499" y="6554173"/>
                </a:lnTo>
                <a:lnTo>
                  <a:pt x="9517890" y="6549927"/>
                </a:lnTo>
                <a:lnTo>
                  <a:pt x="9521291" y="6556985"/>
                </a:lnTo>
                <a:cubicBezTo>
                  <a:pt x="9521822" y="6558086"/>
                  <a:pt x="9521822" y="6558086"/>
                  <a:pt x="9521822" y="6558086"/>
                </a:cubicBezTo>
                <a:cubicBezTo>
                  <a:pt x="9504839" y="6562491"/>
                  <a:pt x="9487857" y="6571302"/>
                  <a:pt x="9470875" y="6575707"/>
                </a:cubicBezTo>
                <a:lnTo>
                  <a:pt x="9470875" y="6529577"/>
                </a:lnTo>
                <a:lnTo>
                  <a:pt x="9470387" y="6529373"/>
                </a:lnTo>
                <a:cubicBezTo>
                  <a:pt x="9470387" y="6502989"/>
                  <a:pt x="9474775" y="6472206"/>
                  <a:pt x="9444063" y="6454616"/>
                </a:cubicBezTo>
                <a:lnTo>
                  <a:pt x="9445093" y="6454013"/>
                </a:lnTo>
                <a:lnTo>
                  <a:pt x="9443817" y="6454295"/>
                </a:lnTo>
                <a:cubicBezTo>
                  <a:pt x="9435041" y="6454295"/>
                  <a:pt x="9435041" y="6454295"/>
                  <a:pt x="9435041" y="6454295"/>
                </a:cubicBezTo>
                <a:lnTo>
                  <a:pt x="9426267" y="6458693"/>
                </a:lnTo>
                <a:lnTo>
                  <a:pt x="9425267" y="6458155"/>
                </a:lnTo>
                <a:lnTo>
                  <a:pt x="9425292" y="6458187"/>
                </a:lnTo>
                <a:cubicBezTo>
                  <a:pt x="9420904" y="6497487"/>
                  <a:pt x="9398965" y="6528055"/>
                  <a:pt x="9377028" y="6554256"/>
                </a:cubicBezTo>
                <a:lnTo>
                  <a:pt x="9376471" y="6553616"/>
                </a:lnTo>
                <a:lnTo>
                  <a:pt x="9377028" y="6555374"/>
                </a:lnTo>
                <a:cubicBezTo>
                  <a:pt x="9355089" y="6621290"/>
                  <a:pt x="9293662" y="6498246"/>
                  <a:pt x="9276112" y="6572952"/>
                </a:cubicBezTo>
                <a:cubicBezTo>
                  <a:pt x="9232235" y="6555374"/>
                  <a:pt x="9183971" y="6546584"/>
                  <a:pt x="9227847" y="6485063"/>
                </a:cubicBezTo>
                <a:lnTo>
                  <a:pt x="9231972" y="6483401"/>
                </a:lnTo>
                <a:lnTo>
                  <a:pt x="9229818" y="6483163"/>
                </a:lnTo>
                <a:cubicBezTo>
                  <a:pt x="9181466" y="6487529"/>
                  <a:pt x="9133114" y="6496263"/>
                  <a:pt x="9084762" y="6500629"/>
                </a:cubicBezTo>
                <a:lnTo>
                  <a:pt x="9084801" y="6500511"/>
                </a:lnTo>
                <a:lnTo>
                  <a:pt x="9083306" y="6502198"/>
                </a:lnTo>
                <a:cubicBezTo>
                  <a:pt x="9083306" y="6519725"/>
                  <a:pt x="9083306" y="6537252"/>
                  <a:pt x="9083306" y="6550398"/>
                </a:cubicBezTo>
                <a:cubicBezTo>
                  <a:pt x="9052740" y="6567925"/>
                  <a:pt x="9022172" y="6581069"/>
                  <a:pt x="9030906" y="6528489"/>
                </a:cubicBezTo>
                <a:cubicBezTo>
                  <a:pt x="9035272" y="6493435"/>
                  <a:pt x="9022172" y="6489054"/>
                  <a:pt x="8995971" y="6489054"/>
                </a:cubicBezTo>
                <a:lnTo>
                  <a:pt x="8995819" y="6488850"/>
                </a:lnTo>
                <a:lnTo>
                  <a:pt x="8952693" y="6509167"/>
                </a:lnTo>
                <a:cubicBezTo>
                  <a:pt x="8908422" y="6523350"/>
                  <a:pt x="8862296" y="6519115"/>
                  <a:pt x="8816172" y="6502181"/>
                </a:cubicBezTo>
                <a:cubicBezTo>
                  <a:pt x="8802992" y="6495406"/>
                  <a:pt x="8800797" y="6487503"/>
                  <a:pt x="8804090" y="6479601"/>
                </a:cubicBezTo>
                <a:lnTo>
                  <a:pt x="8824739" y="6457256"/>
                </a:lnTo>
                <a:lnTo>
                  <a:pt x="8824671" y="6457190"/>
                </a:lnTo>
                <a:lnTo>
                  <a:pt x="8864374" y="6402138"/>
                </a:lnTo>
                <a:lnTo>
                  <a:pt x="8864556" y="6400444"/>
                </a:lnTo>
                <a:lnTo>
                  <a:pt x="8868905" y="6361027"/>
                </a:lnTo>
                <a:lnTo>
                  <a:pt x="8839685" y="6382102"/>
                </a:lnTo>
                <a:cubicBezTo>
                  <a:pt x="8809396" y="6394243"/>
                  <a:pt x="8777985" y="6381342"/>
                  <a:pt x="8746227" y="6372254"/>
                </a:cubicBezTo>
                <a:lnTo>
                  <a:pt x="8703844" y="6364943"/>
                </a:lnTo>
                <a:lnTo>
                  <a:pt x="8629420" y="6440746"/>
                </a:lnTo>
                <a:cubicBezTo>
                  <a:pt x="8611870" y="6454153"/>
                  <a:pt x="8585544" y="6463090"/>
                  <a:pt x="8572382" y="6440746"/>
                </a:cubicBezTo>
                <a:cubicBezTo>
                  <a:pt x="8559219" y="6413932"/>
                  <a:pt x="8598707" y="6404994"/>
                  <a:pt x="8603095" y="6382650"/>
                </a:cubicBezTo>
                <a:lnTo>
                  <a:pt x="8603293" y="6382420"/>
                </a:lnTo>
                <a:lnTo>
                  <a:pt x="8602607" y="6382650"/>
                </a:lnTo>
                <a:lnTo>
                  <a:pt x="8580847" y="6334521"/>
                </a:lnTo>
                <a:lnTo>
                  <a:pt x="8536809" y="6360560"/>
                </a:lnTo>
                <a:lnTo>
                  <a:pt x="8534191" y="6361794"/>
                </a:lnTo>
                <a:lnTo>
                  <a:pt x="8506511" y="6409386"/>
                </a:lnTo>
                <a:cubicBezTo>
                  <a:pt x="8494108" y="6420977"/>
                  <a:pt x="8479012" y="6426497"/>
                  <a:pt x="8461758" y="6422082"/>
                </a:cubicBezTo>
                <a:cubicBezTo>
                  <a:pt x="8448817" y="6419875"/>
                  <a:pt x="8449896" y="6409936"/>
                  <a:pt x="8453669" y="6397792"/>
                </a:cubicBezTo>
                <a:lnTo>
                  <a:pt x="8461530" y="6361307"/>
                </a:lnTo>
                <a:lnTo>
                  <a:pt x="8461471" y="6361275"/>
                </a:lnTo>
                <a:cubicBezTo>
                  <a:pt x="8459277" y="6345722"/>
                  <a:pt x="8454889" y="6333504"/>
                  <a:pt x="8447211" y="6325172"/>
                </a:cubicBezTo>
                <a:lnTo>
                  <a:pt x="8413538" y="6312523"/>
                </a:lnTo>
                <a:lnTo>
                  <a:pt x="8387302" y="6334385"/>
                </a:lnTo>
                <a:lnTo>
                  <a:pt x="8386902" y="6333985"/>
                </a:lnTo>
                <a:lnTo>
                  <a:pt x="8386914" y="6334521"/>
                </a:lnTo>
                <a:cubicBezTo>
                  <a:pt x="8312594" y="6436277"/>
                  <a:pt x="8255760" y="6352217"/>
                  <a:pt x="8194556" y="6312399"/>
                </a:cubicBezTo>
                <a:lnTo>
                  <a:pt x="8194556" y="6311002"/>
                </a:lnTo>
                <a:lnTo>
                  <a:pt x="8193318" y="6312876"/>
                </a:lnTo>
                <a:cubicBezTo>
                  <a:pt x="8154335" y="6356595"/>
                  <a:pt x="8128346" y="6404683"/>
                  <a:pt x="8076369" y="6430914"/>
                </a:cubicBezTo>
                <a:lnTo>
                  <a:pt x="8076270" y="6430856"/>
                </a:lnTo>
                <a:lnTo>
                  <a:pt x="8076577" y="6431110"/>
                </a:lnTo>
                <a:cubicBezTo>
                  <a:pt x="8032525" y="6444256"/>
                  <a:pt x="8036930" y="6575707"/>
                  <a:pt x="7953235" y="6479308"/>
                </a:cubicBezTo>
                <a:lnTo>
                  <a:pt x="7953598" y="6478947"/>
                </a:lnTo>
                <a:lnTo>
                  <a:pt x="7883596" y="6409386"/>
                </a:lnTo>
                <a:lnTo>
                  <a:pt x="7862129" y="6405082"/>
                </a:lnTo>
                <a:lnTo>
                  <a:pt x="7861527" y="6404938"/>
                </a:lnTo>
                <a:lnTo>
                  <a:pt x="7862069" y="6405318"/>
                </a:lnTo>
                <a:cubicBezTo>
                  <a:pt x="7844404" y="6405318"/>
                  <a:pt x="7831155" y="6409707"/>
                  <a:pt x="7817906" y="6414094"/>
                </a:cubicBezTo>
                <a:lnTo>
                  <a:pt x="7815195" y="6412622"/>
                </a:lnTo>
                <a:lnTo>
                  <a:pt x="7816487" y="6414316"/>
                </a:lnTo>
                <a:cubicBezTo>
                  <a:pt x="7799138" y="6433851"/>
                  <a:pt x="7778535" y="6443619"/>
                  <a:pt x="7756305" y="6449045"/>
                </a:cubicBezTo>
                <a:lnTo>
                  <a:pt x="7738879" y="6451209"/>
                </a:lnTo>
                <a:lnTo>
                  <a:pt x="7690126" y="6492584"/>
                </a:lnTo>
                <a:cubicBezTo>
                  <a:pt x="7676997" y="6492584"/>
                  <a:pt x="7663868" y="6488181"/>
                  <a:pt x="7655116" y="6479376"/>
                </a:cubicBezTo>
                <a:cubicBezTo>
                  <a:pt x="7646363" y="6479376"/>
                  <a:pt x="7637608" y="6479376"/>
                  <a:pt x="7633232" y="6479376"/>
                </a:cubicBezTo>
                <a:lnTo>
                  <a:pt x="7631792" y="6477927"/>
                </a:lnTo>
                <a:lnTo>
                  <a:pt x="7631498" y="6479178"/>
                </a:lnTo>
                <a:lnTo>
                  <a:pt x="7584928" y="6479178"/>
                </a:lnTo>
                <a:lnTo>
                  <a:pt x="7584757" y="6479715"/>
                </a:lnTo>
                <a:cubicBezTo>
                  <a:pt x="7549210" y="6492815"/>
                  <a:pt x="7531438" y="6540850"/>
                  <a:pt x="7487002" y="6527750"/>
                </a:cubicBezTo>
                <a:lnTo>
                  <a:pt x="7486756" y="6527142"/>
                </a:lnTo>
                <a:lnTo>
                  <a:pt x="7435745" y="6501137"/>
                </a:lnTo>
                <a:lnTo>
                  <a:pt x="7435637" y="6501794"/>
                </a:lnTo>
                <a:cubicBezTo>
                  <a:pt x="7418118" y="6510655"/>
                  <a:pt x="7404980" y="6523946"/>
                  <a:pt x="7391842" y="6532805"/>
                </a:cubicBezTo>
                <a:lnTo>
                  <a:pt x="7389489" y="6531966"/>
                </a:lnTo>
                <a:lnTo>
                  <a:pt x="7364256" y="6574823"/>
                </a:lnTo>
                <a:lnTo>
                  <a:pt x="7365654" y="6576195"/>
                </a:lnTo>
                <a:cubicBezTo>
                  <a:pt x="7365654" y="6593745"/>
                  <a:pt x="7365654" y="6611296"/>
                  <a:pt x="7365654" y="6624459"/>
                </a:cubicBezTo>
                <a:cubicBezTo>
                  <a:pt x="7356715" y="6633233"/>
                  <a:pt x="7352246" y="6642010"/>
                  <a:pt x="7343308" y="6650784"/>
                </a:cubicBezTo>
                <a:cubicBezTo>
                  <a:pt x="7320964" y="6633233"/>
                  <a:pt x="7322080" y="6616780"/>
                  <a:pt x="7328226" y="6600875"/>
                </a:cubicBezTo>
                <a:lnTo>
                  <a:pt x="7342958" y="6555338"/>
                </a:lnTo>
                <a:lnTo>
                  <a:pt x="7342030" y="6553585"/>
                </a:lnTo>
                <a:lnTo>
                  <a:pt x="7299663" y="6553585"/>
                </a:lnTo>
                <a:lnTo>
                  <a:pt x="7298619" y="6554639"/>
                </a:lnTo>
                <a:cubicBezTo>
                  <a:pt x="7280744" y="6576664"/>
                  <a:pt x="7262867" y="6581069"/>
                  <a:pt x="7244992" y="6554639"/>
                </a:cubicBezTo>
                <a:lnTo>
                  <a:pt x="7245220" y="6554173"/>
                </a:lnTo>
                <a:lnTo>
                  <a:pt x="7219611" y="6549927"/>
                </a:lnTo>
                <a:lnTo>
                  <a:pt x="7223012" y="6556985"/>
                </a:lnTo>
                <a:cubicBezTo>
                  <a:pt x="7223543" y="6558086"/>
                  <a:pt x="7223543" y="6558086"/>
                  <a:pt x="7223543" y="6558086"/>
                </a:cubicBezTo>
                <a:cubicBezTo>
                  <a:pt x="7206560" y="6562491"/>
                  <a:pt x="7189578" y="6571302"/>
                  <a:pt x="7172596" y="6575707"/>
                </a:cubicBezTo>
                <a:lnTo>
                  <a:pt x="7172596" y="6529577"/>
                </a:lnTo>
                <a:lnTo>
                  <a:pt x="7172108" y="6529373"/>
                </a:lnTo>
                <a:cubicBezTo>
                  <a:pt x="7172108" y="6502989"/>
                  <a:pt x="7176496" y="6472206"/>
                  <a:pt x="7145784" y="6454616"/>
                </a:cubicBezTo>
                <a:lnTo>
                  <a:pt x="7146814" y="6454013"/>
                </a:lnTo>
                <a:lnTo>
                  <a:pt x="7145538" y="6454295"/>
                </a:lnTo>
                <a:cubicBezTo>
                  <a:pt x="7136762" y="6454295"/>
                  <a:pt x="7136762" y="6454295"/>
                  <a:pt x="7136762" y="6454295"/>
                </a:cubicBezTo>
                <a:lnTo>
                  <a:pt x="7127988" y="6458693"/>
                </a:lnTo>
                <a:lnTo>
                  <a:pt x="7126988" y="6458155"/>
                </a:lnTo>
                <a:lnTo>
                  <a:pt x="7127013" y="6458187"/>
                </a:lnTo>
                <a:cubicBezTo>
                  <a:pt x="7122625" y="6497487"/>
                  <a:pt x="7100686" y="6528055"/>
                  <a:pt x="7078749" y="6554256"/>
                </a:cubicBezTo>
                <a:lnTo>
                  <a:pt x="7078192" y="6553616"/>
                </a:lnTo>
                <a:lnTo>
                  <a:pt x="7078749" y="6555374"/>
                </a:lnTo>
                <a:cubicBezTo>
                  <a:pt x="7056810" y="6621290"/>
                  <a:pt x="6995383" y="6498246"/>
                  <a:pt x="6977833" y="6572952"/>
                </a:cubicBezTo>
                <a:cubicBezTo>
                  <a:pt x="6933956" y="6555374"/>
                  <a:pt x="6885692" y="6546584"/>
                  <a:pt x="6929568" y="6485063"/>
                </a:cubicBezTo>
                <a:lnTo>
                  <a:pt x="6933693" y="6483401"/>
                </a:lnTo>
                <a:lnTo>
                  <a:pt x="6931539" y="6483163"/>
                </a:lnTo>
                <a:cubicBezTo>
                  <a:pt x="6883187" y="6487529"/>
                  <a:pt x="6834835" y="6496263"/>
                  <a:pt x="6786483" y="6500629"/>
                </a:cubicBezTo>
                <a:lnTo>
                  <a:pt x="6786522" y="6500511"/>
                </a:lnTo>
                <a:lnTo>
                  <a:pt x="6785027" y="6502198"/>
                </a:lnTo>
                <a:cubicBezTo>
                  <a:pt x="6785027" y="6519725"/>
                  <a:pt x="6785027" y="6537252"/>
                  <a:pt x="6785027" y="6550398"/>
                </a:cubicBezTo>
                <a:cubicBezTo>
                  <a:pt x="6754461" y="6567925"/>
                  <a:pt x="6723893" y="6581069"/>
                  <a:pt x="6732627" y="6528489"/>
                </a:cubicBezTo>
                <a:lnTo>
                  <a:pt x="6732675" y="6513808"/>
                </a:lnTo>
                <a:lnTo>
                  <a:pt x="6723529" y="6517592"/>
                </a:lnTo>
                <a:cubicBezTo>
                  <a:pt x="6705103" y="6522347"/>
                  <a:pt x="6688327" y="6520309"/>
                  <a:pt x="6674302" y="6508759"/>
                </a:cubicBezTo>
                <a:lnTo>
                  <a:pt x="6669289" y="6502160"/>
                </a:lnTo>
                <a:lnTo>
                  <a:pt x="6654414" y="6509167"/>
                </a:lnTo>
                <a:cubicBezTo>
                  <a:pt x="6632279" y="6516259"/>
                  <a:pt x="6609679" y="6518746"/>
                  <a:pt x="6586849" y="6517343"/>
                </a:cubicBezTo>
                <a:lnTo>
                  <a:pt x="6540846" y="6507228"/>
                </a:lnTo>
                <a:lnTo>
                  <a:pt x="6490780" y="6529871"/>
                </a:lnTo>
                <a:cubicBezTo>
                  <a:pt x="6472798" y="6539456"/>
                  <a:pt x="6455436" y="6551232"/>
                  <a:pt x="6440003" y="6567663"/>
                </a:cubicBezTo>
                <a:cubicBezTo>
                  <a:pt x="6440003" y="6547946"/>
                  <a:pt x="6438901" y="6532609"/>
                  <a:pt x="6437798" y="6519465"/>
                </a:cubicBezTo>
                <a:lnTo>
                  <a:pt x="6435625" y="6484914"/>
                </a:lnTo>
                <a:lnTo>
                  <a:pt x="6414630" y="6505991"/>
                </a:lnTo>
                <a:lnTo>
                  <a:pt x="6411735" y="6474018"/>
                </a:lnTo>
                <a:lnTo>
                  <a:pt x="6411542" y="6474486"/>
                </a:lnTo>
                <a:cubicBezTo>
                  <a:pt x="6407283" y="6483424"/>
                  <a:pt x="6405154" y="6493479"/>
                  <a:pt x="6413670" y="6506885"/>
                </a:cubicBezTo>
                <a:lnTo>
                  <a:pt x="6392576" y="6529022"/>
                </a:lnTo>
                <a:lnTo>
                  <a:pt x="6392576" y="6574826"/>
                </a:lnTo>
                <a:cubicBezTo>
                  <a:pt x="6383949" y="6585175"/>
                  <a:pt x="6368852" y="6590622"/>
                  <a:pt x="6353754" y="6592801"/>
                </a:cubicBezTo>
                <a:cubicBezTo>
                  <a:pt x="6334343" y="6594980"/>
                  <a:pt x="6331109" y="6588443"/>
                  <a:pt x="6332725" y="6579728"/>
                </a:cubicBezTo>
                <a:lnTo>
                  <a:pt x="6340811" y="6553594"/>
                </a:lnTo>
                <a:lnTo>
                  <a:pt x="6340442" y="6553569"/>
                </a:lnTo>
                <a:cubicBezTo>
                  <a:pt x="6296237" y="6527366"/>
                  <a:pt x="6221087" y="6514266"/>
                  <a:pt x="6269712" y="6431297"/>
                </a:cubicBezTo>
                <a:lnTo>
                  <a:pt x="6270376" y="6430914"/>
                </a:lnTo>
                <a:lnTo>
                  <a:pt x="6269351" y="6430914"/>
                </a:lnTo>
                <a:lnTo>
                  <a:pt x="6269351" y="6409365"/>
                </a:lnTo>
                <a:lnTo>
                  <a:pt x="6268863" y="6409465"/>
                </a:lnTo>
                <a:cubicBezTo>
                  <a:pt x="6255700" y="6409465"/>
                  <a:pt x="6242537" y="6409465"/>
                  <a:pt x="6230471" y="6412257"/>
                </a:cubicBezTo>
                <a:lnTo>
                  <a:pt x="6199582" y="6431242"/>
                </a:lnTo>
                <a:lnTo>
                  <a:pt x="6199636" y="6431250"/>
                </a:lnTo>
                <a:cubicBezTo>
                  <a:pt x="6173493" y="6461749"/>
                  <a:pt x="6138635" y="6461749"/>
                  <a:pt x="6095063" y="6479178"/>
                </a:cubicBezTo>
                <a:cubicBezTo>
                  <a:pt x="6097242" y="6457393"/>
                  <a:pt x="6104866" y="6443232"/>
                  <a:pt x="6114669" y="6432883"/>
                </a:cubicBezTo>
                <a:lnTo>
                  <a:pt x="6146155" y="6410319"/>
                </a:lnTo>
                <a:lnTo>
                  <a:pt x="6146009" y="6409465"/>
                </a:lnTo>
                <a:lnTo>
                  <a:pt x="6155566" y="6396976"/>
                </a:lnTo>
                <a:lnTo>
                  <a:pt x="6163251" y="6361307"/>
                </a:lnTo>
                <a:lnTo>
                  <a:pt x="6163192" y="6361275"/>
                </a:lnTo>
                <a:lnTo>
                  <a:pt x="6150099" y="6328126"/>
                </a:lnTo>
                <a:lnTo>
                  <a:pt x="6138298" y="6340350"/>
                </a:lnTo>
                <a:cubicBezTo>
                  <a:pt x="6123630" y="6347990"/>
                  <a:pt x="6105720" y="6352533"/>
                  <a:pt x="6085956" y="6355836"/>
                </a:cubicBezTo>
                <a:lnTo>
                  <a:pt x="6086108" y="6337310"/>
                </a:lnTo>
                <a:lnTo>
                  <a:pt x="6061542" y="6364419"/>
                </a:lnTo>
                <a:cubicBezTo>
                  <a:pt x="6000038" y="6415954"/>
                  <a:pt x="5949831" y="6347240"/>
                  <a:pt x="5896277" y="6312399"/>
                </a:cubicBezTo>
                <a:lnTo>
                  <a:pt x="5896277" y="6311002"/>
                </a:lnTo>
                <a:lnTo>
                  <a:pt x="5895039" y="6312876"/>
                </a:lnTo>
                <a:lnTo>
                  <a:pt x="5886696" y="6323084"/>
                </a:lnTo>
                <a:lnTo>
                  <a:pt x="5884195" y="6338039"/>
                </a:lnTo>
                <a:lnTo>
                  <a:pt x="5875851" y="6336351"/>
                </a:lnTo>
                <a:lnTo>
                  <a:pt x="5841438" y="6378453"/>
                </a:lnTo>
                <a:cubicBezTo>
                  <a:pt x="5823570" y="6399219"/>
                  <a:pt x="5804079" y="6417799"/>
                  <a:pt x="5778090" y="6430914"/>
                </a:cubicBezTo>
                <a:lnTo>
                  <a:pt x="5777991" y="6430856"/>
                </a:lnTo>
                <a:lnTo>
                  <a:pt x="5778298" y="6431110"/>
                </a:lnTo>
                <a:cubicBezTo>
                  <a:pt x="5734246" y="6444256"/>
                  <a:pt x="5738651" y="6575707"/>
                  <a:pt x="5654957" y="6479308"/>
                </a:cubicBezTo>
                <a:lnTo>
                  <a:pt x="5655319" y="6478947"/>
                </a:lnTo>
                <a:lnTo>
                  <a:pt x="5585317" y="6409386"/>
                </a:lnTo>
                <a:lnTo>
                  <a:pt x="5563850" y="6405082"/>
                </a:lnTo>
                <a:lnTo>
                  <a:pt x="5563248" y="6404938"/>
                </a:lnTo>
                <a:lnTo>
                  <a:pt x="5563790" y="6405318"/>
                </a:lnTo>
                <a:cubicBezTo>
                  <a:pt x="5546125" y="6405318"/>
                  <a:pt x="5532876" y="6409707"/>
                  <a:pt x="5519628" y="6414094"/>
                </a:cubicBezTo>
                <a:lnTo>
                  <a:pt x="5516917" y="6412622"/>
                </a:lnTo>
                <a:lnTo>
                  <a:pt x="5518208" y="6414316"/>
                </a:lnTo>
                <a:cubicBezTo>
                  <a:pt x="5483509" y="6453386"/>
                  <a:pt x="5435796" y="6453386"/>
                  <a:pt x="5388083" y="6457728"/>
                </a:cubicBezTo>
                <a:cubicBezTo>
                  <a:pt x="5370734" y="6422998"/>
                  <a:pt x="5379409" y="6396951"/>
                  <a:pt x="5414108" y="6383927"/>
                </a:cubicBezTo>
                <a:lnTo>
                  <a:pt x="5414370" y="6383900"/>
                </a:lnTo>
                <a:lnTo>
                  <a:pt x="5413635" y="6383381"/>
                </a:lnTo>
                <a:cubicBezTo>
                  <a:pt x="5413635" y="6374605"/>
                  <a:pt x="5413635" y="6365830"/>
                  <a:pt x="5413635" y="6361442"/>
                </a:cubicBezTo>
                <a:lnTo>
                  <a:pt x="5414436" y="6360434"/>
                </a:lnTo>
                <a:lnTo>
                  <a:pt x="5413328" y="6361199"/>
                </a:lnTo>
                <a:lnTo>
                  <a:pt x="5380863" y="6313199"/>
                </a:lnTo>
                <a:lnTo>
                  <a:pt x="5331774" y="6335318"/>
                </a:lnTo>
                <a:lnTo>
                  <a:pt x="5330808" y="6335228"/>
                </a:lnTo>
                <a:lnTo>
                  <a:pt x="5319169" y="6369244"/>
                </a:lnTo>
                <a:cubicBezTo>
                  <a:pt x="5312781" y="6376971"/>
                  <a:pt x="5303199" y="6379180"/>
                  <a:pt x="5288293" y="6370347"/>
                </a:cubicBezTo>
                <a:lnTo>
                  <a:pt x="5276879" y="6355846"/>
                </a:lnTo>
                <a:lnTo>
                  <a:pt x="5247392" y="6388281"/>
                </a:lnTo>
                <a:lnTo>
                  <a:pt x="5243597" y="6388658"/>
                </a:lnTo>
                <a:lnTo>
                  <a:pt x="5204379" y="6410370"/>
                </a:lnTo>
                <a:cubicBezTo>
                  <a:pt x="5167100" y="6419582"/>
                  <a:pt x="5145798" y="6387649"/>
                  <a:pt x="5129413" y="6338524"/>
                </a:cubicBezTo>
                <a:lnTo>
                  <a:pt x="5129413" y="6337929"/>
                </a:lnTo>
                <a:lnTo>
                  <a:pt x="5128632" y="6339197"/>
                </a:lnTo>
                <a:cubicBezTo>
                  <a:pt x="5119983" y="6343599"/>
                  <a:pt x="5111333" y="6352399"/>
                  <a:pt x="5102684" y="6361199"/>
                </a:cubicBezTo>
                <a:lnTo>
                  <a:pt x="5101991" y="6360802"/>
                </a:lnTo>
                <a:lnTo>
                  <a:pt x="5085860" y="6378685"/>
                </a:lnTo>
                <a:cubicBezTo>
                  <a:pt x="5079919" y="6385236"/>
                  <a:pt x="5074519" y="6390695"/>
                  <a:pt x="5072359" y="6390695"/>
                </a:cubicBezTo>
                <a:lnTo>
                  <a:pt x="5036807" y="6347135"/>
                </a:lnTo>
                <a:lnTo>
                  <a:pt x="4994442" y="6361199"/>
                </a:lnTo>
                <a:lnTo>
                  <a:pt x="4987237" y="6319158"/>
                </a:lnTo>
                <a:lnTo>
                  <a:pt x="4984463" y="6320980"/>
                </a:lnTo>
                <a:cubicBezTo>
                  <a:pt x="4963169" y="6277006"/>
                  <a:pt x="4975945" y="6241826"/>
                  <a:pt x="5001497" y="6211044"/>
                </a:cubicBezTo>
                <a:lnTo>
                  <a:pt x="5001672" y="6211440"/>
                </a:lnTo>
                <a:lnTo>
                  <a:pt x="5026495" y="6165780"/>
                </a:lnTo>
                <a:lnTo>
                  <a:pt x="5014373" y="6183172"/>
                </a:lnTo>
                <a:cubicBezTo>
                  <a:pt x="4997492" y="6197937"/>
                  <a:pt x="4975361" y="6202859"/>
                  <a:pt x="4943117" y="6190555"/>
                </a:cubicBezTo>
                <a:lnTo>
                  <a:pt x="4934533" y="6186162"/>
                </a:lnTo>
                <a:lnTo>
                  <a:pt x="4910113" y="6194955"/>
                </a:lnTo>
                <a:lnTo>
                  <a:pt x="4910049" y="6194915"/>
                </a:lnTo>
                <a:lnTo>
                  <a:pt x="4899263" y="6231197"/>
                </a:lnTo>
                <a:cubicBezTo>
                  <a:pt x="4890326" y="6239367"/>
                  <a:pt x="4876919" y="6243723"/>
                  <a:pt x="4861278" y="6245902"/>
                </a:cubicBezTo>
                <a:lnTo>
                  <a:pt x="4859861" y="6243250"/>
                </a:lnTo>
                <a:lnTo>
                  <a:pt x="4860564" y="6246726"/>
                </a:lnTo>
                <a:cubicBezTo>
                  <a:pt x="4860564" y="6259720"/>
                  <a:pt x="4860564" y="6272714"/>
                  <a:pt x="4860564" y="6285709"/>
                </a:cubicBezTo>
                <a:cubicBezTo>
                  <a:pt x="4843045" y="6285709"/>
                  <a:pt x="4829906" y="6285709"/>
                  <a:pt x="4812389" y="6285709"/>
                </a:cubicBezTo>
                <a:cubicBezTo>
                  <a:pt x="4781731" y="6298703"/>
                  <a:pt x="4737936" y="6329023"/>
                  <a:pt x="4768592" y="6255389"/>
                </a:cubicBezTo>
                <a:cubicBezTo>
                  <a:pt x="4772972" y="6244561"/>
                  <a:pt x="4775162" y="6235898"/>
                  <a:pt x="4772426" y="6229400"/>
                </a:cubicBezTo>
                <a:lnTo>
                  <a:pt x="4768873" y="6227606"/>
                </a:lnTo>
                <a:lnTo>
                  <a:pt x="4753460" y="6237859"/>
                </a:lnTo>
                <a:cubicBezTo>
                  <a:pt x="4744832" y="6237859"/>
                  <a:pt x="4736205" y="6237859"/>
                  <a:pt x="4731893" y="6237859"/>
                </a:cubicBezTo>
                <a:lnTo>
                  <a:pt x="4732304" y="6227582"/>
                </a:lnTo>
                <a:lnTo>
                  <a:pt x="4727210" y="6231864"/>
                </a:lnTo>
                <a:cubicBezTo>
                  <a:pt x="4705074" y="6246073"/>
                  <a:pt x="4678017" y="6255956"/>
                  <a:pt x="4668179" y="6285608"/>
                </a:cubicBezTo>
                <a:cubicBezTo>
                  <a:pt x="4659433" y="6298787"/>
                  <a:pt x="4646316" y="6303179"/>
                  <a:pt x="4628825" y="6307572"/>
                </a:cubicBezTo>
                <a:lnTo>
                  <a:pt x="4623761" y="6306119"/>
                </a:lnTo>
                <a:lnTo>
                  <a:pt x="4620908" y="6334798"/>
                </a:lnTo>
                <a:cubicBezTo>
                  <a:pt x="4597750" y="6344775"/>
                  <a:pt x="4579554" y="6369720"/>
                  <a:pt x="4555152" y="6381569"/>
                </a:cubicBezTo>
                <a:lnTo>
                  <a:pt x="4528390" y="6387985"/>
                </a:lnTo>
                <a:lnTo>
                  <a:pt x="4528792" y="6388303"/>
                </a:lnTo>
                <a:cubicBezTo>
                  <a:pt x="4524392" y="6440481"/>
                  <a:pt x="4471589" y="6462220"/>
                  <a:pt x="4453989" y="6505703"/>
                </a:cubicBezTo>
                <a:cubicBezTo>
                  <a:pt x="4414386" y="6527442"/>
                  <a:pt x="4379185" y="6527442"/>
                  <a:pt x="4357186" y="6483961"/>
                </a:cubicBezTo>
                <a:lnTo>
                  <a:pt x="4379119" y="6436277"/>
                </a:lnTo>
                <a:lnTo>
                  <a:pt x="4357903" y="6431868"/>
                </a:lnTo>
                <a:lnTo>
                  <a:pt x="4336010" y="6436277"/>
                </a:lnTo>
                <a:lnTo>
                  <a:pt x="4335705" y="6436168"/>
                </a:lnTo>
                <a:lnTo>
                  <a:pt x="4335736" y="6436212"/>
                </a:lnTo>
                <a:cubicBezTo>
                  <a:pt x="4296051" y="6510701"/>
                  <a:pt x="4203456" y="6501938"/>
                  <a:pt x="4141724" y="6567663"/>
                </a:cubicBezTo>
                <a:cubicBezTo>
                  <a:pt x="4141724" y="6547946"/>
                  <a:pt x="4140622" y="6532609"/>
                  <a:pt x="4139519" y="6519465"/>
                </a:cubicBezTo>
                <a:lnTo>
                  <a:pt x="4137346" y="6484914"/>
                </a:lnTo>
                <a:lnTo>
                  <a:pt x="4116351" y="6505991"/>
                </a:lnTo>
                <a:lnTo>
                  <a:pt x="4113456" y="6474018"/>
                </a:lnTo>
                <a:lnTo>
                  <a:pt x="4113263" y="6474486"/>
                </a:lnTo>
                <a:cubicBezTo>
                  <a:pt x="4109004" y="6483424"/>
                  <a:pt x="4106875" y="6493479"/>
                  <a:pt x="4115391" y="6506885"/>
                </a:cubicBezTo>
                <a:lnTo>
                  <a:pt x="4094297" y="6529022"/>
                </a:lnTo>
                <a:lnTo>
                  <a:pt x="4094297" y="6574826"/>
                </a:lnTo>
                <a:cubicBezTo>
                  <a:pt x="4085670" y="6585175"/>
                  <a:pt x="4070573" y="6590622"/>
                  <a:pt x="4055475" y="6592801"/>
                </a:cubicBezTo>
                <a:cubicBezTo>
                  <a:pt x="4036065" y="6594980"/>
                  <a:pt x="4032830" y="6588443"/>
                  <a:pt x="4034446" y="6579728"/>
                </a:cubicBezTo>
                <a:lnTo>
                  <a:pt x="4042532" y="6553594"/>
                </a:lnTo>
                <a:lnTo>
                  <a:pt x="4042163" y="6553569"/>
                </a:lnTo>
                <a:cubicBezTo>
                  <a:pt x="4020061" y="6540468"/>
                  <a:pt x="3990222" y="6530642"/>
                  <a:pt x="3971987" y="6513720"/>
                </a:cubicBezTo>
                <a:lnTo>
                  <a:pt x="3963263" y="6496522"/>
                </a:lnTo>
                <a:lnTo>
                  <a:pt x="3960316" y="6505991"/>
                </a:lnTo>
                <a:cubicBezTo>
                  <a:pt x="3925359" y="6501605"/>
                  <a:pt x="3890402" y="6488441"/>
                  <a:pt x="3864184" y="6457728"/>
                </a:cubicBezTo>
                <a:lnTo>
                  <a:pt x="3865552" y="6455668"/>
                </a:lnTo>
                <a:lnTo>
                  <a:pt x="3862846" y="6456878"/>
                </a:lnTo>
                <a:lnTo>
                  <a:pt x="3862846" y="6457728"/>
                </a:lnTo>
                <a:lnTo>
                  <a:pt x="3860945" y="6457728"/>
                </a:lnTo>
                <a:lnTo>
                  <a:pt x="3855607" y="6460116"/>
                </a:lnTo>
                <a:lnTo>
                  <a:pt x="3835763" y="6466546"/>
                </a:lnTo>
                <a:lnTo>
                  <a:pt x="3809814" y="6521510"/>
                </a:lnTo>
                <a:cubicBezTo>
                  <a:pt x="3794695" y="6539575"/>
                  <a:pt x="3777415" y="6555999"/>
                  <a:pt x="3766615" y="6575707"/>
                </a:cubicBezTo>
                <a:cubicBezTo>
                  <a:pt x="3684535" y="6540671"/>
                  <a:pt x="3792535" y="6514393"/>
                  <a:pt x="3770935" y="6479357"/>
                </a:cubicBezTo>
                <a:lnTo>
                  <a:pt x="3771155" y="6478957"/>
                </a:lnTo>
                <a:lnTo>
                  <a:pt x="3741730" y="6458023"/>
                </a:lnTo>
                <a:lnTo>
                  <a:pt x="3739663" y="6457935"/>
                </a:lnTo>
                <a:cubicBezTo>
                  <a:pt x="3713278" y="6387533"/>
                  <a:pt x="3695689" y="6462335"/>
                  <a:pt x="3673703" y="6466735"/>
                </a:cubicBezTo>
                <a:cubicBezTo>
                  <a:pt x="3647317" y="6466735"/>
                  <a:pt x="3625330" y="6466735"/>
                  <a:pt x="3616535" y="6444734"/>
                </a:cubicBezTo>
                <a:cubicBezTo>
                  <a:pt x="3612139" y="6440334"/>
                  <a:pt x="3634124" y="6422734"/>
                  <a:pt x="3642919" y="6409532"/>
                </a:cubicBezTo>
                <a:lnTo>
                  <a:pt x="3642919" y="6408943"/>
                </a:lnTo>
                <a:lnTo>
                  <a:pt x="3611687" y="6380831"/>
                </a:lnTo>
                <a:lnTo>
                  <a:pt x="3596106" y="6339134"/>
                </a:lnTo>
                <a:lnTo>
                  <a:pt x="3587104" y="6330936"/>
                </a:lnTo>
                <a:lnTo>
                  <a:pt x="3585916" y="6338039"/>
                </a:lnTo>
                <a:cubicBezTo>
                  <a:pt x="3550674" y="6324863"/>
                  <a:pt x="3502219" y="6342430"/>
                  <a:pt x="3489004" y="6289728"/>
                </a:cubicBezTo>
                <a:lnTo>
                  <a:pt x="3475149" y="6278570"/>
                </a:lnTo>
                <a:lnTo>
                  <a:pt x="3472833" y="6280164"/>
                </a:lnTo>
                <a:lnTo>
                  <a:pt x="3488430" y="6291484"/>
                </a:lnTo>
                <a:lnTo>
                  <a:pt x="3458306" y="6290166"/>
                </a:lnTo>
                <a:lnTo>
                  <a:pt x="3447663" y="6297494"/>
                </a:lnTo>
                <a:cubicBezTo>
                  <a:pt x="3436031" y="6302910"/>
                  <a:pt x="3422816" y="6306475"/>
                  <a:pt x="3407398" y="6307572"/>
                </a:cubicBezTo>
                <a:lnTo>
                  <a:pt x="3407006" y="6301316"/>
                </a:lnTo>
                <a:lnTo>
                  <a:pt x="3392825" y="6313828"/>
                </a:lnTo>
                <a:lnTo>
                  <a:pt x="3392258" y="6313786"/>
                </a:lnTo>
                <a:lnTo>
                  <a:pt x="3392780" y="6346276"/>
                </a:lnTo>
                <a:cubicBezTo>
                  <a:pt x="3392236" y="6357213"/>
                  <a:pt x="3387878" y="6364869"/>
                  <a:pt x="3370449" y="6360495"/>
                </a:cubicBezTo>
                <a:cubicBezTo>
                  <a:pt x="3335592" y="6347369"/>
                  <a:pt x="3339948" y="6312371"/>
                  <a:pt x="3370449" y="6286121"/>
                </a:cubicBezTo>
                <a:lnTo>
                  <a:pt x="3371145" y="6286961"/>
                </a:lnTo>
                <a:lnTo>
                  <a:pt x="3403789" y="6250035"/>
                </a:lnTo>
                <a:lnTo>
                  <a:pt x="3403069" y="6238573"/>
                </a:lnTo>
                <a:lnTo>
                  <a:pt x="3342861" y="6211064"/>
                </a:lnTo>
                <a:cubicBezTo>
                  <a:pt x="3327086" y="6200972"/>
                  <a:pt x="3319092" y="6190706"/>
                  <a:pt x="3318583" y="6178495"/>
                </a:cubicBezTo>
                <a:lnTo>
                  <a:pt x="3334413" y="6144566"/>
                </a:lnTo>
                <a:lnTo>
                  <a:pt x="3332611" y="6143410"/>
                </a:lnTo>
                <a:lnTo>
                  <a:pt x="3301041" y="6141974"/>
                </a:lnTo>
                <a:lnTo>
                  <a:pt x="3230969" y="6168351"/>
                </a:lnTo>
                <a:lnTo>
                  <a:pt x="3230590" y="6168419"/>
                </a:lnTo>
                <a:lnTo>
                  <a:pt x="3231021" y="6168767"/>
                </a:lnTo>
                <a:cubicBezTo>
                  <a:pt x="3213401" y="6186286"/>
                  <a:pt x="3195780" y="6203804"/>
                  <a:pt x="3178159" y="6221322"/>
                </a:cubicBezTo>
                <a:lnTo>
                  <a:pt x="3177219" y="6221747"/>
                </a:lnTo>
                <a:lnTo>
                  <a:pt x="3166093" y="6258247"/>
                </a:lnTo>
                <a:cubicBezTo>
                  <a:pt x="3159965" y="6268010"/>
                  <a:pt x="3151796" y="6275521"/>
                  <a:pt x="3142536" y="6281801"/>
                </a:cubicBezTo>
                <a:lnTo>
                  <a:pt x="3082578" y="6312403"/>
                </a:lnTo>
                <a:lnTo>
                  <a:pt x="3082653" y="6313168"/>
                </a:lnTo>
                <a:cubicBezTo>
                  <a:pt x="3064777" y="6322029"/>
                  <a:pt x="3051370" y="6330887"/>
                  <a:pt x="3033495" y="6335318"/>
                </a:cubicBezTo>
                <a:lnTo>
                  <a:pt x="3032529" y="6335228"/>
                </a:lnTo>
                <a:lnTo>
                  <a:pt x="3020890" y="6369244"/>
                </a:lnTo>
                <a:cubicBezTo>
                  <a:pt x="3014502" y="6376971"/>
                  <a:pt x="3004920" y="6379180"/>
                  <a:pt x="2990014" y="6370347"/>
                </a:cubicBezTo>
                <a:cubicBezTo>
                  <a:pt x="2977238" y="6363722"/>
                  <a:pt x="2969786" y="6353786"/>
                  <a:pt x="2968722" y="6343297"/>
                </a:cubicBezTo>
                <a:lnTo>
                  <a:pt x="2985165" y="6313989"/>
                </a:lnTo>
                <a:lnTo>
                  <a:pt x="2984337" y="6313168"/>
                </a:lnTo>
                <a:lnTo>
                  <a:pt x="3033289" y="6264642"/>
                </a:lnTo>
                <a:lnTo>
                  <a:pt x="3003106" y="6243022"/>
                </a:lnTo>
                <a:cubicBezTo>
                  <a:pt x="3003106" y="6243022"/>
                  <a:pt x="3011820" y="6234282"/>
                  <a:pt x="3011820" y="6234282"/>
                </a:cubicBezTo>
                <a:lnTo>
                  <a:pt x="3014108" y="6231748"/>
                </a:lnTo>
                <a:lnTo>
                  <a:pt x="3013211" y="6231966"/>
                </a:lnTo>
                <a:lnTo>
                  <a:pt x="3003379" y="6241950"/>
                </a:lnTo>
                <a:cubicBezTo>
                  <a:pt x="2924581" y="6241950"/>
                  <a:pt x="2889559" y="6326412"/>
                  <a:pt x="2819516" y="6339748"/>
                </a:cubicBezTo>
                <a:cubicBezTo>
                  <a:pt x="2819516" y="6339748"/>
                  <a:pt x="2815138" y="6330857"/>
                  <a:pt x="2815138" y="6330857"/>
                </a:cubicBezTo>
                <a:lnTo>
                  <a:pt x="2815187" y="6330295"/>
                </a:lnTo>
                <a:lnTo>
                  <a:pt x="2814552" y="6331352"/>
                </a:lnTo>
                <a:cubicBezTo>
                  <a:pt x="2796947" y="6335754"/>
                  <a:pt x="2783742" y="6366563"/>
                  <a:pt x="2761734" y="6340155"/>
                </a:cubicBezTo>
                <a:lnTo>
                  <a:pt x="2761307" y="6339572"/>
                </a:lnTo>
                <a:lnTo>
                  <a:pt x="2696163" y="6361199"/>
                </a:lnTo>
                <a:cubicBezTo>
                  <a:pt x="2687413" y="6343770"/>
                  <a:pt x="2684131" y="6328519"/>
                  <a:pt x="2688508" y="6316538"/>
                </a:cubicBezTo>
                <a:lnTo>
                  <a:pt x="2726398" y="6291739"/>
                </a:lnTo>
                <a:lnTo>
                  <a:pt x="2722121" y="6291739"/>
                </a:lnTo>
                <a:lnTo>
                  <a:pt x="2723104" y="6290293"/>
                </a:lnTo>
                <a:lnTo>
                  <a:pt x="2724510" y="6245576"/>
                </a:lnTo>
                <a:lnTo>
                  <a:pt x="2734073" y="6233002"/>
                </a:lnTo>
                <a:lnTo>
                  <a:pt x="2724247" y="6226838"/>
                </a:lnTo>
                <a:cubicBezTo>
                  <a:pt x="2718358" y="6219878"/>
                  <a:pt x="2714616" y="6211418"/>
                  <a:pt x="2712122" y="6202138"/>
                </a:cubicBezTo>
                <a:lnTo>
                  <a:pt x="2710263" y="6186647"/>
                </a:lnTo>
                <a:lnTo>
                  <a:pt x="2697282" y="6194383"/>
                </a:lnTo>
                <a:cubicBezTo>
                  <a:pt x="2690309" y="6196843"/>
                  <a:pt x="2682571" y="6197937"/>
                  <a:pt x="2673891" y="6197390"/>
                </a:cubicBezTo>
                <a:lnTo>
                  <a:pt x="2645346" y="6190674"/>
                </a:lnTo>
                <a:lnTo>
                  <a:pt x="2643430" y="6193128"/>
                </a:lnTo>
                <a:cubicBezTo>
                  <a:pt x="2621168" y="6214165"/>
                  <a:pt x="2591486" y="6224785"/>
                  <a:pt x="2561803" y="6237857"/>
                </a:cubicBezTo>
                <a:lnTo>
                  <a:pt x="2561803" y="6236089"/>
                </a:lnTo>
                <a:lnTo>
                  <a:pt x="2561333" y="6237972"/>
                </a:lnTo>
                <a:cubicBezTo>
                  <a:pt x="2561333" y="6255543"/>
                  <a:pt x="2561333" y="6273114"/>
                  <a:pt x="2561333" y="6286294"/>
                </a:cubicBezTo>
                <a:cubicBezTo>
                  <a:pt x="2495712" y="6332418"/>
                  <a:pt x="2479307" y="6277233"/>
                  <a:pt x="2453058" y="6241198"/>
                </a:cubicBezTo>
                <a:lnTo>
                  <a:pt x="2450065" y="6237859"/>
                </a:lnTo>
                <a:lnTo>
                  <a:pt x="2433614" y="6237859"/>
                </a:lnTo>
                <a:lnTo>
                  <a:pt x="2434213" y="6222869"/>
                </a:lnTo>
                <a:lnTo>
                  <a:pt x="2421340" y="6216008"/>
                </a:lnTo>
                <a:cubicBezTo>
                  <a:pt x="2414778" y="6187454"/>
                  <a:pt x="2421340" y="6172079"/>
                  <a:pt x="2434464" y="6162195"/>
                </a:cubicBezTo>
                <a:lnTo>
                  <a:pt x="2454910" y="6152166"/>
                </a:lnTo>
                <a:lnTo>
                  <a:pt x="2453799" y="6146692"/>
                </a:lnTo>
                <a:lnTo>
                  <a:pt x="2384968" y="6146692"/>
                </a:lnTo>
                <a:lnTo>
                  <a:pt x="2383625" y="6146477"/>
                </a:lnTo>
                <a:lnTo>
                  <a:pt x="2374628" y="6173216"/>
                </a:lnTo>
                <a:cubicBezTo>
                  <a:pt x="2369878" y="6180482"/>
                  <a:pt x="2363639" y="6186242"/>
                  <a:pt x="2356584" y="6191177"/>
                </a:cubicBezTo>
                <a:lnTo>
                  <a:pt x="2310394" y="6216148"/>
                </a:lnTo>
                <a:lnTo>
                  <a:pt x="2310392" y="6216157"/>
                </a:lnTo>
                <a:cubicBezTo>
                  <a:pt x="2310392" y="6277744"/>
                  <a:pt x="2257797" y="6290942"/>
                  <a:pt x="2213966" y="6312936"/>
                </a:cubicBezTo>
                <a:cubicBezTo>
                  <a:pt x="2200817" y="6286542"/>
                  <a:pt x="2183285" y="6308538"/>
                  <a:pt x="2165753" y="6312936"/>
                </a:cubicBezTo>
                <a:cubicBezTo>
                  <a:pt x="2126307" y="6255749"/>
                  <a:pt x="2231499" y="6224954"/>
                  <a:pt x="2192051" y="6167767"/>
                </a:cubicBezTo>
                <a:lnTo>
                  <a:pt x="2191994" y="6167588"/>
                </a:lnTo>
                <a:lnTo>
                  <a:pt x="2191732" y="6168375"/>
                </a:lnTo>
                <a:lnTo>
                  <a:pt x="2122436" y="6194396"/>
                </a:lnTo>
                <a:lnTo>
                  <a:pt x="2122255" y="6194640"/>
                </a:lnTo>
                <a:cubicBezTo>
                  <a:pt x="2086980" y="6225554"/>
                  <a:pt x="2056116" y="6260886"/>
                  <a:pt x="2016432" y="6282966"/>
                </a:cubicBezTo>
                <a:cubicBezTo>
                  <a:pt x="1959110" y="6318297"/>
                  <a:pt x="1981156" y="6265302"/>
                  <a:pt x="1972338" y="6238803"/>
                </a:cubicBezTo>
                <a:lnTo>
                  <a:pt x="1972221" y="6237972"/>
                </a:lnTo>
                <a:lnTo>
                  <a:pt x="1936828" y="6263171"/>
                </a:lnTo>
                <a:cubicBezTo>
                  <a:pt x="1904376" y="6292433"/>
                  <a:pt x="1878086" y="6329788"/>
                  <a:pt x="1832077" y="6339750"/>
                </a:cubicBezTo>
                <a:lnTo>
                  <a:pt x="1828204" y="6333880"/>
                </a:lnTo>
                <a:lnTo>
                  <a:pt x="1827904" y="6334385"/>
                </a:lnTo>
                <a:lnTo>
                  <a:pt x="1825324" y="6334385"/>
                </a:lnTo>
                <a:lnTo>
                  <a:pt x="1826985" y="6335458"/>
                </a:lnTo>
                <a:cubicBezTo>
                  <a:pt x="1831359" y="6339748"/>
                  <a:pt x="1831359" y="6339748"/>
                  <a:pt x="1831359" y="6339748"/>
                </a:cubicBezTo>
                <a:lnTo>
                  <a:pt x="1779575" y="6382065"/>
                </a:lnTo>
                <a:lnTo>
                  <a:pt x="1780415" y="6383780"/>
                </a:lnTo>
                <a:cubicBezTo>
                  <a:pt x="1771620" y="6405654"/>
                  <a:pt x="1758427" y="6418780"/>
                  <a:pt x="1741937" y="6426435"/>
                </a:cubicBezTo>
                <a:lnTo>
                  <a:pt x="1683736" y="6436268"/>
                </a:lnTo>
                <a:lnTo>
                  <a:pt x="1662037" y="6505991"/>
                </a:lnTo>
                <a:cubicBezTo>
                  <a:pt x="1627079" y="6501605"/>
                  <a:pt x="1592122" y="6488441"/>
                  <a:pt x="1565905" y="6457728"/>
                </a:cubicBezTo>
                <a:lnTo>
                  <a:pt x="1569136" y="6452861"/>
                </a:lnTo>
                <a:lnTo>
                  <a:pt x="1565905" y="6452581"/>
                </a:lnTo>
                <a:lnTo>
                  <a:pt x="1566140" y="6452287"/>
                </a:lnTo>
                <a:lnTo>
                  <a:pt x="1564566" y="6453294"/>
                </a:lnTo>
                <a:cubicBezTo>
                  <a:pt x="1564566" y="6457728"/>
                  <a:pt x="1564566" y="6457728"/>
                  <a:pt x="1564566" y="6457728"/>
                </a:cubicBezTo>
                <a:cubicBezTo>
                  <a:pt x="1555947" y="6457728"/>
                  <a:pt x="1555947" y="6457728"/>
                  <a:pt x="1555947" y="6457728"/>
                </a:cubicBezTo>
                <a:lnTo>
                  <a:pt x="1543019" y="6457728"/>
                </a:lnTo>
                <a:lnTo>
                  <a:pt x="1541647" y="6457728"/>
                </a:lnTo>
                <a:lnTo>
                  <a:pt x="1511534" y="6521510"/>
                </a:lnTo>
                <a:cubicBezTo>
                  <a:pt x="1496415" y="6539575"/>
                  <a:pt x="1479135" y="6555999"/>
                  <a:pt x="1468335" y="6575707"/>
                </a:cubicBezTo>
                <a:cubicBezTo>
                  <a:pt x="1386256" y="6540671"/>
                  <a:pt x="1494255" y="6514393"/>
                  <a:pt x="1472655" y="6479357"/>
                </a:cubicBezTo>
                <a:lnTo>
                  <a:pt x="1472875" y="6478957"/>
                </a:lnTo>
                <a:lnTo>
                  <a:pt x="1443450" y="6458023"/>
                </a:lnTo>
                <a:lnTo>
                  <a:pt x="1441383" y="6457935"/>
                </a:lnTo>
                <a:cubicBezTo>
                  <a:pt x="1414998" y="6387533"/>
                  <a:pt x="1397409" y="6462335"/>
                  <a:pt x="1375423" y="6466735"/>
                </a:cubicBezTo>
                <a:cubicBezTo>
                  <a:pt x="1349038" y="6466735"/>
                  <a:pt x="1327050" y="6466735"/>
                  <a:pt x="1318255" y="6444734"/>
                </a:cubicBezTo>
                <a:cubicBezTo>
                  <a:pt x="1313859" y="6440334"/>
                  <a:pt x="1335845" y="6422734"/>
                  <a:pt x="1344640" y="6409532"/>
                </a:cubicBezTo>
                <a:lnTo>
                  <a:pt x="1344640" y="6408943"/>
                </a:lnTo>
                <a:lnTo>
                  <a:pt x="1313408" y="6380831"/>
                </a:lnTo>
                <a:lnTo>
                  <a:pt x="1297827" y="6339134"/>
                </a:lnTo>
                <a:lnTo>
                  <a:pt x="1253804" y="6299043"/>
                </a:lnTo>
                <a:cubicBezTo>
                  <a:pt x="1248868" y="6287185"/>
                  <a:pt x="1252432" y="6276783"/>
                  <a:pt x="1260112" y="6267074"/>
                </a:cubicBezTo>
                <a:lnTo>
                  <a:pt x="1318384" y="6212954"/>
                </a:lnTo>
                <a:lnTo>
                  <a:pt x="1318264" y="6211989"/>
                </a:lnTo>
                <a:cubicBezTo>
                  <a:pt x="1322669" y="6207575"/>
                  <a:pt x="1322669" y="6198741"/>
                  <a:pt x="1322669" y="6189909"/>
                </a:cubicBezTo>
                <a:lnTo>
                  <a:pt x="1323588" y="6188804"/>
                </a:lnTo>
                <a:lnTo>
                  <a:pt x="1323512" y="6188838"/>
                </a:lnTo>
                <a:cubicBezTo>
                  <a:pt x="1305922" y="6186656"/>
                  <a:pt x="1289432" y="6187747"/>
                  <a:pt x="1273491" y="6192113"/>
                </a:cubicBezTo>
                <a:lnTo>
                  <a:pt x="1227059" y="6214891"/>
                </a:lnTo>
                <a:lnTo>
                  <a:pt x="1228056" y="6215432"/>
                </a:lnTo>
                <a:cubicBezTo>
                  <a:pt x="1197221" y="6259308"/>
                  <a:pt x="1170789" y="6303184"/>
                  <a:pt x="1109119" y="6307572"/>
                </a:cubicBezTo>
                <a:lnTo>
                  <a:pt x="1104790" y="6238573"/>
                </a:lnTo>
                <a:lnTo>
                  <a:pt x="1044581" y="6211064"/>
                </a:lnTo>
                <a:cubicBezTo>
                  <a:pt x="1013032" y="6190880"/>
                  <a:pt x="1012604" y="6169997"/>
                  <a:pt x="1040938" y="6134267"/>
                </a:cubicBezTo>
                <a:lnTo>
                  <a:pt x="1078595" y="6093257"/>
                </a:lnTo>
                <a:lnTo>
                  <a:pt x="1082929" y="6075566"/>
                </a:lnTo>
                <a:lnTo>
                  <a:pt x="1082583" y="6073804"/>
                </a:lnTo>
                <a:lnTo>
                  <a:pt x="1053217" y="6059280"/>
                </a:lnTo>
                <a:cubicBezTo>
                  <a:pt x="1030030" y="6032818"/>
                  <a:pt x="1021750" y="5982723"/>
                  <a:pt x="968754" y="6005346"/>
                </a:cubicBezTo>
                <a:lnTo>
                  <a:pt x="968287" y="6004662"/>
                </a:lnTo>
                <a:lnTo>
                  <a:pt x="908401" y="6044096"/>
                </a:lnTo>
                <a:lnTo>
                  <a:pt x="844160" y="6072830"/>
                </a:lnTo>
                <a:lnTo>
                  <a:pt x="842365" y="6075615"/>
                </a:lnTo>
                <a:cubicBezTo>
                  <a:pt x="820414" y="6106224"/>
                  <a:pt x="794073" y="6136833"/>
                  <a:pt x="772123" y="6167439"/>
                </a:cubicBezTo>
                <a:cubicBezTo>
                  <a:pt x="688713" y="6132460"/>
                  <a:pt x="798463" y="6088732"/>
                  <a:pt x="754564" y="6045006"/>
                </a:cubicBezTo>
                <a:cubicBezTo>
                  <a:pt x="679932" y="6062496"/>
                  <a:pt x="636032" y="6149949"/>
                  <a:pt x="552621" y="6167439"/>
                </a:cubicBezTo>
                <a:lnTo>
                  <a:pt x="552351" y="6167448"/>
                </a:lnTo>
                <a:lnTo>
                  <a:pt x="533295" y="6185162"/>
                </a:lnTo>
                <a:cubicBezTo>
                  <a:pt x="525125" y="6188485"/>
                  <a:pt x="515322" y="6189593"/>
                  <a:pt x="504427" y="6189593"/>
                </a:cubicBezTo>
                <a:lnTo>
                  <a:pt x="504253" y="6189027"/>
                </a:lnTo>
                <a:lnTo>
                  <a:pt x="504196" y="6190130"/>
                </a:lnTo>
                <a:cubicBezTo>
                  <a:pt x="490893" y="6216330"/>
                  <a:pt x="477589" y="6251265"/>
                  <a:pt x="450981" y="6242531"/>
                </a:cubicBezTo>
                <a:cubicBezTo>
                  <a:pt x="406636" y="6229430"/>
                  <a:pt x="411071" y="6181396"/>
                  <a:pt x="406636" y="6142096"/>
                </a:cubicBezTo>
                <a:lnTo>
                  <a:pt x="406722" y="6141511"/>
                </a:lnTo>
                <a:lnTo>
                  <a:pt x="363536" y="6167185"/>
                </a:lnTo>
                <a:lnTo>
                  <a:pt x="364665" y="6168142"/>
                </a:lnTo>
                <a:cubicBezTo>
                  <a:pt x="342677" y="6207356"/>
                  <a:pt x="303101" y="6220428"/>
                  <a:pt x="263524" y="6237857"/>
                </a:cubicBezTo>
                <a:lnTo>
                  <a:pt x="263524" y="6236089"/>
                </a:lnTo>
                <a:lnTo>
                  <a:pt x="263054" y="6237972"/>
                </a:lnTo>
                <a:cubicBezTo>
                  <a:pt x="263054" y="6255543"/>
                  <a:pt x="263054" y="6273114"/>
                  <a:pt x="263054" y="6286294"/>
                </a:cubicBezTo>
                <a:cubicBezTo>
                  <a:pt x="175559" y="6347793"/>
                  <a:pt x="175559" y="6229186"/>
                  <a:pt x="123060" y="6216008"/>
                </a:cubicBezTo>
                <a:cubicBezTo>
                  <a:pt x="109936" y="6158900"/>
                  <a:pt x="149309" y="6154508"/>
                  <a:pt x="188683" y="6141329"/>
                </a:cubicBezTo>
                <a:lnTo>
                  <a:pt x="197366" y="6143935"/>
                </a:lnTo>
                <a:lnTo>
                  <a:pt x="198416" y="6138079"/>
                </a:lnTo>
                <a:cubicBezTo>
                  <a:pt x="206352" y="6112061"/>
                  <a:pt x="223446" y="6099672"/>
                  <a:pt x="262517" y="6119494"/>
                </a:cubicBezTo>
                <a:lnTo>
                  <a:pt x="262824" y="6120207"/>
                </a:lnTo>
                <a:lnTo>
                  <a:pt x="262772" y="6119390"/>
                </a:lnTo>
                <a:cubicBezTo>
                  <a:pt x="284922" y="6106227"/>
                  <a:pt x="289352" y="6088677"/>
                  <a:pt x="289352" y="6071126"/>
                </a:cubicBezTo>
                <a:lnTo>
                  <a:pt x="290207" y="6070740"/>
                </a:lnTo>
                <a:lnTo>
                  <a:pt x="358773" y="5974457"/>
                </a:lnTo>
                <a:lnTo>
                  <a:pt x="336037" y="5960179"/>
                </a:lnTo>
                <a:cubicBezTo>
                  <a:pt x="329963" y="5954107"/>
                  <a:pt x="326651" y="5946380"/>
                  <a:pt x="328860" y="5935339"/>
                </a:cubicBezTo>
                <a:cubicBezTo>
                  <a:pt x="331068" y="5922090"/>
                  <a:pt x="338797" y="5914361"/>
                  <a:pt x="348734" y="5909392"/>
                </a:cubicBezTo>
                <a:lnTo>
                  <a:pt x="380756" y="5900320"/>
                </a:lnTo>
                <a:lnTo>
                  <a:pt x="385109" y="5878557"/>
                </a:lnTo>
                <a:lnTo>
                  <a:pt x="386901" y="5878557"/>
                </a:lnTo>
                <a:lnTo>
                  <a:pt x="385577" y="5877780"/>
                </a:lnTo>
                <a:cubicBezTo>
                  <a:pt x="376819" y="5868956"/>
                  <a:pt x="368060" y="5860135"/>
                  <a:pt x="359300" y="5851311"/>
                </a:cubicBezTo>
                <a:lnTo>
                  <a:pt x="360334" y="5849656"/>
                </a:lnTo>
                <a:lnTo>
                  <a:pt x="359300" y="5850080"/>
                </a:lnTo>
                <a:cubicBezTo>
                  <a:pt x="346229" y="5850080"/>
                  <a:pt x="328800" y="5854426"/>
                  <a:pt x="315728" y="5854426"/>
                </a:cubicBezTo>
                <a:lnTo>
                  <a:pt x="315026" y="5853725"/>
                </a:lnTo>
                <a:lnTo>
                  <a:pt x="314509" y="5855667"/>
                </a:lnTo>
                <a:lnTo>
                  <a:pt x="313126" y="5855981"/>
                </a:lnTo>
                <a:lnTo>
                  <a:pt x="315695" y="5856618"/>
                </a:lnTo>
                <a:cubicBezTo>
                  <a:pt x="320069" y="5876363"/>
                  <a:pt x="314600" y="5890623"/>
                  <a:pt x="304756" y="5901592"/>
                </a:cubicBezTo>
                <a:lnTo>
                  <a:pt x="267962" y="5926556"/>
                </a:lnTo>
                <a:lnTo>
                  <a:pt x="268135" y="5926899"/>
                </a:lnTo>
                <a:cubicBezTo>
                  <a:pt x="224134" y="5966199"/>
                  <a:pt x="184531" y="6001134"/>
                  <a:pt x="140530" y="6040436"/>
                </a:cubicBezTo>
                <a:lnTo>
                  <a:pt x="139878" y="6040223"/>
                </a:lnTo>
                <a:lnTo>
                  <a:pt x="140388" y="6041081"/>
                </a:lnTo>
                <a:cubicBezTo>
                  <a:pt x="144793" y="6049903"/>
                  <a:pt x="144793" y="6058726"/>
                  <a:pt x="144793" y="6071960"/>
                </a:cubicBezTo>
                <a:cubicBezTo>
                  <a:pt x="109553" y="6094015"/>
                  <a:pt x="65501" y="6098427"/>
                  <a:pt x="25856" y="6094015"/>
                </a:cubicBezTo>
                <a:cubicBezTo>
                  <a:pt x="25856" y="6080782"/>
                  <a:pt x="25856" y="6063136"/>
                  <a:pt x="25856" y="6045493"/>
                </a:cubicBezTo>
                <a:cubicBezTo>
                  <a:pt x="22552" y="6005790"/>
                  <a:pt x="29160" y="5978495"/>
                  <a:pt x="58688" y="5982218"/>
                </a:cubicBezTo>
                <a:cubicBezTo>
                  <a:pt x="68529" y="5983458"/>
                  <a:pt x="80919" y="5988145"/>
                  <a:pt x="96336" y="5996968"/>
                </a:cubicBezTo>
                <a:lnTo>
                  <a:pt x="96670" y="5997159"/>
                </a:lnTo>
                <a:lnTo>
                  <a:pt x="96529" y="5996767"/>
                </a:lnTo>
                <a:cubicBezTo>
                  <a:pt x="114128" y="5974933"/>
                  <a:pt x="131730" y="5953099"/>
                  <a:pt x="153731" y="5926899"/>
                </a:cubicBezTo>
                <a:lnTo>
                  <a:pt x="158352" y="5924350"/>
                </a:lnTo>
                <a:lnTo>
                  <a:pt x="153220" y="5925156"/>
                </a:lnTo>
                <a:cubicBezTo>
                  <a:pt x="96309" y="5890370"/>
                  <a:pt x="13133" y="5894719"/>
                  <a:pt x="0" y="5803408"/>
                </a:cubicBezTo>
                <a:cubicBezTo>
                  <a:pt x="13133" y="5786015"/>
                  <a:pt x="21889" y="5768623"/>
                  <a:pt x="48155" y="5772970"/>
                </a:cubicBezTo>
                <a:lnTo>
                  <a:pt x="54521" y="5775296"/>
                </a:lnTo>
                <a:lnTo>
                  <a:pt x="77954" y="5746407"/>
                </a:lnTo>
                <a:cubicBezTo>
                  <a:pt x="90533" y="5738162"/>
                  <a:pt x="105844" y="5733764"/>
                  <a:pt x="123344" y="5733764"/>
                </a:cubicBezTo>
                <a:lnTo>
                  <a:pt x="123344" y="5790497"/>
                </a:lnTo>
                <a:lnTo>
                  <a:pt x="123548" y="5790533"/>
                </a:lnTo>
                <a:lnTo>
                  <a:pt x="123548" y="5733381"/>
                </a:lnTo>
                <a:cubicBezTo>
                  <a:pt x="119218" y="5733381"/>
                  <a:pt x="119218" y="5733381"/>
                  <a:pt x="119218" y="5733381"/>
                </a:cubicBezTo>
                <a:lnTo>
                  <a:pt x="187740" y="5707248"/>
                </a:lnTo>
                <a:lnTo>
                  <a:pt x="214161" y="5685500"/>
                </a:lnTo>
                <a:lnTo>
                  <a:pt x="216048" y="5686615"/>
                </a:lnTo>
                <a:lnTo>
                  <a:pt x="214508" y="5684427"/>
                </a:lnTo>
                <a:cubicBezTo>
                  <a:pt x="216726" y="5660095"/>
                  <a:pt x="225595" y="5640185"/>
                  <a:pt x="238343" y="5623041"/>
                </a:cubicBezTo>
                <a:lnTo>
                  <a:pt x="284354" y="5579299"/>
                </a:lnTo>
                <a:lnTo>
                  <a:pt x="284223" y="5577604"/>
                </a:lnTo>
                <a:cubicBezTo>
                  <a:pt x="302098" y="5564411"/>
                  <a:pt x="319975" y="5551218"/>
                  <a:pt x="337850" y="5538027"/>
                </a:cubicBezTo>
                <a:lnTo>
                  <a:pt x="337850" y="5538130"/>
                </a:lnTo>
                <a:lnTo>
                  <a:pt x="362771" y="5517042"/>
                </a:lnTo>
                <a:lnTo>
                  <a:pt x="362759" y="5516848"/>
                </a:lnTo>
                <a:lnTo>
                  <a:pt x="481487" y="5368980"/>
                </a:lnTo>
                <a:lnTo>
                  <a:pt x="445593" y="5365695"/>
                </a:lnTo>
                <a:lnTo>
                  <a:pt x="446097" y="5371724"/>
                </a:lnTo>
                <a:cubicBezTo>
                  <a:pt x="437352" y="5389211"/>
                  <a:pt x="428608" y="5402326"/>
                  <a:pt x="411122" y="5411071"/>
                </a:cubicBezTo>
                <a:lnTo>
                  <a:pt x="387837" y="5425829"/>
                </a:lnTo>
                <a:lnTo>
                  <a:pt x="383276" y="5433982"/>
                </a:lnTo>
                <a:cubicBezTo>
                  <a:pt x="352162" y="5469293"/>
                  <a:pt x="303854" y="5484160"/>
                  <a:pt x="267829" y="5513894"/>
                </a:cubicBezTo>
                <a:lnTo>
                  <a:pt x="267826" y="5513889"/>
                </a:lnTo>
                <a:lnTo>
                  <a:pt x="242189" y="5553992"/>
                </a:lnTo>
                <a:cubicBezTo>
                  <a:pt x="232803" y="5566058"/>
                  <a:pt x="219555" y="5572640"/>
                  <a:pt x="193057" y="5561670"/>
                </a:cubicBezTo>
                <a:lnTo>
                  <a:pt x="193057" y="5560204"/>
                </a:lnTo>
                <a:lnTo>
                  <a:pt x="96529" y="5586289"/>
                </a:lnTo>
                <a:cubicBezTo>
                  <a:pt x="100925" y="5542718"/>
                  <a:pt x="122913" y="5516575"/>
                  <a:pt x="171285" y="5516575"/>
                </a:cubicBezTo>
                <a:lnTo>
                  <a:pt x="171748" y="5516575"/>
                </a:lnTo>
                <a:lnTo>
                  <a:pt x="171606" y="5516480"/>
                </a:lnTo>
                <a:cubicBezTo>
                  <a:pt x="175920" y="5499243"/>
                  <a:pt x="184546" y="5486316"/>
                  <a:pt x="193174" y="5469077"/>
                </a:cubicBezTo>
                <a:cubicBezTo>
                  <a:pt x="214741" y="5451840"/>
                  <a:pt x="240622" y="5434602"/>
                  <a:pt x="262189" y="5417366"/>
                </a:cubicBezTo>
                <a:lnTo>
                  <a:pt x="262189" y="5418653"/>
                </a:lnTo>
                <a:lnTo>
                  <a:pt x="262481" y="5415442"/>
                </a:lnTo>
                <a:cubicBezTo>
                  <a:pt x="271226" y="5397955"/>
                  <a:pt x="279968" y="5384840"/>
                  <a:pt x="288712" y="5371724"/>
                </a:cubicBezTo>
                <a:lnTo>
                  <a:pt x="290035" y="5370159"/>
                </a:lnTo>
                <a:lnTo>
                  <a:pt x="302282" y="5325962"/>
                </a:lnTo>
                <a:lnTo>
                  <a:pt x="337049" y="5297615"/>
                </a:lnTo>
                <a:lnTo>
                  <a:pt x="316399" y="5276552"/>
                </a:lnTo>
                <a:lnTo>
                  <a:pt x="317639" y="5274046"/>
                </a:lnTo>
                <a:lnTo>
                  <a:pt x="315987" y="5275253"/>
                </a:lnTo>
                <a:cubicBezTo>
                  <a:pt x="285089" y="5213651"/>
                  <a:pt x="249778" y="5160850"/>
                  <a:pt x="170328" y="5200451"/>
                </a:cubicBezTo>
                <a:cubicBezTo>
                  <a:pt x="139430" y="5147648"/>
                  <a:pt x="179155" y="5125649"/>
                  <a:pt x="214467" y="5103647"/>
                </a:cubicBezTo>
                <a:lnTo>
                  <a:pt x="214893" y="5103717"/>
                </a:lnTo>
                <a:lnTo>
                  <a:pt x="262937" y="5055214"/>
                </a:lnTo>
                <a:lnTo>
                  <a:pt x="262772" y="5055049"/>
                </a:lnTo>
                <a:cubicBezTo>
                  <a:pt x="271582" y="5024550"/>
                  <a:pt x="285898" y="4998407"/>
                  <a:pt x="305721" y="4978253"/>
                </a:cubicBezTo>
                <a:lnTo>
                  <a:pt x="380760" y="4937916"/>
                </a:lnTo>
                <a:lnTo>
                  <a:pt x="381134" y="4937255"/>
                </a:lnTo>
                <a:lnTo>
                  <a:pt x="385492" y="4915327"/>
                </a:lnTo>
                <a:lnTo>
                  <a:pt x="359971" y="4889525"/>
                </a:lnTo>
                <a:lnTo>
                  <a:pt x="359300" y="4887148"/>
                </a:lnTo>
                <a:lnTo>
                  <a:pt x="359300" y="4889408"/>
                </a:lnTo>
                <a:cubicBezTo>
                  <a:pt x="328587" y="4876136"/>
                  <a:pt x="284711" y="4915955"/>
                  <a:pt x="262772" y="4862863"/>
                </a:cubicBezTo>
                <a:lnTo>
                  <a:pt x="263335" y="4862605"/>
                </a:lnTo>
                <a:lnTo>
                  <a:pt x="262772" y="4862524"/>
                </a:lnTo>
                <a:cubicBezTo>
                  <a:pt x="289123" y="4774453"/>
                  <a:pt x="359393" y="4695189"/>
                  <a:pt x="341826" y="4589505"/>
                </a:cubicBezTo>
                <a:cubicBezTo>
                  <a:pt x="333041" y="4554278"/>
                  <a:pt x="363785" y="4514647"/>
                  <a:pt x="412095" y="4514647"/>
                </a:cubicBezTo>
                <a:cubicBezTo>
                  <a:pt x="491148" y="4514647"/>
                  <a:pt x="504324" y="4466207"/>
                  <a:pt x="504324" y="4404559"/>
                </a:cubicBezTo>
                <a:cubicBezTo>
                  <a:pt x="552634" y="4373734"/>
                  <a:pt x="609729" y="4360524"/>
                  <a:pt x="658038" y="4338506"/>
                </a:cubicBezTo>
                <a:lnTo>
                  <a:pt x="662167" y="4339178"/>
                </a:lnTo>
                <a:lnTo>
                  <a:pt x="714133" y="4276884"/>
                </a:lnTo>
                <a:lnTo>
                  <a:pt x="761734" y="4237260"/>
                </a:lnTo>
                <a:lnTo>
                  <a:pt x="749222" y="4229879"/>
                </a:lnTo>
                <a:cubicBezTo>
                  <a:pt x="734020" y="4215993"/>
                  <a:pt x="739885" y="4201030"/>
                  <a:pt x="748528" y="4185453"/>
                </a:cubicBezTo>
                <a:lnTo>
                  <a:pt x="760611" y="4160747"/>
                </a:lnTo>
                <a:lnTo>
                  <a:pt x="748125" y="4123975"/>
                </a:lnTo>
                <a:lnTo>
                  <a:pt x="703256" y="4145005"/>
                </a:lnTo>
                <a:cubicBezTo>
                  <a:pt x="655513" y="4177800"/>
                  <a:pt x="615180" y="4230272"/>
                  <a:pt x="552622" y="4243389"/>
                </a:cubicBezTo>
                <a:lnTo>
                  <a:pt x="552352" y="4243398"/>
                </a:lnTo>
                <a:lnTo>
                  <a:pt x="533296" y="4261112"/>
                </a:lnTo>
                <a:cubicBezTo>
                  <a:pt x="525126" y="4264435"/>
                  <a:pt x="515323" y="4265543"/>
                  <a:pt x="504428" y="4265543"/>
                </a:cubicBezTo>
                <a:lnTo>
                  <a:pt x="504254" y="4264977"/>
                </a:lnTo>
                <a:lnTo>
                  <a:pt x="504197" y="4266080"/>
                </a:lnTo>
                <a:cubicBezTo>
                  <a:pt x="490894" y="4292280"/>
                  <a:pt x="477590" y="4327215"/>
                  <a:pt x="450982" y="4318481"/>
                </a:cubicBezTo>
                <a:cubicBezTo>
                  <a:pt x="406637" y="4305380"/>
                  <a:pt x="411072" y="4257346"/>
                  <a:pt x="406637" y="4218046"/>
                </a:cubicBezTo>
                <a:lnTo>
                  <a:pt x="406723" y="4217461"/>
                </a:lnTo>
                <a:lnTo>
                  <a:pt x="363537" y="4243135"/>
                </a:lnTo>
                <a:lnTo>
                  <a:pt x="364666" y="4244092"/>
                </a:lnTo>
                <a:cubicBezTo>
                  <a:pt x="342678" y="4283306"/>
                  <a:pt x="303102" y="4296378"/>
                  <a:pt x="263525" y="4313807"/>
                </a:cubicBezTo>
                <a:lnTo>
                  <a:pt x="263525" y="4312039"/>
                </a:lnTo>
                <a:lnTo>
                  <a:pt x="263055" y="4313922"/>
                </a:lnTo>
                <a:cubicBezTo>
                  <a:pt x="263055" y="4331493"/>
                  <a:pt x="263055" y="4349064"/>
                  <a:pt x="263055" y="4362244"/>
                </a:cubicBezTo>
                <a:cubicBezTo>
                  <a:pt x="175560" y="4423743"/>
                  <a:pt x="175560" y="4305136"/>
                  <a:pt x="123061" y="4291958"/>
                </a:cubicBezTo>
                <a:cubicBezTo>
                  <a:pt x="109937" y="4234850"/>
                  <a:pt x="149310" y="4230458"/>
                  <a:pt x="188684" y="4217279"/>
                </a:cubicBezTo>
                <a:lnTo>
                  <a:pt x="197367" y="4219885"/>
                </a:lnTo>
                <a:lnTo>
                  <a:pt x="198417" y="4214029"/>
                </a:lnTo>
                <a:cubicBezTo>
                  <a:pt x="206353" y="4188011"/>
                  <a:pt x="223447" y="4175622"/>
                  <a:pt x="262518" y="4195444"/>
                </a:cubicBezTo>
                <a:lnTo>
                  <a:pt x="262825" y="4196157"/>
                </a:lnTo>
                <a:lnTo>
                  <a:pt x="262773" y="4195340"/>
                </a:lnTo>
                <a:cubicBezTo>
                  <a:pt x="284923" y="4182177"/>
                  <a:pt x="289353" y="4164627"/>
                  <a:pt x="289353" y="4147076"/>
                </a:cubicBezTo>
                <a:lnTo>
                  <a:pt x="290208" y="4146690"/>
                </a:lnTo>
                <a:lnTo>
                  <a:pt x="358774" y="4050407"/>
                </a:lnTo>
                <a:lnTo>
                  <a:pt x="336038" y="4036129"/>
                </a:lnTo>
                <a:cubicBezTo>
                  <a:pt x="329964" y="4030057"/>
                  <a:pt x="326652" y="4022330"/>
                  <a:pt x="328861" y="4011289"/>
                </a:cubicBezTo>
                <a:cubicBezTo>
                  <a:pt x="331069" y="3998040"/>
                  <a:pt x="338798" y="3990311"/>
                  <a:pt x="348735" y="3985342"/>
                </a:cubicBezTo>
                <a:lnTo>
                  <a:pt x="380757" y="3976270"/>
                </a:lnTo>
                <a:lnTo>
                  <a:pt x="385110" y="3954507"/>
                </a:lnTo>
                <a:lnTo>
                  <a:pt x="386902" y="3954507"/>
                </a:lnTo>
                <a:lnTo>
                  <a:pt x="385578" y="3953730"/>
                </a:lnTo>
                <a:cubicBezTo>
                  <a:pt x="376820" y="3944906"/>
                  <a:pt x="368061" y="3936085"/>
                  <a:pt x="359301" y="3927261"/>
                </a:cubicBezTo>
                <a:lnTo>
                  <a:pt x="360335" y="3925606"/>
                </a:lnTo>
                <a:lnTo>
                  <a:pt x="359301" y="3926030"/>
                </a:lnTo>
                <a:cubicBezTo>
                  <a:pt x="346230" y="3926030"/>
                  <a:pt x="328801" y="3930376"/>
                  <a:pt x="315729" y="3930376"/>
                </a:cubicBezTo>
                <a:lnTo>
                  <a:pt x="315027" y="3929675"/>
                </a:lnTo>
                <a:lnTo>
                  <a:pt x="314510" y="3931617"/>
                </a:lnTo>
                <a:lnTo>
                  <a:pt x="313127" y="3931931"/>
                </a:lnTo>
                <a:lnTo>
                  <a:pt x="315696" y="3932568"/>
                </a:lnTo>
                <a:cubicBezTo>
                  <a:pt x="320070" y="3952313"/>
                  <a:pt x="314601" y="3966573"/>
                  <a:pt x="304757" y="3977542"/>
                </a:cubicBezTo>
                <a:lnTo>
                  <a:pt x="267963" y="4002506"/>
                </a:lnTo>
                <a:lnTo>
                  <a:pt x="268136" y="4002849"/>
                </a:lnTo>
                <a:cubicBezTo>
                  <a:pt x="224135" y="4042149"/>
                  <a:pt x="184532" y="4077084"/>
                  <a:pt x="140531" y="4116386"/>
                </a:cubicBezTo>
                <a:lnTo>
                  <a:pt x="139879" y="4116173"/>
                </a:lnTo>
                <a:lnTo>
                  <a:pt x="140389" y="4117031"/>
                </a:lnTo>
                <a:cubicBezTo>
                  <a:pt x="144794" y="4125853"/>
                  <a:pt x="144794" y="4134676"/>
                  <a:pt x="144794" y="4147910"/>
                </a:cubicBezTo>
                <a:cubicBezTo>
                  <a:pt x="109554" y="4169965"/>
                  <a:pt x="65502" y="4174377"/>
                  <a:pt x="25857" y="4169965"/>
                </a:cubicBezTo>
                <a:cubicBezTo>
                  <a:pt x="25857" y="4156732"/>
                  <a:pt x="25857" y="4139086"/>
                  <a:pt x="25857" y="4121443"/>
                </a:cubicBezTo>
                <a:cubicBezTo>
                  <a:pt x="22553" y="4081740"/>
                  <a:pt x="29161" y="4054445"/>
                  <a:pt x="58689" y="4058168"/>
                </a:cubicBezTo>
                <a:cubicBezTo>
                  <a:pt x="68530" y="4059408"/>
                  <a:pt x="80920" y="4064095"/>
                  <a:pt x="96337" y="4072918"/>
                </a:cubicBezTo>
                <a:lnTo>
                  <a:pt x="96671" y="4073109"/>
                </a:lnTo>
                <a:lnTo>
                  <a:pt x="96530" y="4072717"/>
                </a:lnTo>
                <a:cubicBezTo>
                  <a:pt x="114129" y="4050883"/>
                  <a:pt x="131731" y="4029049"/>
                  <a:pt x="153732" y="4002849"/>
                </a:cubicBezTo>
                <a:lnTo>
                  <a:pt x="158353" y="4000300"/>
                </a:lnTo>
                <a:lnTo>
                  <a:pt x="153221" y="4001106"/>
                </a:lnTo>
                <a:cubicBezTo>
                  <a:pt x="96310" y="3966320"/>
                  <a:pt x="13134" y="3970669"/>
                  <a:pt x="1" y="3879358"/>
                </a:cubicBezTo>
                <a:cubicBezTo>
                  <a:pt x="13134" y="3861965"/>
                  <a:pt x="21890" y="3844573"/>
                  <a:pt x="48156" y="3848920"/>
                </a:cubicBezTo>
                <a:lnTo>
                  <a:pt x="54522" y="3851246"/>
                </a:lnTo>
                <a:lnTo>
                  <a:pt x="77955" y="3822357"/>
                </a:lnTo>
                <a:cubicBezTo>
                  <a:pt x="90534" y="3814112"/>
                  <a:pt x="105845" y="3809714"/>
                  <a:pt x="123345" y="3809714"/>
                </a:cubicBezTo>
                <a:lnTo>
                  <a:pt x="123345" y="3866447"/>
                </a:lnTo>
                <a:lnTo>
                  <a:pt x="123549" y="3866483"/>
                </a:lnTo>
                <a:lnTo>
                  <a:pt x="123549" y="3809331"/>
                </a:lnTo>
                <a:cubicBezTo>
                  <a:pt x="119219" y="3809331"/>
                  <a:pt x="119219" y="3809331"/>
                  <a:pt x="119219" y="3809331"/>
                </a:cubicBezTo>
                <a:lnTo>
                  <a:pt x="187741" y="3783198"/>
                </a:lnTo>
                <a:lnTo>
                  <a:pt x="214162" y="3761450"/>
                </a:lnTo>
                <a:lnTo>
                  <a:pt x="216049" y="3762565"/>
                </a:lnTo>
                <a:lnTo>
                  <a:pt x="214509" y="3760377"/>
                </a:lnTo>
                <a:cubicBezTo>
                  <a:pt x="216727" y="3736045"/>
                  <a:pt x="225596" y="3716135"/>
                  <a:pt x="238344" y="3698991"/>
                </a:cubicBezTo>
                <a:lnTo>
                  <a:pt x="284355" y="3655249"/>
                </a:lnTo>
                <a:lnTo>
                  <a:pt x="284224" y="3653554"/>
                </a:lnTo>
                <a:cubicBezTo>
                  <a:pt x="302099" y="3640361"/>
                  <a:pt x="319976" y="3627168"/>
                  <a:pt x="337851" y="3613977"/>
                </a:cubicBezTo>
                <a:lnTo>
                  <a:pt x="337851" y="3614080"/>
                </a:lnTo>
                <a:lnTo>
                  <a:pt x="362772" y="3592992"/>
                </a:lnTo>
                <a:lnTo>
                  <a:pt x="362760" y="3592798"/>
                </a:lnTo>
                <a:lnTo>
                  <a:pt x="481488" y="3444930"/>
                </a:lnTo>
                <a:lnTo>
                  <a:pt x="445594" y="3441645"/>
                </a:lnTo>
                <a:lnTo>
                  <a:pt x="446098" y="3447674"/>
                </a:lnTo>
                <a:cubicBezTo>
                  <a:pt x="437353" y="3465161"/>
                  <a:pt x="428609" y="3478276"/>
                  <a:pt x="411123" y="3487021"/>
                </a:cubicBezTo>
                <a:lnTo>
                  <a:pt x="387838" y="3501779"/>
                </a:lnTo>
                <a:lnTo>
                  <a:pt x="383277" y="3509932"/>
                </a:lnTo>
                <a:cubicBezTo>
                  <a:pt x="352163" y="3545243"/>
                  <a:pt x="303855" y="3560110"/>
                  <a:pt x="267830" y="3589844"/>
                </a:cubicBezTo>
                <a:lnTo>
                  <a:pt x="267827" y="3589839"/>
                </a:lnTo>
                <a:lnTo>
                  <a:pt x="242190" y="3629942"/>
                </a:lnTo>
                <a:cubicBezTo>
                  <a:pt x="232804" y="3642008"/>
                  <a:pt x="219556" y="3648590"/>
                  <a:pt x="193058" y="3637620"/>
                </a:cubicBezTo>
                <a:lnTo>
                  <a:pt x="193058" y="3636154"/>
                </a:lnTo>
                <a:lnTo>
                  <a:pt x="96530" y="3662239"/>
                </a:lnTo>
                <a:cubicBezTo>
                  <a:pt x="100926" y="3618668"/>
                  <a:pt x="122914" y="3592525"/>
                  <a:pt x="171286" y="3592525"/>
                </a:cubicBezTo>
                <a:lnTo>
                  <a:pt x="171749" y="3592525"/>
                </a:lnTo>
                <a:lnTo>
                  <a:pt x="171607" y="3592430"/>
                </a:lnTo>
                <a:cubicBezTo>
                  <a:pt x="175921" y="3575193"/>
                  <a:pt x="184547" y="3562266"/>
                  <a:pt x="193175" y="3545027"/>
                </a:cubicBezTo>
                <a:cubicBezTo>
                  <a:pt x="214742" y="3527790"/>
                  <a:pt x="240623" y="3510552"/>
                  <a:pt x="262190" y="3493316"/>
                </a:cubicBezTo>
                <a:lnTo>
                  <a:pt x="262190" y="3494603"/>
                </a:lnTo>
                <a:lnTo>
                  <a:pt x="262482" y="3491392"/>
                </a:lnTo>
                <a:cubicBezTo>
                  <a:pt x="271227" y="3473905"/>
                  <a:pt x="279969" y="3460790"/>
                  <a:pt x="288713" y="3447674"/>
                </a:cubicBezTo>
                <a:lnTo>
                  <a:pt x="290036" y="3446109"/>
                </a:lnTo>
                <a:lnTo>
                  <a:pt x="302283" y="3401912"/>
                </a:lnTo>
                <a:lnTo>
                  <a:pt x="337050" y="3373565"/>
                </a:lnTo>
                <a:lnTo>
                  <a:pt x="316400" y="3352502"/>
                </a:lnTo>
                <a:lnTo>
                  <a:pt x="317640" y="3349996"/>
                </a:lnTo>
                <a:lnTo>
                  <a:pt x="315988" y="3351203"/>
                </a:lnTo>
                <a:cubicBezTo>
                  <a:pt x="285090" y="3289601"/>
                  <a:pt x="249779" y="3236800"/>
                  <a:pt x="170329" y="3276401"/>
                </a:cubicBezTo>
                <a:cubicBezTo>
                  <a:pt x="139431" y="3223598"/>
                  <a:pt x="179156" y="3201599"/>
                  <a:pt x="214468" y="3179597"/>
                </a:cubicBezTo>
                <a:lnTo>
                  <a:pt x="214894" y="3179667"/>
                </a:lnTo>
                <a:lnTo>
                  <a:pt x="262938" y="3131164"/>
                </a:lnTo>
                <a:lnTo>
                  <a:pt x="262773" y="3130999"/>
                </a:lnTo>
                <a:cubicBezTo>
                  <a:pt x="271583" y="3100500"/>
                  <a:pt x="285899" y="3074358"/>
                  <a:pt x="305722" y="3054203"/>
                </a:cubicBezTo>
                <a:lnTo>
                  <a:pt x="380761" y="3013866"/>
                </a:lnTo>
                <a:lnTo>
                  <a:pt x="381135" y="3013205"/>
                </a:lnTo>
                <a:lnTo>
                  <a:pt x="385493" y="2991277"/>
                </a:lnTo>
                <a:lnTo>
                  <a:pt x="359972" y="2965475"/>
                </a:lnTo>
                <a:lnTo>
                  <a:pt x="359301" y="2963098"/>
                </a:lnTo>
                <a:lnTo>
                  <a:pt x="359301" y="2965358"/>
                </a:lnTo>
                <a:cubicBezTo>
                  <a:pt x="328588" y="2952086"/>
                  <a:pt x="284712" y="2991905"/>
                  <a:pt x="262773" y="2938813"/>
                </a:cubicBezTo>
                <a:lnTo>
                  <a:pt x="263336" y="2938555"/>
                </a:lnTo>
                <a:lnTo>
                  <a:pt x="262773" y="2938474"/>
                </a:lnTo>
                <a:cubicBezTo>
                  <a:pt x="275948" y="2894439"/>
                  <a:pt x="300104" y="2852605"/>
                  <a:pt x="318769" y="2808570"/>
                </a:cubicBezTo>
                <a:lnTo>
                  <a:pt x="329221" y="2775879"/>
                </a:lnTo>
                <a:lnTo>
                  <a:pt x="320692" y="2782169"/>
                </a:lnTo>
                <a:cubicBezTo>
                  <a:pt x="303103" y="2792518"/>
                  <a:pt x="283314" y="2800143"/>
                  <a:pt x="263526" y="2808857"/>
                </a:cubicBezTo>
                <a:lnTo>
                  <a:pt x="263526" y="2807089"/>
                </a:lnTo>
                <a:lnTo>
                  <a:pt x="263056" y="2808972"/>
                </a:lnTo>
                <a:cubicBezTo>
                  <a:pt x="263056" y="2826543"/>
                  <a:pt x="263056" y="2844114"/>
                  <a:pt x="263056" y="2857294"/>
                </a:cubicBezTo>
                <a:cubicBezTo>
                  <a:pt x="175561" y="2918793"/>
                  <a:pt x="175561" y="2800186"/>
                  <a:pt x="123062" y="2787009"/>
                </a:cubicBezTo>
                <a:cubicBezTo>
                  <a:pt x="109938" y="2729900"/>
                  <a:pt x="149311" y="2725508"/>
                  <a:pt x="188685" y="2712329"/>
                </a:cubicBezTo>
                <a:lnTo>
                  <a:pt x="197368" y="2714935"/>
                </a:lnTo>
                <a:lnTo>
                  <a:pt x="198418" y="2709079"/>
                </a:lnTo>
                <a:cubicBezTo>
                  <a:pt x="206354" y="2683061"/>
                  <a:pt x="223448" y="2670672"/>
                  <a:pt x="262519" y="2690494"/>
                </a:cubicBezTo>
                <a:lnTo>
                  <a:pt x="262826" y="2691207"/>
                </a:lnTo>
                <a:lnTo>
                  <a:pt x="262774" y="2690390"/>
                </a:lnTo>
                <a:cubicBezTo>
                  <a:pt x="284924" y="2677227"/>
                  <a:pt x="289354" y="2659677"/>
                  <a:pt x="289354" y="2642126"/>
                </a:cubicBezTo>
                <a:lnTo>
                  <a:pt x="290209" y="2641740"/>
                </a:lnTo>
                <a:lnTo>
                  <a:pt x="358775" y="2545457"/>
                </a:lnTo>
                <a:lnTo>
                  <a:pt x="336039" y="2531179"/>
                </a:lnTo>
                <a:cubicBezTo>
                  <a:pt x="329965" y="2525107"/>
                  <a:pt x="326653" y="2517380"/>
                  <a:pt x="328862" y="2506339"/>
                </a:cubicBezTo>
                <a:cubicBezTo>
                  <a:pt x="331070" y="2493090"/>
                  <a:pt x="338799" y="2485361"/>
                  <a:pt x="348736" y="2480392"/>
                </a:cubicBezTo>
                <a:lnTo>
                  <a:pt x="380758" y="2471320"/>
                </a:lnTo>
                <a:lnTo>
                  <a:pt x="385111" y="2449557"/>
                </a:lnTo>
                <a:lnTo>
                  <a:pt x="386903" y="2449557"/>
                </a:lnTo>
                <a:lnTo>
                  <a:pt x="385579" y="2448780"/>
                </a:lnTo>
                <a:cubicBezTo>
                  <a:pt x="376821" y="2439956"/>
                  <a:pt x="368062" y="2431135"/>
                  <a:pt x="359302" y="2422311"/>
                </a:cubicBezTo>
                <a:lnTo>
                  <a:pt x="360336" y="2420656"/>
                </a:lnTo>
                <a:lnTo>
                  <a:pt x="359302" y="2421080"/>
                </a:lnTo>
                <a:cubicBezTo>
                  <a:pt x="346231" y="2421080"/>
                  <a:pt x="328802" y="2425426"/>
                  <a:pt x="315730" y="2425426"/>
                </a:cubicBezTo>
                <a:lnTo>
                  <a:pt x="315028" y="2424725"/>
                </a:lnTo>
                <a:lnTo>
                  <a:pt x="314511" y="2426667"/>
                </a:lnTo>
                <a:lnTo>
                  <a:pt x="313128" y="2426981"/>
                </a:lnTo>
                <a:lnTo>
                  <a:pt x="315697" y="2427618"/>
                </a:lnTo>
                <a:cubicBezTo>
                  <a:pt x="320071" y="2447363"/>
                  <a:pt x="314602" y="2461623"/>
                  <a:pt x="304758" y="2472592"/>
                </a:cubicBezTo>
                <a:lnTo>
                  <a:pt x="267964" y="2497556"/>
                </a:lnTo>
                <a:lnTo>
                  <a:pt x="268137" y="2497899"/>
                </a:lnTo>
                <a:cubicBezTo>
                  <a:pt x="224136" y="2537199"/>
                  <a:pt x="184533" y="2572134"/>
                  <a:pt x="140532" y="2611436"/>
                </a:cubicBezTo>
                <a:lnTo>
                  <a:pt x="139880" y="2611223"/>
                </a:lnTo>
                <a:lnTo>
                  <a:pt x="140390" y="2612081"/>
                </a:lnTo>
                <a:cubicBezTo>
                  <a:pt x="144795" y="2620903"/>
                  <a:pt x="144795" y="2629726"/>
                  <a:pt x="144795" y="2642960"/>
                </a:cubicBezTo>
                <a:cubicBezTo>
                  <a:pt x="109555" y="2665015"/>
                  <a:pt x="65503" y="2669427"/>
                  <a:pt x="25858" y="2665015"/>
                </a:cubicBezTo>
                <a:cubicBezTo>
                  <a:pt x="25858" y="2651782"/>
                  <a:pt x="25858" y="2634136"/>
                  <a:pt x="25858" y="2616493"/>
                </a:cubicBezTo>
                <a:cubicBezTo>
                  <a:pt x="22554" y="2576790"/>
                  <a:pt x="29162" y="2549495"/>
                  <a:pt x="58690" y="2553218"/>
                </a:cubicBezTo>
                <a:cubicBezTo>
                  <a:pt x="68531" y="2554458"/>
                  <a:pt x="80921" y="2559145"/>
                  <a:pt x="96338" y="2567968"/>
                </a:cubicBezTo>
                <a:lnTo>
                  <a:pt x="96672" y="2568159"/>
                </a:lnTo>
                <a:lnTo>
                  <a:pt x="96531" y="2567767"/>
                </a:lnTo>
                <a:cubicBezTo>
                  <a:pt x="114130" y="2545933"/>
                  <a:pt x="131732" y="2524099"/>
                  <a:pt x="153733" y="2497899"/>
                </a:cubicBezTo>
                <a:lnTo>
                  <a:pt x="158354" y="2495350"/>
                </a:lnTo>
                <a:lnTo>
                  <a:pt x="153222" y="2496156"/>
                </a:lnTo>
                <a:cubicBezTo>
                  <a:pt x="96311" y="2461370"/>
                  <a:pt x="13135" y="2465719"/>
                  <a:pt x="2" y="2374408"/>
                </a:cubicBezTo>
                <a:cubicBezTo>
                  <a:pt x="13135" y="2357015"/>
                  <a:pt x="21891" y="2339623"/>
                  <a:pt x="48157" y="2343970"/>
                </a:cubicBezTo>
                <a:lnTo>
                  <a:pt x="54523" y="2346296"/>
                </a:lnTo>
                <a:lnTo>
                  <a:pt x="77956" y="2317407"/>
                </a:lnTo>
                <a:cubicBezTo>
                  <a:pt x="90535" y="2309162"/>
                  <a:pt x="105846" y="2304764"/>
                  <a:pt x="123346" y="2304764"/>
                </a:cubicBezTo>
                <a:lnTo>
                  <a:pt x="123346" y="2361497"/>
                </a:lnTo>
                <a:lnTo>
                  <a:pt x="123550" y="2361533"/>
                </a:lnTo>
                <a:lnTo>
                  <a:pt x="123550" y="2304381"/>
                </a:lnTo>
                <a:cubicBezTo>
                  <a:pt x="119220" y="2304381"/>
                  <a:pt x="119220" y="2304381"/>
                  <a:pt x="119220" y="2304381"/>
                </a:cubicBezTo>
                <a:lnTo>
                  <a:pt x="187742" y="2278248"/>
                </a:lnTo>
                <a:lnTo>
                  <a:pt x="214163" y="2256500"/>
                </a:lnTo>
                <a:lnTo>
                  <a:pt x="216050" y="2257615"/>
                </a:lnTo>
                <a:lnTo>
                  <a:pt x="214510" y="2255427"/>
                </a:lnTo>
                <a:cubicBezTo>
                  <a:pt x="216728" y="2231095"/>
                  <a:pt x="225597" y="2211185"/>
                  <a:pt x="238345" y="2194041"/>
                </a:cubicBezTo>
                <a:lnTo>
                  <a:pt x="284356" y="2150299"/>
                </a:lnTo>
                <a:lnTo>
                  <a:pt x="284225" y="2148604"/>
                </a:lnTo>
                <a:cubicBezTo>
                  <a:pt x="302100" y="2135411"/>
                  <a:pt x="319977" y="2122218"/>
                  <a:pt x="337852" y="2109027"/>
                </a:cubicBezTo>
                <a:lnTo>
                  <a:pt x="337852" y="2109130"/>
                </a:lnTo>
                <a:lnTo>
                  <a:pt x="362773" y="2088042"/>
                </a:lnTo>
                <a:lnTo>
                  <a:pt x="362761" y="2087848"/>
                </a:lnTo>
                <a:lnTo>
                  <a:pt x="481489" y="1939980"/>
                </a:lnTo>
                <a:lnTo>
                  <a:pt x="445595" y="1936696"/>
                </a:lnTo>
                <a:lnTo>
                  <a:pt x="446099" y="1942725"/>
                </a:lnTo>
                <a:cubicBezTo>
                  <a:pt x="437354" y="1960211"/>
                  <a:pt x="428610" y="1973327"/>
                  <a:pt x="411124" y="1982072"/>
                </a:cubicBezTo>
                <a:lnTo>
                  <a:pt x="387839" y="1996829"/>
                </a:lnTo>
                <a:lnTo>
                  <a:pt x="383278" y="2004982"/>
                </a:lnTo>
                <a:cubicBezTo>
                  <a:pt x="352164" y="2040293"/>
                  <a:pt x="303856" y="2055160"/>
                  <a:pt x="267831" y="2084894"/>
                </a:cubicBezTo>
                <a:lnTo>
                  <a:pt x="267828" y="2084889"/>
                </a:lnTo>
                <a:lnTo>
                  <a:pt x="242191" y="2124992"/>
                </a:lnTo>
                <a:cubicBezTo>
                  <a:pt x="232805" y="2137058"/>
                  <a:pt x="219557" y="2143640"/>
                  <a:pt x="193059" y="2132670"/>
                </a:cubicBezTo>
                <a:lnTo>
                  <a:pt x="193059" y="2131204"/>
                </a:lnTo>
                <a:lnTo>
                  <a:pt x="96531" y="2157289"/>
                </a:lnTo>
                <a:cubicBezTo>
                  <a:pt x="100927" y="2113718"/>
                  <a:pt x="122915" y="2087575"/>
                  <a:pt x="171287" y="2087575"/>
                </a:cubicBezTo>
                <a:lnTo>
                  <a:pt x="171750" y="2087575"/>
                </a:lnTo>
                <a:lnTo>
                  <a:pt x="171608" y="2087480"/>
                </a:lnTo>
                <a:cubicBezTo>
                  <a:pt x="175922" y="2070243"/>
                  <a:pt x="184548" y="2057316"/>
                  <a:pt x="193176" y="2040077"/>
                </a:cubicBezTo>
                <a:cubicBezTo>
                  <a:pt x="214743" y="2022840"/>
                  <a:pt x="240624" y="2005602"/>
                  <a:pt x="262191" y="1988367"/>
                </a:cubicBezTo>
                <a:lnTo>
                  <a:pt x="262191" y="1989654"/>
                </a:lnTo>
                <a:lnTo>
                  <a:pt x="262483" y="1986442"/>
                </a:lnTo>
                <a:cubicBezTo>
                  <a:pt x="271228" y="1968956"/>
                  <a:pt x="279970" y="1955840"/>
                  <a:pt x="288714" y="1942725"/>
                </a:cubicBezTo>
                <a:lnTo>
                  <a:pt x="290037" y="1941160"/>
                </a:lnTo>
                <a:lnTo>
                  <a:pt x="302284" y="1896963"/>
                </a:lnTo>
                <a:lnTo>
                  <a:pt x="337051" y="1868615"/>
                </a:lnTo>
                <a:lnTo>
                  <a:pt x="316401" y="1847552"/>
                </a:lnTo>
                <a:lnTo>
                  <a:pt x="317641" y="1845046"/>
                </a:lnTo>
                <a:lnTo>
                  <a:pt x="315989" y="1846254"/>
                </a:lnTo>
                <a:cubicBezTo>
                  <a:pt x="285091" y="1784651"/>
                  <a:pt x="249780" y="1731851"/>
                  <a:pt x="170330" y="1771452"/>
                </a:cubicBezTo>
                <a:cubicBezTo>
                  <a:pt x="139432" y="1718649"/>
                  <a:pt x="179157" y="1696650"/>
                  <a:pt x="214469" y="1674647"/>
                </a:cubicBezTo>
                <a:lnTo>
                  <a:pt x="214895" y="1674717"/>
                </a:lnTo>
                <a:lnTo>
                  <a:pt x="262939" y="1626215"/>
                </a:lnTo>
                <a:lnTo>
                  <a:pt x="262774" y="1626050"/>
                </a:lnTo>
                <a:cubicBezTo>
                  <a:pt x="271584" y="1595551"/>
                  <a:pt x="285900" y="1569408"/>
                  <a:pt x="305723" y="1549253"/>
                </a:cubicBezTo>
                <a:lnTo>
                  <a:pt x="380762" y="1508917"/>
                </a:lnTo>
                <a:lnTo>
                  <a:pt x="381136" y="1508256"/>
                </a:lnTo>
                <a:lnTo>
                  <a:pt x="385494" y="1486327"/>
                </a:lnTo>
                <a:lnTo>
                  <a:pt x="359973" y="1460525"/>
                </a:lnTo>
                <a:lnTo>
                  <a:pt x="359302" y="1458148"/>
                </a:lnTo>
                <a:lnTo>
                  <a:pt x="359302" y="1460408"/>
                </a:lnTo>
                <a:cubicBezTo>
                  <a:pt x="328589" y="1447136"/>
                  <a:pt x="284713" y="1486955"/>
                  <a:pt x="262774" y="1433863"/>
                </a:cubicBezTo>
                <a:lnTo>
                  <a:pt x="263337" y="1433605"/>
                </a:lnTo>
                <a:lnTo>
                  <a:pt x="262774" y="1433525"/>
                </a:lnTo>
                <a:cubicBezTo>
                  <a:pt x="289125" y="1345453"/>
                  <a:pt x="359395" y="1266190"/>
                  <a:pt x="341828" y="1160505"/>
                </a:cubicBezTo>
                <a:cubicBezTo>
                  <a:pt x="333043" y="1125278"/>
                  <a:pt x="363787" y="1085648"/>
                  <a:pt x="412097" y="1085648"/>
                </a:cubicBezTo>
                <a:cubicBezTo>
                  <a:pt x="491150" y="1085648"/>
                  <a:pt x="504326" y="1037207"/>
                  <a:pt x="504326" y="975559"/>
                </a:cubicBezTo>
                <a:cubicBezTo>
                  <a:pt x="552636" y="944734"/>
                  <a:pt x="609731" y="931524"/>
                  <a:pt x="658040" y="909506"/>
                </a:cubicBezTo>
                <a:lnTo>
                  <a:pt x="662169" y="910178"/>
                </a:lnTo>
                <a:lnTo>
                  <a:pt x="714135" y="847884"/>
                </a:lnTo>
                <a:lnTo>
                  <a:pt x="792777" y="782421"/>
                </a:lnTo>
                <a:lnTo>
                  <a:pt x="762953" y="738639"/>
                </a:lnTo>
                <a:cubicBezTo>
                  <a:pt x="757472" y="721056"/>
                  <a:pt x="754186" y="702376"/>
                  <a:pt x="745416" y="686990"/>
                </a:cubicBezTo>
                <a:cubicBezTo>
                  <a:pt x="762953" y="669407"/>
                  <a:pt x="780491" y="656221"/>
                  <a:pt x="793643" y="638638"/>
                </a:cubicBezTo>
                <a:cubicBezTo>
                  <a:pt x="828719" y="629847"/>
                  <a:pt x="859409" y="621055"/>
                  <a:pt x="890101" y="616660"/>
                </a:cubicBezTo>
                <a:cubicBezTo>
                  <a:pt x="919694" y="589462"/>
                  <a:pt x="949289" y="563655"/>
                  <a:pt x="981226" y="557232"/>
                </a:cubicBezTo>
                <a:cubicBezTo>
                  <a:pt x="991870" y="555090"/>
                  <a:pt x="1002776" y="555104"/>
                  <a:pt x="1014027" y="557936"/>
                </a:cubicBezTo>
                <a:lnTo>
                  <a:pt x="1059447" y="584913"/>
                </a:lnTo>
                <a:lnTo>
                  <a:pt x="1104909" y="519168"/>
                </a:lnTo>
                <a:cubicBezTo>
                  <a:pt x="1122529" y="510408"/>
                  <a:pt x="1140150" y="501651"/>
                  <a:pt x="1157770" y="492891"/>
                </a:cubicBezTo>
                <a:cubicBezTo>
                  <a:pt x="1159973" y="488512"/>
                  <a:pt x="1163277" y="486321"/>
                  <a:pt x="1167131" y="486321"/>
                </a:cubicBezTo>
                <a:lnTo>
                  <a:pt x="1174904" y="490353"/>
                </a:lnTo>
                <a:lnTo>
                  <a:pt x="1187261" y="475339"/>
                </a:lnTo>
                <a:lnTo>
                  <a:pt x="1190018" y="473971"/>
                </a:lnTo>
                <a:lnTo>
                  <a:pt x="1205783" y="444448"/>
                </a:lnTo>
                <a:cubicBezTo>
                  <a:pt x="1218778" y="435599"/>
                  <a:pt x="1236103" y="431176"/>
                  <a:pt x="1249098" y="422327"/>
                </a:cubicBezTo>
                <a:lnTo>
                  <a:pt x="1249537" y="422317"/>
                </a:lnTo>
                <a:lnTo>
                  <a:pt x="1253866" y="400116"/>
                </a:lnTo>
                <a:cubicBezTo>
                  <a:pt x="1266938" y="382239"/>
                  <a:pt x="1280009" y="368833"/>
                  <a:pt x="1301795" y="373302"/>
                </a:cubicBezTo>
                <a:cubicBezTo>
                  <a:pt x="1314866" y="373302"/>
                  <a:pt x="1332295" y="373302"/>
                  <a:pt x="1345367" y="368833"/>
                </a:cubicBezTo>
                <a:lnTo>
                  <a:pt x="1345579" y="371444"/>
                </a:lnTo>
                <a:lnTo>
                  <a:pt x="1345703" y="370821"/>
                </a:lnTo>
                <a:cubicBezTo>
                  <a:pt x="1354416" y="357588"/>
                  <a:pt x="1363132" y="339942"/>
                  <a:pt x="1371846" y="326709"/>
                </a:cubicBezTo>
                <a:cubicBezTo>
                  <a:pt x="1397988" y="317887"/>
                  <a:pt x="1419775" y="348766"/>
                  <a:pt x="1441561" y="326709"/>
                </a:cubicBezTo>
                <a:lnTo>
                  <a:pt x="1442273" y="327719"/>
                </a:lnTo>
                <a:lnTo>
                  <a:pt x="1441971" y="326119"/>
                </a:lnTo>
                <a:cubicBezTo>
                  <a:pt x="1450776" y="277478"/>
                  <a:pt x="1441971" y="233261"/>
                  <a:pt x="1402346" y="189042"/>
                </a:cubicBezTo>
                <a:cubicBezTo>
                  <a:pt x="1490401" y="175776"/>
                  <a:pt x="1450776" y="286322"/>
                  <a:pt x="1516817" y="277478"/>
                </a:cubicBezTo>
                <a:cubicBezTo>
                  <a:pt x="1556440" y="259792"/>
                  <a:pt x="1600468" y="273057"/>
                  <a:pt x="1635690" y="250949"/>
                </a:cubicBezTo>
                <a:cubicBezTo>
                  <a:pt x="1692925" y="193464"/>
                  <a:pt x="1719341" y="264214"/>
                  <a:pt x="1758966" y="277478"/>
                </a:cubicBezTo>
                <a:cubicBezTo>
                  <a:pt x="1758966" y="286322"/>
                  <a:pt x="1758966" y="295166"/>
                  <a:pt x="1758966" y="304010"/>
                </a:cubicBezTo>
                <a:lnTo>
                  <a:pt x="1758545" y="305802"/>
                </a:lnTo>
                <a:lnTo>
                  <a:pt x="1782553" y="325736"/>
                </a:lnTo>
                <a:lnTo>
                  <a:pt x="1783259" y="325408"/>
                </a:lnTo>
                <a:cubicBezTo>
                  <a:pt x="1790921" y="318836"/>
                  <a:pt x="1798582" y="315549"/>
                  <a:pt x="1806244" y="314318"/>
                </a:cubicBezTo>
                <a:cubicBezTo>
                  <a:pt x="1829226" y="310621"/>
                  <a:pt x="1852209" y="325408"/>
                  <a:pt x="1875192" y="325408"/>
                </a:cubicBezTo>
                <a:lnTo>
                  <a:pt x="1878420" y="327715"/>
                </a:lnTo>
                <a:lnTo>
                  <a:pt x="1876943" y="324986"/>
                </a:lnTo>
                <a:cubicBezTo>
                  <a:pt x="1933102" y="320569"/>
                  <a:pt x="1954703" y="342650"/>
                  <a:pt x="1950383" y="395647"/>
                </a:cubicBezTo>
                <a:lnTo>
                  <a:pt x="1949567" y="395459"/>
                </a:lnTo>
                <a:lnTo>
                  <a:pt x="1949612" y="395517"/>
                </a:lnTo>
                <a:cubicBezTo>
                  <a:pt x="1949612" y="404279"/>
                  <a:pt x="1949612" y="413044"/>
                  <a:pt x="1949612" y="421807"/>
                </a:cubicBezTo>
                <a:lnTo>
                  <a:pt x="1951575" y="431625"/>
                </a:lnTo>
                <a:lnTo>
                  <a:pt x="1951575" y="421531"/>
                </a:lnTo>
                <a:cubicBezTo>
                  <a:pt x="2003413" y="417098"/>
                  <a:pt x="2055253" y="425967"/>
                  <a:pt x="2094133" y="465877"/>
                </a:cubicBezTo>
                <a:lnTo>
                  <a:pt x="2091356" y="466341"/>
                </a:lnTo>
                <a:lnTo>
                  <a:pt x="2095217" y="466836"/>
                </a:lnTo>
                <a:cubicBezTo>
                  <a:pt x="2121575" y="475685"/>
                  <a:pt x="2143539" y="457989"/>
                  <a:pt x="2165503" y="444717"/>
                </a:cubicBezTo>
                <a:lnTo>
                  <a:pt x="2167586" y="444950"/>
                </a:lnTo>
                <a:lnTo>
                  <a:pt x="2166529" y="443911"/>
                </a:lnTo>
                <a:cubicBezTo>
                  <a:pt x="2186190" y="405300"/>
                  <a:pt x="2213228" y="388407"/>
                  <a:pt x="2247639" y="391424"/>
                </a:cubicBezTo>
                <a:lnTo>
                  <a:pt x="2282405" y="400462"/>
                </a:lnTo>
                <a:lnTo>
                  <a:pt x="2284001" y="399962"/>
                </a:lnTo>
                <a:lnTo>
                  <a:pt x="2310259" y="369144"/>
                </a:lnTo>
                <a:lnTo>
                  <a:pt x="2310259" y="347168"/>
                </a:lnTo>
                <a:lnTo>
                  <a:pt x="2312731" y="346682"/>
                </a:lnTo>
                <a:lnTo>
                  <a:pt x="2358724" y="294651"/>
                </a:lnTo>
                <a:cubicBezTo>
                  <a:pt x="2384580" y="285712"/>
                  <a:pt x="2406126" y="285712"/>
                  <a:pt x="2431982" y="299118"/>
                </a:cubicBezTo>
                <a:lnTo>
                  <a:pt x="2385181" y="352064"/>
                </a:lnTo>
                <a:lnTo>
                  <a:pt x="2390035" y="376851"/>
                </a:lnTo>
                <a:cubicBezTo>
                  <a:pt x="2393886" y="384546"/>
                  <a:pt x="2400489" y="391142"/>
                  <a:pt x="2411493" y="395540"/>
                </a:cubicBezTo>
                <a:lnTo>
                  <a:pt x="2411440" y="395730"/>
                </a:lnTo>
                <a:lnTo>
                  <a:pt x="2480068" y="374196"/>
                </a:lnTo>
                <a:lnTo>
                  <a:pt x="2483309" y="377755"/>
                </a:lnTo>
                <a:lnTo>
                  <a:pt x="2481934" y="374441"/>
                </a:lnTo>
                <a:cubicBezTo>
                  <a:pt x="2499412" y="356890"/>
                  <a:pt x="2516890" y="343727"/>
                  <a:pt x="2534368" y="330563"/>
                </a:cubicBezTo>
                <a:lnTo>
                  <a:pt x="2536573" y="329801"/>
                </a:lnTo>
                <a:lnTo>
                  <a:pt x="2533874" y="329149"/>
                </a:lnTo>
                <a:cubicBezTo>
                  <a:pt x="2547073" y="285354"/>
                  <a:pt x="2586674" y="285354"/>
                  <a:pt x="2621876" y="276595"/>
                </a:cubicBezTo>
                <a:lnTo>
                  <a:pt x="2624625" y="274573"/>
                </a:lnTo>
                <a:lnTo>
                  <a:pt x="2649669" y="238031"/>
                </a:lnTo>
                <a:cubicBezTo>
                  <a:pt x="2683623" y="209172"/>
                  <a:pt x="2734046" y="207524"/>
                  <a:pt x="2769832" y="181139"/>
                </a:cubicBezTo>
                <a:lnTo>
                  <a:pt x="2766802" y="214937"/>
                </a:lnTo>
                <a:lnTo>
                  <a:pt x="2768128" y="213667"/>
                </a:lnTo>
                <a:lnTo>
                  <a:pt x="2771043" y="181139"/>
                </a:lnTo>
                <a:lnTo>
                  <a:pt x="2817941" y="133559"/>
                </a:lnTo>
                <a:lnTo>
                  <a:pt x="2818373" y="103180"/>
                </a:lnTo>
                <a:cubicBezTo>
                  <a:pt x="2828071" y="79983"/>
                  <a:pt x="2861908" y="84866"/>
                  <a:pt x="2888316" y="84866"/>
                </a:cubicBezTo>
                <a:cubicBezTo>
                  <a:pt x="2910322" y="76184"/>
                  <a:pt x="2936732" y="71842"/>
                  <a:pt x="2958738" y="63160"/>
                </a:cubicBezTo>
                <a:cubicBezTo>
                  <a:pt x="2965342" y="71842"/>
                  <a:pt x="2973045" y="77268"/>
                  <a:pt x="2981297" y="80525"/>
                </a:cubicBezTo>
                <a:lnTo>
                  <a:pt x="3005829" y="84643"/>
                </a:lnTo>
                <a:lnTo>
                  <a:pt x="3005791" y="84611"/>
                </a:lnTo>
                <a:cubicBezTo>
                  <a:pt x="3014677" y="75672"/>
                  <a:pt x="3023564" y="66736"/>
                  <a:pt x="3032450" y="57797"/>
                </a:cubicBezTo>
                <a:lnTo>
                  <a:pt x="3033280" y="57973"/>
                </a:lnTo>
                <a:lnTo>
                  <a:pt x="3034362" y="21069"/>
                </a:lnTo>
                <a:cubicBezTo>
                  <a:pt x="3035452" y="9428"/>
                  <a:pt x="3039809" y="559"/>
                  <a:pt x="3055059" y="559"/>
                </a:cubicBezTo>
                <a:cubicBezTo>
                  <a:pt x="3094273" y="-3875"/>
                  <a:pt x="3124774" y="18297"/>
                  <a:pt x="3129132" y="58209"/>
                </a:cubicBezTo>
                <a:lnTo>
                  <a:pt x="3129125" y="58216"/>
                </a:lnTo>
                <a:lnTo>
                  <a:pt x="3130204" y="57797"/>
                </a:lnTo>
                <a:cubicBezTo>
                  <a:pt x="3161308" y="138238"/>
                  <a:pt x="3072439" y="98017"/>
                  <a:pt x="3059109" y="133768"/>
                </a:cubicBezTo>
                <a:lnTo>
                  <a:pt x="3058413" y="133069"/>
                </a:lnTo>
                <a:lnTo>
                  <a:pt x="3052237" y="159280"/>
                </a:lnTo>
                <a:cubicBezTo>
                  <a:pt x="3048975" y="168139"/>
                  <a:pt x="3043538" y="175891"/>
                  <a:pt x="3032662" y="180322"/>
                </a:cubicBezTo>
                <a:lnTo>
                  <a:pt x="3031678" y="181757"/>
                </a:lnTo>
                <a:lnTo>
                  <a:pt x="3033274" y="181139"/>
                </a:lnTo>
                <a:lnTo>
                  <a:pt x="3058941" y="224091"/>
                </a:lnTo>
                <a:lnTo>
                  <a:pt x="3102318" y="228446"/>
                </a:lnTo>
                <a:lnTo>
                  <a:pt x="3101212" y="230888"/>
                </a:lnTo>
                <a:lnTo>
                  <a:pt x="3103254" y="229074"/>
                </a:lnTo>
                <a:cubicBezTo>
                  <a:pt x="3169012" y="172165"/>
                  <a:pt x="3217234" y="88989"/>
                  <a:pt x="3335596" y="84611"/>
                </a:cubicBezTo>
                <a:cubicBezTo>
                  <a:pt x="3274224" y="141521"/>
                  <a:pt x="3226001" y="185298"/>
                  <a:pt x="3177779" y="229074"/>
                </a:cubicBezTo>
                <a:lnTo>
                  <a:pt x="3177688" y="229576"/>
                </a:lnTo>
                <a:lnTo>
                  <a:pt x="3177800" y="229403"/>
                </a:lnTo>
                <a:cubicBezTo>
                  <a:pt x="3186502" y="229403"/>
                  <a:pt x="3190853" y="229403"/>
                  <a:pt x="3199555" y="229403"/>
                </a:cubicBezTo>
                <a:lnTo>
                  <a:pt x="3200608" y="231871"/>
                </a:lnTo>
                <a:lnTo>
                  <a:pt x="3200990" y="229594"/>
                </a:lnTo>
                <a:cubicBezTo>
                  <a:pt x="3239313" y="225740"/>
                  <a:pt x="3291046" y="191532"/>
                  <a:pt x="3297512" y="247964"/>
                </a:cubicBezTo>
                <a:lnTo>
                  <a:pt x="3297350" y="276646"/>
                </a:lnTo>
                <a:lnTo>
                  <a:pt x="3318919" y="292185"/>
                </a:lnTo>
                <a:cubicBezTo>
                  <a:pt x="3330808" y="296938"/>
                  <a:pt x="3343783" y="297661"/>
                  <a:pt x="3356680" y="297608"/>
                </a:cubicBezTo>
                <a:lnTo>
                  <a:pt x="3392528" y="298353"/>
                </a:lnTo>
                <a:lnTo>
                  <a:pt x="3414649" y="282248"/>
                </a:lnTo>
                <a:cubicBezTo>
                  <a:pt x="3439613" y="276636"/>
                  <a:pt x="3469570" y="296592"/>
                  <a:pt x="3489542" y="276636"/>
                </a:cubicBezTo>
                <a:cubicBezTo>
                  <a:pt x="3512842" y="349806"/>
                  <a:pt x="3463746" y="348143"/>
                  <a:pt x="3424634" y="355834"/>
                </a:cubicBezTo>
                <a:lnTo>
                  <a:pt x="3393994" y="368872"/>
                </a:lnTo>
                <a:lnTo>
                  <a:pt x="3393978" y="368906"/>
                </a:lnTo>
                <a:cubicBezTo>
                  <a:pt x="3385156" y="377723"/>
                  <a:pt x="3376335" y="386538"/>
                  <a:pt x="3367510" y="395353"/>
                </a:cubicBezTo>
                <a:lnTo>
                  <a:pt x="3367233" y="396343"/>
                </a:lnTo>
                <a:lnTo>
                  <a:pt x="3389221" y="439394"/>
                </a:lnTo>
                <a:lnTo>
                  <a:pt x="3389605" y="439769"/>
                </a:lnTo>
                <a:lnTo>
                  <a:pt x="3438156" y="418716"/>
                </a:lnTo>
                <a:cubicBezTo>
                  <a:pt x="3454467" y="412753"/>
                  <a:pt x="3470780" y="408315"/>
                  <a:pt x="3487091" y="406651"/>
                </a:cubicBezTo>
                <a:cubicBezTo>
                  <a:pt x="3503402" y="404987"/>
                  <a:pt x="3519714" y="406096"/>
                  <a:pt x="3536026" y="411227"/>
                </a:cubicBezTo>
                <a:lnTo>
                  <a:pt x="3548865" y="416931"/>
                </a:lnTo>
                <a:lnTo>
                  <a:pt x="3552144" y="400116"/>
                </a:lnTo>
                <a:cubicBezTo>
                  <a:pt x="3565216" y="382239"/>
                  <a:pt x="3578287" y="368833"/>
                  <a:pt x="3600073" y="373302"/>
                </a:cubicBezTo>
                <a:cubicBezTo>
                  <a:pt x="3613144" y="373302"/>
                  <a:pt x="3630573" y="373302"/>
                  <a:pt x="3643645" y="368833"/>
                </a:cubicBezTo>
                <a:lnTo>
                  <a:pt x="3643857" y="371444"/>
                </a:lnTo>
                <a:lnTo>
                  <a:pt x="3643981" y="370821"/>
                </a:lnTo>
                <a:cubicBezTo>
                  <a:pt x="3652694" y="357588"/>
                  <a:pt x="3661410" y="339942"/>
                  <a:pt x="3670124" y="326709"/>
                </a:cubicBezTo>
                <a:cubicBezTo>
                  <a:pt x="3696266" y="317887"/>
                  <a:pt x="3718053" y="348766"/>
                  <a:pt x="3739839" y="326709"/>
                </a:cubicBezTo>
                <a:lnTo>
                  <a:pt x="3740551" y="327719"/>
                </a:lnTo>
                <a:lnTo>
                  <a:pt x="3740249" y="326119"/>
                </a:lnTo>
                <a:cubicBezTo>
                  <a:pt x="3749054" y="277478"/>
                  <a:pt x="3740249" y="233261"/>
                  <a:pt x="3700624" y="189042"/>
                </a:cubicBezTo>
                <a:cubicBezTo>
                  <a:pt x="3788679" y="175776"/>
                  <a:pt x="3749054" y="286322"/>
                  <a:pt x="3815095" y="277478"/>
                </a:cubicBezTo>
                <a:cubicBezTo>
                  <a:pt x="3854718" y="259792"/>
                  <a:pt x="3898746" y="273057"/>
                  <a:pt x="3933968" y="250949"/>
                </a:cubicBezTo>
                <a:cubicBezTo>
                  <a:pt x="3955431" y="229392"/>
                  <a:pt x="3972560" y="225869"/>
                  <a:pt x="3987677" y="230584"/>
                </a:cubicBezTo>
                <a:lnTo>
                  <a:pt x="3996493" y="234891"/>
                </a:lnTo>
                <a:lnTo>
                  <a:pt x="4042007" y="197227"/>
                </a:lnTo>
                <a:lnTo>
                  <a:pt x="4042131" y="197322"/>
                </a:lnTo>
                <a:lnTo>
                  <a:pt x="4067038" y="176506"/>
                </a:lnTo>
                <a:lnTo>
                  <a:pt x="4068181" y="176645"/>
                </a:lnTo>
                <a:lnTo>
                  <a:pt x="4115972" y="132875"/>
                </a:lnTo>
                <a:cubicBezTo>
                  <a:pt x="4177537" y="137305"/>
                  <a:pt x="4133564" y="181605"/>
                  <a:pt x="4137961" y="203755"/>
                </a:cubicBezTo>
                <a:lnTo>
                  <a:pt x="4137986" y="204809"/>
                </a:lnTo>
                <a:lnTo>
                  <a:pt x="4139266" y="203260"/>
                </a:lnTo>
                <a:lnTo>
                  <a:pt x="4231175" y="181195"/>
                </a:lnTo>
                <a:lnTo>
                  <a:pt x="4231162" y="181139"/>
                </a:lnTo>
                <a:cubicBezTo>
                  <a:pt x="4241962" y="166124"/>
                  <a:pt x="4252762" y="155398"/>
                  <a:pt x="4265181" y="150036"/>
                </a:cubicBezTo>
                <a:lnTo>
                  <a:pt x="4307859" y="151081"/>
                </a:lnTo>
                <a:lnTo>
                  <a:pt x="4309010" y="150353"/>
                </a:lnTo>
                <a:cubicBezTo>
                  <a:pt x="4344047" y="132875"/>
                  <a:pt x="4344047" y="163462"/>
                  <a:pt x="4357188" y="180940"/>
                </a:cubicBezTo>
                <a:lnTo>
                  <a:pt x="4356918" y="181208"/>
                </a:lnTo>
                <a:lnTo>
                  <a:pt x="4357521" y="181197"/>
                </a:lnTo>
                <a:cubicBezTo>
                  <a:pt x="4383664" y="163626"/>
                  <a:pt x="4405449" y="146053"/>
                  <a:pt x="4427236" y="132875"/>
                </a:cubicBezTo>
                <a:cubicBezTo>
                  <a:pt x="4466450" y="154839"/>
                  <a:pt x="4496951" y="181197"/>
                  <a:pt x="4501308" y="229518"/>
                </a:cubicBezTo>
                <a:lnTo>
                  <a:pt x="4501015" y="230405"/>
                </a:lnTo>
                <a:lnTo>
                  <a:pt x="4502314" y="229087"/>
                </a:lnTo>
                <a:cubicBezTo>
                  <a:pt x="4554600" y="202590"/>
                  <a:pt x="4567671" y="246753"/>
                  <a:pt x="4563315" y="277667"/>
                </a:cubicBezTo>
                <a:cubicBezTo>
                  <a:pt x="4563315" y="326248"/>
                  <a:pt x="4585101" y="326248"/>
                  <a:pt x="4619959" y="326248"/>
                </a:cubicBezTo>
                <a:lnTo>
                  <a:pt x="4619644" y="326536"/>
                </a:lnTo>
                <a:lnTo>
                  <a:pt x="4620568" y="326170"/>
                </a:lnTo>
                <a:lnTo>
                  <a:pt x="4653771" y="298305"/>
                </a:lnTo>
                <a:lnTo>
                  <a:pt x="4657002" y="294651"/>
                </a:lnTo>
                <a:lnTo>
                  <a:pt x="4658406" y="294415"/>
                </a:lnTo>
                <a:lnTo>
                  <a:pt x="4673110" y="282076"/>
                </a:lnTo>
                <a:lnTo>
                  <a:pt x="4682779" y="290326"/>
                </a:lnTo>
                <a:lnTo>
                  <a:pt x="4693631" y="288505"/>
                </a:lnTo>
                <a:cubicBezTo>
                  <a:pt x="4705481" y="289064"/>
                  <a:pt x="4717331" y="292415"/>
                  <a:pt x="4730259" y="299118"/>
                </a:cubicBezTo>
                <a:lnTo>
                  <a:pt x="4720422" y="310248"/>
                </a:lnTo>
                <a:lnTo>
                  <a:pt x="4725907" y="311685"/>
                </a:lnTo>
                <a:cubicBezTo>
                  <a:pt x="4743198" y="311944"/>
                  <a:pt x="4760335" y="304606"/>
                  <a:pt x="4777780" y="295718"/>
                </a:cubicBezTo>
                <a:lnTo>
                  <a:pt x="4813055" y="277750"/>
                </a:lnTo>
                <a:lnTo>
                  <a:pt x="4813016" y="277725"/>
                </a:lnTo>
                <a:cubicBezTo>
                  <a:pt x="4839341" y="246974"/>
                  <a:pt x="4870054" y="233796"/>
                  <a:pt x="4909543" y="229403"/>
                </a:cubicBezTo>
                <a:lnTo>
                  <a:pt x="4910838" y="231570"/>
                </a:lnTo>
                <a:lnTo>
                  <a:pt x="4910973" y="229224"/>
                </a:lnTo>
                <a:cubicBezTo>
                  <a:pt x="4932323" y="226744"/>
                  <a:pt x="4946591" y="228449"/>
                  <a:pt x="4955971" y="233032"/>
                </a:cubicBezTo>
                <a:lnTo>
                  <a:pt x="4955990" y="233058"/>
                </a:lnTo>
                <a:lnTo>
                  <a:pt x="4976014" y="220677"/>
                </a:lnTo>
                <a:cubicBezTo>
                  <a:pt x="5006197" y="206802"/>
                  <a:pt x="5041270" y="200928"/>
                  <a:pt x="5068110" y="181139"/>
                </a:cubicBezTo>
                <a:lnTo>
                  <a:pt x="5065079" y="214937"/>
                </a:lnTo>
                <a:lnTo>
                  <a:pt x="5066405" y="213667"/>
                </a:lnTo>
                <a:lnTo>
                  <a:pt x="5069320" y="181139"/>
                </a:lnTo>
                <a:lnTo>
                  <a:pt x="5116219" y="133559"/>
                </a:lnTo>
                <a:lnTo>
                  <a:pt x="5116651" y="103180"/>
                </a:lnTo>
                <a:cubicBezTo>
                  <a:pt x="5126349" y="79983"/>
                  <a:pt x="5160186" y="84866"/>
                  <a:pt x="5186593" y="84866"/>
                </a:cubicBezTo>
                <a:cubicBezTo>
                  <a:pt x="5208599" y="76184"/>
                  <a:pt x="5235010" y="71842"/>
                  <a:pt x="5257015" y="63160"/>
                </a:cubicBezTo>
                <a:cubicBezTo>
                  <a:pt x="5263619" y="71842"/>
                  <a:pt x="5271322" y="77268"/>
                  <a:pt x="5279574" y="80525"/>
                </a:cubicBezTo>
                <a:lnTo>
                  <a:pt x="5304106" y="84643"/>
                </a:lnTo>
                <a:lnTo>
                  <a:pt x="5304068" y="84611"/>
                </a:lnTo>
                <a:cubicBezTo>
                  <a:pt x="5312954" y="75672"/>
                  <a:pt x="5321841" y="66736"/>
                  <a:pt x="5330728" y="57797"/>
                </a:cubicBezTo>
                <a:lnTo>
                  <a:pt x="5331557" y="57973"/>
                </a:lnTo>
                <a:lnTo>
                  <a:pt x="5332639" y="21069"/>
                </a:lnTo>
                <a:cubicBezTo>
                  <a:pt x="5333730" y="9428"/>
                  <a:pt x="5338087" y="559"/>
                  <a:pt x="5353337" y="55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28979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2475" cy="6091238"/>
          </a:xfrm>
          <a:custGeom>
            <a:avLst/>
            <a:gdLst>
              <a:gd name="connsiteX0" fmla="*/ 0 w 12182475"/>
              <a:gd name="connsiteY0" fmla="*/ 0 h 6091238"/>
              <a:gd name="connsiteX1" fmla="*/ 12182475 w 12182475"/>
              <a:gd name="connsiteY1" fmla="*/ 0 h 6091238"/>
              <a:gd name="connsiteX2" fmla="*/ 6091239 w 12182475"/>
              <a:gd name="connsiteY2" fmla="*/ 6091238 h 609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82475" h="6091238">
                <a:moveTo>
                  <a:pt x="0" y="0"/>
                </a:moveTo>
                <a:lnTo>
                  <a:pt x="12182475" y="0"/>
                </a:lnTo>
                <a:lnTo>
                  <a:pt x="6091239" y="60912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14906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286992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801260" y="0"/>
            <a:ext cx="9390741" cy="6858000"/>
          </a:xfrm>
          <a:custGeom>
            <a:avLst/>
            <a:gdLst>
              <a:gd name="connsiteX0" fmla="*/ 9390741 w 9390741"/>
              <a:gd name="connsiteY0" fmla="*/ 2744432 h 6858000"/>
              <a:gd name="connsiteX1" fmla="*/ 9390741 w 9390741"/>
              <a:gd name="connsiteY1" fmla="*/ 5258113 h 6858000"/>
              <a:gd name="connsiteX2" fmla="*/ 7810132 w 9390741"/>
              <a:gd name="connsiteY2" fmla="*/ 6858000 h 6858000"/>
              <a:gd name="connsiteX3" fmla="*/ 5326741 w 9390741"/>
              <a:gd name="connsiteY3" fmla="*/ 6858000 h 6858000"/>
              <a:gd name="connsiteX4" fmla="*/ 9390741 w 9390741"/>
              <a:gd name="connsiteY4" fmla="*/ 48575 h 6858000"/>
              <a:gd name="connsiteX5" fmla="*/ 9390741 w 9390741"/>
              <a:gd name="connsiteY5" fmla="*/ 2562256 h 6858000"/>
              <a:gd name="connsiteX6" fmla="*/ 5146761 w 9390741"/>
              <a:gd name="connsiteY6" fmla="*/ 6858000 h 6858000"/>
              <a:gd name="connsiteX7" fmla="*/ 2663371 w 9390741"/>
              <a:gd name="connsiteY7" fmla="*/ 6858000 h 6858000"/>
              <a:gd name="connsiteX8" fmla="*/ 6775360 w 9390741"/>
              <a:gd name="connsiteY8" fmla="*/ 0 h 6858000"/>
              <a:gd name="connsiteX9" fmla="*/ 9258751 w 9390741"/>
              <a:gd name="connsiteY9" fmla="*/ 0 h 6858000"/>
              <a:gd name="connsiteX10" fmla="*/ 2483391 w 9390741"/>
              <a:gd name="connsiteY10" fmla="*/ 6858000 h 6858000"/>
              <a:gd name="connsiteX11" fmla="*/ 0 w 939074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390741" h="6858000">
                <a:moveTo>
                  <a:pt x="9390741" y="2744432"/>
                </a:moveTo>
                <a:lnTo>
                  <a:pt x="9390741" y="5258113"/>
                </a:lnTo>
                <a:lnTo>
                  <a:pt x="7810132" y="6858000"/>
                </a:lnTo>
                <a:lnTo>
                  <a:pt x="5326741" y="6858000"/>
                </a:lnTo>
                <a:close/>
                <a:moveTo>
                  <a:pt x="9390741" y="48575"/>
                </a:moveTo>
                <a:lnTo>
                  <a:pt x="9390741" y="2562256"/>
                </a:lnTo>
                <a:lnTo>
                  <a:pt x="5146761" y="6858000"/>
                </a:lnTo>
                <a:lnTo>
                  <a:pt x="2663371" y="6858000"/>
                </a:lnTo>
                <a:close/>
                <a:moveTo>
                  <a:pt x="6775360" y="0"/>
                </a:moveTo>
                <a:lnTo>
                  <a:pt x="9258751" y="0"/>
                </a:lnTo>
                <a:lnTo>
                  <a:pt x="2483391" y="6858000"/>
                </a:lnTo>
                <a:lnTo>
                  <a:pt x="0" y="6858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7933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0" y="0"/>
            <a:ext cx="10840357" cy="5924740"/>
          </a:xfrm>
          <a:custGeom>
            <a:avLst/>
            <a:gdLst>
              <a:gd name="connsiteX0" fmla="*/ 0 w 10840357"/>
              <a:gd name="connsiteY0" fmla="*/ 3740338 h 5924740"/>
              <a:gd name="connsiteX1" fmla="*/ 1028701 w 10840357"/>
              <a:gd name="connsiteY1" fmla="*/ 4769040 h 5924740"/>
              <a:gd name="connsiteX2" fmla="*/ 0 w 10840357"/>
              <a:gd name="connsiteY2" fmla="*/ 5797742 h 5924740"/>
              <a:gd name="connsiteX3" fmla="*/ 2349501 w 10840357"/>
              <a:gd name="connsiteY3" fmla="*/ 3613340 h 5924740"/>
              <a:gd name="connsiteX4" fmla="*/ 3505201 w 10840357"/>
              <a:gd name="connsiteY4" fmla="*/ 4769040 h 5924740"/>
              <a:gd name="connsiteX5" fmla="*/ 2349501 w 10840357"/>
              <a:gd name="connsiteY5" fmla="*/ 5924740 h 5924740"/>
              <a:gd name="connsiteX6" fmla="*/ 1193801 w 10840357"/>
              <a:gd name="connsiteY6" fmla="*/ 4769040 h 5924740"/>
              <a:gd name="connsiteX7" fmla="*/ 6072414 w 10840357"/>
              <a:gd name="connsiteY7" fmla="*/ 2389330 h 5924740"/>
              <a:gd name="connsiteX8" fmla="*/ 7228114 w 10840357"/>
              <a:gd name="connsiteY8" fmla="*/ 3545030 h 5924740"/>
              <a:gd name="connsiteX9" fmla="*/ 6072414 w 10840357"/>
              <a:gd name="connsiteY9" fmla="*/ 4700730 h 5924740"/>
              <a:gd name="connsiteX10" fmla="*/ 4916714 w 10840357"/>
              <a:gd name="connsiteY10" fmla="*/ 3545030 h 5924740"/>
              <a:gd name="connsiteX11" fmla="*/ 3595916 w 10840357"/>
              <a:gd name="connsiteY11" fmla="*/ 2389330 h 5924740"/>
              <a:gd name="connsiteX12" fmla="*/ 4751615 w 10840357"/>
              <a:gd name="connsiteY12" fmla="*/ 3545030 h 5924740"/>
              <a:gd name="connsiteX13" fmla="*/ 3595916 w 10840357"/>
              <a:gd name="connsiteY13" fmla="*/ 4700730 h 5924740"/>
              <a:gd name="connsiteX14" fmla="*/ 2440216 w 10840357"/>
              <a:gd name="connsiteY14" fmla="*/ 3545030 h 5924740"/>
              <a:gd name="connsiteX15" fmla="*/ 1111252 w 10840357"/>
              <a:gd name="connsiteY15" fmla="*/ 2389330 h 5924740"/>
              <a:gd name="connsiteX16" fmla="*/ 2266952 w 10840357"/>
              <a:gd name="connsiteY16" fmla="*/ 3545030 h 5924740"/>
              <a:gd name="connsiteX17" fmla="*/ 1111252 w 10840357"/>
              <a:gd name="connsiteY17" fmla="*/ 4700730 h 5924740"/>
              <a:gd name="connsiteX18" fmla="*/ 0 w 10840357"/>
              <a:gd name="connsiteY18" fmla="*/ 3589478 h 5924740"/>
              <a:gd name="connsiteX19" fmla="*/ 0 w 10840357"/>
              <a:gd name="connsiteY19" fmla="*/ 3500582 h 5924740"/>
              <a:gd name="connsiteX20" fmla="*/ 0 w 10840357"/>
              <a:gd name="connsiteY20" fmla="*/ 1292320 h 5924740"/>
              <a:gd name="connsiteX21" fmla="*/ 1028701 w 10840357"/>
              <a:gd name="connsiteY21" fmla="*/ 2321020 h 5924740"/>
              <a:gd name="connsiteX22" fmla="*/ 0 w 10840357"/>
              <a:gd name="connsiteY22" fmla="*/ 3349721 h 5924740"/>
              <a:gd name="connsiteX23" fmla="*/ 4834164 w 10840357"/>
              <a:gd name="connsiteY23" fmla="*/ 1165321 h 5924740"/>
              <a:gd name="connsiteX24" fmla="*/ 5989864 w 10840357"/>
              <a:gd name="connsiteY24" fmla="*/ 2321020 h 5924740"/>
              <a:gd name="connsiteX25" fmla="*/ 4834164 w 10840357"/>
              <a:gd name="connsiteY25" fmla="*/ 3476720 h 5924740"/>
              <a:gd name="connsiteX26" fmla="*/ 3678466 w 10840357"/>
              <a:gd name="connsiteY26" fmla="*/ 2321020 h 5924740"/>
              <a:gd name="connsiteX27" fmla="*/ 2357666 w 10840357"/>
              <a:gd name="connsiteY27" fmla="*/ 1165321 h 5924740"/>
              <a:gd name="connsiteX28" fmla="*/ 3513367 w 10840357"/>
              <a:gd name="connsiteY28" fmla="*/ 2321020 h 5924740"/>
              <a:gd name="connsiteX29" fmla="*/ 2357666 w 10840357"/>
              <a:gd name="connsiteY29" fmla="*/ 3476720 h 5924740"/>
              <a:gd name="connsiteX30" fmla="*/ 1201966 w 10840357"/>
              <a:gd name="connsiteY30" fmla="*/ 2321020 h 5924740"/>
              <a:gd name="connsiteX31" fmla="*/ 7310664 w 10840357"/>
              <a:gd name="connsiteY31" fmla="*/ 1165320 h 5924740"/>
              <a:gd name="connsiteX32" fmla="*/ 8466364 w 10840357"/>
              <a:gd name="connsiteY32" fmla="*/ 2321020 h 5924740"/>
              <a:gd name="connsiteX33" fmla="*/ 7310664 w 10840357"/>
              <a:gd name="connsiteY33" fmla="*/ 3476720 h 5924740"/>
              <a:gd name="connsiteX34" fmla="*/ 6154964 w 10840357"/>
              <a:gd name="connsiteY34" fmla="*/ 2321020 h 5924740"/>
              <a:gd name="connsiteX35" fmla="*/ 8782955 w 10840357"/>
              <a:gd name="connsiteY35" fmla="*/ 0 h 5924740"/>
              <a:gd name="connsiteX36" fmla="*/ 10840357 w 10840357"/>
              <a:gd name="connsiteY36" fmla="*/ 0 h 5924740"/>
              <a:gd name="connsiteX37" fmla="*/ 9811656 w 10840357"/>
              <a:gd name="connsiteY37" fmla="*/ 1028701 h 5924740"/>
              <a:gd name="connsiteX38" fmla="*/ 8498388 w 10840357"/>
              <a:gd name="connsiteY38" fmla="*/ 0 h 5924740"/>
              <a:gd name="connsiteX39" fmla="*/ 8615768 w 10840357"/>
              <a:gd name="connsiteY39" fmla="*/ 0 h 5924740"/>
              <a:gd name="connsiteX40" fmla="*/ 9712778 w 10840357"/>
              <a:gd name="connsiteY40" fmla="*/ 1097010 h 5924740"/>
              <a:gd name="connsiteX41" fmla="*/ 8557078 w 10840357"/>
              <a:gd name="connsiteY41" fmla="*/ 2252710 h 5924740"/>
              <a:gd name="connsiteX42" fmla="*/ 7401378 w 10840357"/>
              <a:gd name="connsiteY42" fmla="*/ 1097010 h 5924740"/>
              <a:gd name="connsiteX43" fmla="*/ 6298292 w 10840357"/>
              <a:gd name="connsiteY43" fmla="*/ 0 h 5924740"/>
              <a:gd name="connsiteX44" fmla="*/ 8355692 w 10840357"/>
              <a:gd name="connsiteY44" fmla="*/ 0 h 5924740"/>
              <a:gd name="connsiteX45" fmla="*/ 7326992 w 10840357"/>
              <a:gd name="connsiteY45" fmla="*/ 1028700 h 5924740"/>
              <a:gd name="connsiteX46" fmla="*/ 6013725 w 10840357"/>
              <a:gd name="connsiteY46" fmla="*/ 0 h 5924740"/>
              <a:gd name="connsiteX47" fmla="*/ 6131103 w 10840357"/>
              <a:gd name="connsiteY47" fmla="*/ 0 h 5924740"/>
              <a:gd name="connsiteX48" fmla="*/ 7228114 w 10840357"/>
              <a:gd name="connsiteY48" fmla="*/ 1097011 h 5924740"/>
              <a:gd name="connsiteX49" fmla="*/ 6072414 w 10840357"/>
              <a:gd name="connsiteY49" fmla="*/ 2252710 h 5924740"/>
              <a:gd name="connsiteX50" fmla="*/ 4916714 w 10840357"/>
              <a:gd name="connsiteY50" fmla="*/ 1097011 h 5924740"/>
              <a:gd name="connsiteX51" fmla="*/ 3813628 w 10840357"/>
              <a:gd name="connsiteY51" fmla="*/ 0 h 5924740"/>
              <a:gd name="connsiteX52" fmla="*/ 5871029 w 10840357"/>
              <a:gd name="connsiteY52" fmla="*/ 0 h 5924740"/>
              <a:gd name="connsiteX53" fmla="*/ 4842329 w 10840357"/>
              <a:gd name="connsiteY53" fmla="*/ 1028701 h 5924740"/>
              <a:gd name="connsiteX54" fmla="*/ 3537228 w 10840357"/>
              <a:gd name="connsiteY54" fmla="*/ 0 h 5924740"/>
              <a:gd name="connsiteX55" fmla="*/ 3654606 w 10840357"/>
              <a:gd name="connsiteY55" fmla="*/ 0 h 5924740"/>
              <a:gd name="connsiteX56" fmla="*/ 4751615 w 10840357"/>
              <a:gd name="connsiteY56" fmla="*/ 1097011 h 5924740"/>
              <a:gd name="connsiteX57" fmla="*/ 3595917 w 10840357"/>
              <a:gd name="connsiteY57" fmla="*/ 2252711 h 5924740"/>
              <a:gd name="connsiteX58" fmla="*/ 2440217 w 10840357"/>
              <a:gd name="connsiteY58" fmla="*/ 1097011 h 5924740"/>
              <a:gd name="connsiteX59" fmla="*/ 1328965 w 10840357"/>
              <a:gd name="connsiteY59" fmla="*/ 0 h 5924740"/>
              <a:gd name="connsiteX60" fmla="*/ 3386368 w 10840357"/>
              <a:gd name="connsiteY60" fmla="*/ 0 h 5924740"/>
              <a:gd name="connsiteX61" fmla="*/ 2357667 w 10840357"/>
              <a:gd name="connsiteY61" fmla="*/ 1028701 h 5924740"/>
              <a:gd name="connsiteX62" fmla="*/ 1052564 w 10840357"/>
              <a:gd name="connsiteY62" fmla="*/ 0 h 5924740"/>
              <a:gd name="connsiteX63" fmla="*/ 1169942 w 10840357"/>
              <a:gd name="connsiteY63" fmla="*/ 0 h 5924740"/>
              <a:gd name="connsiteX64" fmla="*/ 2266953 w 10840357"/>
              <a:gd name="connsiteY64" fmla="*/ 1097011 h 5924740"/>
              <a:gd name="connsiteX65" fmla="*/ 1111253 w 10840357"/>
              <a:gd name="connsiteY65" fmla="*/ 2252711 h 5924740"/>
              <a:gd name="connsiteX66" fmla="*/ 0 w 10840357"/>
              <a:gd name="connsiteY66" fmla="*/ 1141458 h 5924740"/>
              <a:gd name="connsiteX67" fmla="*/ 0 w 10840357"/>
              <a:gd name="connsiteY67" fmla="*/ 1052564 h 5924740"/>
              <a:gd name="connsiteX68" fmla="*/ 0 w 10840357"/>
              <a:gd name="connsiteY68" fmla="*/ 0 h 5924740"/>
              <a:gd name="connsiteX69" fmla="*/ 901704 w 10840357"/>
              <a:gd name="connsiteY69" fmla="*/ 0 h 5924740"/>
              <a:gd name="connsiteX70" fmla="*/ 0 w 10840357"/>
              <a:gd name="connsiteY70" fmla="*/ 901704 h 5924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0840357" h="5924740">
                <a:moveTo>
                  <a:pt x="0" y="3740338"/>
                </a:moveTo>
                <a:lnTo>
                  <a:pt x="1028701" y="4769040"/>
                </a:lnTo>
                <a:lnTo>
                  <a:pt x="0" y="5797742"/>
                </a:lnTo>
                <a:close/>
                <a:moveTo>
                  <a:pt x="2349501" y="3613340"/>
                </a:moveTo>
                <a:lnTo>
                  <a:pt x="3505201" y="4769040"/>
                </a:lnTo>
                <a:lnTo>
                  <a:pt x="2349501" y="5924740"/>
                </a:lnTo>
                <a:lnTo>
                  <a:pt x="1193801" y="4769040"/>
                </a:lnTo>
                <a:close/>
                <a:moveTo>
                  <a:pt x="6072414" y="2389330"/>
                </a:moveTo>
                <a:lnTo>
                  <a:pt x="7228114" y="3545030"/>
                </a:lnTo>
                <a:lnTo>
                  <a:pt x="6072414" y="4700730"/>
                </a:lnTo>
                <a:lnTo>
                  <a:pt x="4916714" y="3545030"/>
                </a:lnTo>
                <a:close/>
                <a:moveTo>
                  <a:pt x="3595916" y="2389330"/>
                </a:moveTo>
                <a:lnTo>
                  <a:pt x="4751615" y="3545030"/>
                </a:lnTo>
                <a:lnTo>
                  <a:pt x="3595916" y="4700730"/>
                </a:lnTo>
                <a:lnTo>
                  <a:pt x="2440216" y="3545030"/>
                </a:lnTo>
                <a:close/>
                <a:moveTo>
                  <a:pt x="1111252" y="2389330"/>
                </a:moveTo>
                <a:lnTo>
                  <a:pt x="2266952" y="3545030"/>
                </a:lnTo>
                <a:lnTo>
                  <a:pt x="1111252" y="4700730"/>
                </a:lnTo>
                <a:lnTo>
                  <a:pt x="0" y="3589478"/>
                </a:lnTo>
                <a:lnTo>
                  <a:pt x="0" y="3500582"/>
                </a:lnTo>
                <a:close/>
                <a:moveTo>
                  <a:pt x="0" y="1292320"/>
                </a:moveTo>
                <a:lnTo>
                  <a:pt x="1028701" y="2321020"/>
                </a:lnTo>
                <a:lnTo>
                  <a:pt x="0" y="3349721"/>
                </a:lnTo>
                <a:close/>
                <a:moveTo>
                  <a:pt x="4834164" y="1165321"/>
                </a:moveTo>
                <a:lnTo>
                  <a:pt x="5989864" y="2321020"/>
                </a:lnTo>
                <a:lnTo>
                  <a:pt x="4834164" y="3476720"/>
                </a:lnTo>
                <a:lnTo>
                  <a:pt x="3678466" y="2321020"/>
                </a:lnTo>
                <a:close/>
                <a:moveTo>
                  <a:pt x="2357666" y="1165321"/>
                </a:moveTo>
                <a:lnTo>
                  <a:pt x="3513367" y="2321020"/>
                </a:lnTo>
                <a:lnTo>
                  <a:pt x="2357666" y="3476720"/>
                </a:lnTo>
                <a:lnTo>
                  <a:pt x="1201966" y="2321020"/>
                </a:lnTo>
                <a:close/>
                <a:moveTo>
                  <a:pt x="7310664" y="1165320"/>
                </a:moveTo>
                <a:lnTo>
                  <a:pt x="8466364" y="2321020"/>
                </a:lnTo>
                <a:lnTo>
                  <a:pt x="7310664" y="3476720"/>
                </a:lnTo>
                <a:lnTo>
                  <a:pt x="6154964" y="2321020"/>
                </a:lnTo>
                <a:close/>
                <a:moveTo>
                  <a:pt x="8782955" y="0"/>
                </a:moveTo>
                <a:lnTo>
                  <a:pt x="10840357" y="0"/>
                </a:lnTo>
                <a:lnTo>
                  <a:pt x="9811656" y="1028701"/>
                </a:lnTo>
                <a:close/>
                <a:moveTo>
                  <a:pt x="8498388" y="0"/>
                </a:moveTo>
                <a:lnTo>
                  <a:pt x="8615768" y="0"/>
                </a:lnTo>
                <a:lnTo>
                  <a:pt x="9712778" y="1097010"/>
                </a:lnTo>
                <a:lnTo>
                  <a:pt x="8557078" y="2252710"/>
                </a:lnTo>
                <a:lnTo>
                  <a:pt x="7401378" y="1097010"/>
                </a:lnTo>
                <a:close/>
                <a:moveTo>
                  <a:pt x="6298292" y="0"/>
                </a:moveTo>
                <a:lnTo>
                  <a:pt x="8355692" y="0"/>
                </a:lnTo>
                <a:lnTo>
                  <a:pt x="7326992" y="1028700"/>
                </a:lnTo>
                <a:close/>
                <a:moveTo>
                  <a:pt x="6013725" y="0"/>
                </a:moveTo>
                <a:lnTo>
                  <a:pt x="6131103" y="0"/>
                </a:lnTo>
                <a:lnTo>
                  <a:pt x="7228114" y="1097011"/>
                </a:lnTo>
                <a:lnTo>
                  <a:pt x="6072414" y="2252710"/>
                </a:lnTo>
                <a:lnTo>
                  <a:pt x="4916714" y="1097011"/>
                </a:lnTo>
                <a:close/>
                <a:moveTo>
                  <a:pt x="3813628" y="0"/>
                </a:moveTo>
                <a:lnTo>
                  <a:pt x="5871029" y="0"/>
                </a:lnTo>
                <a:lnTo>
                  <a:pt x="4842329" y="1028701"/>
                </a:lnTo>
                <a:close/>
                <a:moveTo>
                  <a:pt x="3537228" y="0"/>
                </a:moveTo>
                <a:lnTo>
                  <a:pt x="3654606" y="0"/>
                </a:lnTo>
                <a:lnTo>
                  <a:pt x="4751615" y="1097011"/>
                </a:lnTo>
                <a:lnTo>
                  <a:pt x="3595917" y="2252711"/>
                </a:lnTo>
                <a:lnTo>
                  <a:pt x="2440217" y="1097011"/>
                </a:lnTo>
                <a:close/>
                <a:moveTo>
                  <a:pt x="1328965" y="0"/>
                </a:moveTo>
                <a:lnTo>
                  <a:pt x="3386368" y="0"/>
                </a:lnTo>
                <a:lnTo>
                  <a:pt x="2357667" y="1028701"/>
                </a:lnTo>
                <a:close/>
                <a:moveTo>
                  <a:pt x="1052564" y="0"/>
                </a:moveTo>
                <a:lnTo>
                  <a:pt x="1169942" y="0"/>
                </a:lnTo>
                <a:lnTo>
                  <a:pt x="2266953" y="1097011"/>
                </a:lnTo>
                <a:lnTo>
                  <a:pt x="1111253" y="2252711"/>
                </a:lnTo>
                <a:lnTo>
                  <a:pt x="0" y="1141458"/>
                </a:lnTo>
                <a:lnTo>
                  <a:pt x="0" y="1052564"/>
                </a:lnTo>
                <a:close/>
                <a:moveTo>
                  <a:pt x="0" y="0"/>
                </a:moveTo>
                <a:lnTo>
                  <a:pt x="901704" y="0"/>
                </a:lnTo>
                <a:lnTo>
                  <a:pt x="0" y="90170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05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8336371" cy="6858000"/>
          </a:xfrm>
          <a:custGeom>
            <a:avLst/>
            <a:gdLst>
              <a:gd name="connsiteX0" fmla="*/ 0 w 7734300"/>
              <a:gd name="connsiteY0" fmla="*/ 0 h 6362700"/>
              <a:gd name="connsiteX1" fmla="*/ 4622749 w 7734300"/>
              <a:gd name="connsiteY1" fmla="*/ 0 h 6362700"/>
              <a:gd name="connsiteX2" fmla="*/ 7734300 w 7734300"/>
              <a:gd name="connsiteY2" fmla="*/ 3181350 h 6362700"/>
              <a:gd name="connsiteX3" fmla="*/ 4622749 w 7734300"/>
              <a:gd name="connsiteY3" fmla="*/ 6362700 h 6362700"/>
              <a:gd name="connsiteX4" fmla="*/ 0 w 7734300"/>
              <a:gd name="connsiteY4" fmla="*/ 6362700 h 636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34300" h="6362700">
                <a:moveTo>
                  <a:pt x="0" y="0"/>
                </a:moveTo>
                <a:lnTo>
                  <a:pt x="4622749" y="0"/>
                </a:lnTo>
                <a:lnTo>
                  <a:pt x="7734300" y="3181350"/>
                </a:lnTo>
                <a:lnTo>
                  <a:pt x="4622749" y="6362700"/>
                </a:lnTo>
                <a:lnTo>
                  <a:pt x="0" y="63627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2318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971324" y="0"/>
            <a:ext cx="10249355" cy="6858000"/>
          </a:xfrm>
          <a:custGeom>
            <a:avLst/>
            <a:gdLst>
              <a:gd name="connsiteX0" fmla="*/ 5124677 w 10249354"/>
              <a:gd name="connsiteY0" fmla="*/ 6088739 h 6858000"/>
              <a:gd name="connsiteX1" fmla="*/ 5893938 w 10249354"/>
              <a:gd name="connsiteY1" fmla="*/ 6858000 h 6858000"/>
              <a:gd name="connsiteX2" fmla="*/ 4355416 w 10249354"/>
              <a:gd name="connsiteY2" fmla="*/ 6858000 h 6858000"/>
              <a:gd name="connsiteX3" fmla="*/ 6395357 w 10249354"/>
              <a:gd name="connsiteY3" fmla="*/ 4785630 h 6858000"/>
              <a:gd name="connsiteX4" fmla="*/ 7624082 w 10249354"/>
              <a:gd name="connsiteY4" fmla="*/ 6014355 h 6858000"/>
              <a:gd name="connsiteX5" fmla="*/ 6780437 w 10249354"/>
              <a:gd name="connsiteY5" fmla="*/ 6858000 h 6858000"/>
              <a:gd name="connsiteX6" fmla="*/ 6010277 w 10249354"/>
              <a:gd name="connsiteY6" fmla="*/ 6858000 h 6858000"/>
              <a:gd name="connsiteX7" fmla="*/ 5166632 w 10249354"/>
              <a:gd name="connsiteY7" fmla="*/ 6014355 h 6858000"/>
              <a:gd name="connsiteX8" fmla="*/ 3853996 w 10249354"/>
              <a:gd name="connsiteY8" fmla="*/ 4785630 h 6858000"/>
              <a:gd name="connsiteX9" fmla="*/ 5082721 w 10249354"/>
              <a:gd name="connsiteY9" fmla="*/ 6014355 h 6858000"/>
              <a:gd name="connsiteX10" fmla="*/ 4239076 w 10249354"/>
              <a:gd name="connsiteY10" fmla="*/ 6858000 h 6858000"/>
              <a:gd name="connsiteX11" fmla="*/ 3468917 w 10249354"/>
              <a:gd name="connsiteY11" fmla="*/ 6858000 h 6858000"/>
              <a:gd name="connsiteX12" fmla="*/ 2625272 w 10249354"/>
              <a:gd name="connsiteY12" fmla="*/ 6014355 h 6858000"/>
              <a:gd name="connsiteX13" fmla="*/ 2541361 w 10249354"/>
              <a:gd name="connsiteY13" fmla="*/ 3482521 h 6858000"/>
              <a:gd name="connsiteX14" fmla="*/ 3770085 w 10249354"/>
              <a:gd name="connsiteY14" fmla="*/ 4711246 h 6858000"/>
              <a:gd name="connsiteX15" fmla="*/ 2541361 w 10249354"/>
              <a:gd name="connsiteY15" fmla="*/ 5939971 h 6858000"/>
              <a:gd name="connsiteX16" fmla="*/ 1312636 w 10249354"/>
              <a:gd name="connsiteY16" fmla="*/ 4711246 h 6858000"/>
              <a:gd name="connsiteX17" fmla="*/ 7707993 w 10249354"/>
              <a:gd name="connsiteY17" fmla="*/ 3482067 h 6858000"/>
              <a:gd name="connsiteX18" fmla="*/ 8936718 w 10249354"/>
              <a:gd name="connsiteY18" fmla="*/ 4710792 h 6858000"/>
              <a:gd name="connsiteX19" fmla="*/ 7707993 w 10249354"/>
              <a:gd name="connsiteY19" fmla="*/ 5939517 h 6858000"/>
              <a:gd name="connsiteX20" fmla="*/ 6479268 w 10249354"/>
              <a:gd name="connsiteY20" fmla="*/ 4710792 h 6858000"/>
              <a:gd name="connsiteX21" fmla="*/ 9020629 w 10249354"/>
              <a:gd name="connsiteY21" fmla="*/ 2168526 h 6858000"/>
              <a:gd name="connsiteX22" fmla="*/ 10249354 w 10249354"/>
              <a:gd name="connsiteY22" fmla="*/ 3397250 h 6858000"/>
              <a:gd name="connsiteX23" fmla="*/ 9020629 w 10249354"/>
              <a:gd name="connsiteY23" fmla="*/ 4625975 h 6858000"/>
              <a:gd name="connsiteX24" fmla="*/ 7791904 w 10249354"/>
              <a:gd name="connsiteY24" fmla="*/ 3397250 h 6858000"/>
              <a:gd name="connsiteX25" fmla="*/ 1228725 w 10249354"/>
              <a:gd name="connsiteY25" fmla="*/ 2168526 h 6858000"/>
              <a:gd name="connsiteX26" fmla="*/ 2457450 w 10249354"/>
              <a:gd name="connsiteY26" fmla="*/ 3397250 h 6858000"/>
              <a:gd name="connsiteX27" fmla="*/ 1228725 w 10249354"/>
              <a:gd name="connsiteY27" fmla="*/ 4625975 h 6858000"/>
              <a:gd name="connsiteX28" fmla="*/ 0 w 10249354"/>
              <a:gd name="connsiteY28" fmla="*/ 3397250 h 6858000"/>
              <a:gd name="connsiteX29" fmla="*/ 7707993 w 10249354"/>
              <a:gd name="connsiteY29" fmla="*/ 854984 h 6858000"/>
              <a:gd name="connsiteX30" fmla="*/ 8936718 w 10249354"/>
              <a:gd name="connsiteY30" fmla="*/ 2083709 h 6858000"/>
              <a:gd name="connsiteX31" fmla="*/ 7707993 w 10249354"/>
              <a:gd name="connsiteY31" fmla="*/ 3312433 h 6858000"/>
              <a:gd name="connsiteX32" fmla="*/ 6479268 w 10249354"/>
              <a:gd name="connsiteY32" fmla="*/ 2083709 h 6858000"/>
              <a:gd name="connsiteX33" fmla="*/ 2541361 w 10249354"/>
              <a:gd name="connsiteY33" fmla="*/ 854984 h 6858000"/>
              <a:gd name="connsiteX34" fmla="*/ 3770085 w 10249354"/>
              <a:gd name="connsiteY34" fmla="*/ 2083709 h 6858000"/>
              <a:gd name="connsiteX35" fmla="*/ 2541361 w 10249354"/>
              <a:gd name="connsiteY35" fmla="*/ 3312433 h 6858000"/>
              <a:gd name="connsiteX36" fmla="*/ 1312636 w 10249354"/>
              <a:gd name="connsiteY36" fmla="*/ 2083709 h 6858000"/>
              <a:gd name="connsiteX37" fmla="*/ 5945416 w 10249354"/>
              <a:gd name="connsiteY37" fmla="*/ 0 h 6858000"/>
              <a:gd name="connsiteX38" fmla="*/ 6845298 w 10249354"/>
              <a:gd name="connsiteY38" fmla="*/ 0 h 6858000"/>
              <a:gd name="connsiteX39" fmla="*/ 7624082 w 10249354"/>
              <a:gd name="connsiteY39" fmla="*/ 778784 h 6858000"/>
              <a:gd name="connsiteX40" fmla="*/ 6395357 w 10249354"/>
              <a:gd name="connsiteY40" fmla="*/ 2007509 h 6858000"/>
              <a:gd name="connsiteX41" fmla="*/ 5166632 w 10249354"/>
              <a:gd name="connsiteY41" fmla="*/ 778784 h 6858000"/>
              <a:gd name="connsiteX42" fmla="*/ 4420960 w 10249354"/>
              <a:gd name="connsiteY42" fmla="*/ 0 h 6858000"/>
              <a:gd name="connsiteX43" fmla="*/ 5826129 w 10249354"/>
              <a:gd name="connsiteY43" fmla="*/ 0 h 6858000"/>
              <a:gd name="connsiteX44" fmla="*/ 5123544 w 10249354"/>
              <a:gd name="connsiteY44" fmla="*/ 702584 h 6858000"/>
              <a:gd name="connsiteX45" fmla="*/ 3404056 w 10249354"/>
              <a:gd name="connsiteY45" fmla="*/ 0 h 6858000"/>
              <a:gd name="connsiteX46" fmla="*/ 4303937 w 10249354"/>
              <a:gd name="connsiteY46" fmla="*/ 0 h 6858000"/>
              <a:gd name="connsiteX47" fmla="*/ 5082721 w 10249354"/>
              <a:gd name="connsiteY47" fmla="*/ 778784 h 6858000"/>
              <a:gd name="connsiteX48" fmla="*/ 3853996 w 10249354"/>
              <a:gd name="connsiteY48" fmla="*/ 2007509 h 6858000"/>
              <a:gd name="connsiteX49" fmla="*/ 2625272 w 10249354"/>
              <a:gd name="connsiteY49" fmla="*/ 77878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0249354" h="6858000">
                <a:moveTo>
                  <a:pt x="5124677" y="6088739"/>
                </a:moveTo>
                <a:lnTo>
                  <a:pt x="5893938" y="6858000"/>
                </a:lnTo>
                <a:lnTo>
                  <a:pt x="4355416" y="6858000"/>
                </a:lnTo>
                <a:close/>
                <a:moveTo>
                  <a:pt x="6395357" y="4785630"/>
                </a:moveTo>
                <a:lnTo>
                  <a:pt x="7624082" y="6014355"/>
                </a:lnTo>
                <a:lnTo>
                  <a:pt x="6780437" y="6858000"/>
                </a:lnTo>
                <a:lnTo>
                  <a:pt x="6010277" y="6858000"/>
                </a:lnTo>
                <a:lnTo>
                  <a:pt x="5166632" y="6014355"/>
                </a:lnTo>
                <a:close/>
                <a:moveTo>
                  <a:pt x="3853996" y="4785630"/>
                </a:moveTo>
                <a:lnTo>
                  <a:pt x="5082721" y="6014355"/>
                </a:lnTo>
                <a:lnTo>
                  <a:pt x="4239076" y="6858000"/>
                </a:lnTo>
                <a:lnTo>
                  <a:pt x="3468917" y="6858000"/>
                </a:lnTo>
                <a:lnTo>
                  <a:pt x="2625272" y="6014355"/>
                </a:lnTo>
                <a:close/>
                <a:moveTo>
                  <a:pt x="2541361" y="3482521"/>
                </a:moveTo>
                <a:lnTo>
                  <a:pt x="3770085" y="4711246"/>
                </a:lnTo>
                <a:lnTo>
                  <a:pt x="2541361" y="5939971"/>
                </a:lnTo>
                <a:lnTo>
                  <a:pt x="1312636" y="4711246"/>
                </a:lnTo>
                <a:close/>
                <a:moveTo>
                  <a:pt x="7707993" y="3482067"/>
                </a:moveTo>
                <a:lnTo>
                  <a:pt x="8936718" y="4710792"/>
                </a:lnTo>
                <a:lnTo>
                  <a:pt x="7707993" y="5939517"/>
                </a:lnTo>
                <a:lnTo>
                  <a:pt x="6479268" y="4710792"/>
                </a:lnTo>
                <a:close/>
                <a:moveTo>
                  <a:pt x="9020629" y="2168526"/>
                </a:moveTo>
                <a:lnTo>
                  <a:pt x="10249354" y="3397250"/>
                </a:lnTo>
                <a:lnTo>
                  <a:pt x="9020629" y="4625975"/>
                </a:lnTo>
                <a:lnTo>
                  <a:pt x="7791904" y="3397250"/>
                </a:lnTo>
                <a:close/>
                <a:moveTo>
                  <a:pt x="1228725" y="2168526"/>
                </a:moveTo>
                <a:lnTo>
                  <a:pt x="2457450" y="3397250"/>
                </a:lnTo>
                <a:lnTo>
                  <a:pt x="1228725" y="4625975"/>
                </a:lnTo>
                <a:lnTo>
                  <a:pt x="0" y="3397250"/>
                </a:lnTo>
                <a:close/>
                <a:moveTo>
                  <a:pt x="7707993" y="854984"/>
                </a:moveTo>
                <a:lnTo>
                  <a:pt x="8936718" y="2083709"/>
                </a:lnTo>
                <a:lnTo>
                  <a:pt x="7707993" y="3312433"/>
                </a:lnTo>
                <a:lnTo>
                  <a:pt x="6479268" y="2083709"/>
                </a:lnTo>
                <a:close/>
                <a:moveTo>
                  <a:pt x="2541361" y="854984"/>
                </a:moveTo>
                <a:lnTo>
                  <a:pt x="3770085" y="2083709"/>
                </a:lnTo>
                <a:lnTo>
                  <a:pt x="2541361" y="3312433"/>
                </a:lnTo>
                <a:lnTo>
                  <a:pt x="1312636" y="2083709"/>
                </a:lnTo>
                <a:close/>
                <a:moveTo>
                  <a:pt x="5945416" y="0"/>
                </a:moveTo>
                <a:lnTo>
                  <a:pt x="6845298" y="0"/>
                </a:lnTo>
                <a:lnTo>
                  <a:pt x="7624082" y="778784"/>
                </a:lnTo>
                <a:lnTo>
                  <a:pt x="6395357" y="2007509"/>
                </a:lnTo>
                <a:lnTo>
                  <a:pt x="5166632" y="778784"/>
                </a:lnTo>
                <a:close/>
                <a:moveTo>
                  <a:pt x="4420960" y="0"/>
                </a:moveTo>
                <a:lnTo>
                  <a:pt x="5826129" y="0"/>
                </a:lnTo>
                <a:lnTo>
                  <a:pt x="5123544" y="702584"/>
                </a:lnTo>
                <a:close/>
                <a:moveTo>
                  <a:pt x="3404056" y="0"/>
                </a:moveTo>
                <a:lnTo>
                  <a:pt x="4303937" y="0"/>
                </a:lnTo>
                <a:lnTo>
                  <a:pt x="5082721" y="778784"/>
                </a:lnTo>
                <a:lnTo>
                  <a:pt x="3853996" y="2007509"/>
                </a:lnTo>
                <a:lnTo>
                  <a:pt x="2625272" y="77878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1252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Footer &amp;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909348" y="1"/>
            <a:ext cx="9282655" cy="6787244"/>
          </a:xfrm>
          <a:custGeom>
            <a:avLst/>
            <a:gdLst>
              <a:gd name="connsiteX0" fmla="*/ 0 w 9282655"/>
              <a:gd name="connsiteY0" fmla="*/ 0 h 6787244"/>
              <a:gd name="connsiteX1" fmla="*/ 9282655 w 9282655"/>
              <a:gd name="connsiteY1" fmla="*/ 0 h 6787244"/>
              <a:gd name="connsiteX2" fmla="*/ 9282655 w 9282655"/>
              <a:gd name="connsiteY2" fmla="*/ 4291831 h 6787244"/>
              <a:gd name="connsiteX3" fmla="*/ 6787243 w 9282655"/>
              <a:gd name="connsiteY3" fmla="*/ 6787244 h 678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82655" h="6787244">
                <a:moveTo>
                  <a:pt x="0" y="0"/>
                </a:moveTo>
                <a:lnTo>
                  <a:pt x="9282655" y="0"/>
                </a:lnTo>
                <a:lnTo>
                  <a:pt x="9282655" y="4291831"/>
                </a:lnTo>
                <a:lnTo>
                  <a:pt x="6787243" y="678724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448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4"/>
            <a:ext cx="6743348" cy="6857999"/>
          </a:xfrm>
          <a:custGeom>
            <a:avLst/>
            <a:gdLst>
              <a:gd name="connsiteX0" fmla="*/ 1867233 w 6743348"/>
              <a:gd name="connsiteY0" fmla="*/ 0 h 6857999"/>
              <a:gd name="connsiteX1" fmla="*/ 6743348 w 6743348"/>
              <a:gd name="connsiteY1" fmla="*/ 0 h 6857999"/>
              <a:gd name="connsiteX2" fmla="*/ 0 w 6743348"/>
              <a:gd name="connsiteY2" fmla="*/ 6857999 h 6857999"/>
              <a:gd name="connsiteX3" fmla="*/ 0 w 6743348"/>
              <a:gd name="connsiteY3" fmla="*/ 189898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43348" h="6857999">
                <a:moveTo>
                  <a:pt x="1867233" y="0"/>
                </a:moveTo>
                <a:lnTo>
                  <a:pt x="6743348" y="0"/>
                </a:lnTo>
                <a:lnTo>
                  <a:pt x="0" y="6857999"/>
                </a:lnTo>
                <a:lnTo>
                  <a:pt x="0" y="189898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5796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34"/>
          </p:nvPr>
        </p:nvSpPr>
        <p:spPr>
          <a:xfrm>
            <a:off x="5242716" y="0"/>
            <a:ext cx="7078587" cy="6858000"/>
          </a:xfrm>
          <a:custGeom>
            <a:avLst/>
            <a:gdLst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1008756 w 10732631"/>
              <a:gd name="connsiteY47" fmla="*/ 1525191 h 6858000"/>
              <a:gd name="connsiteX48" fmla="*/ 2017511 w 10732631"/>
              <a:gd name="connsiteY48" fmla="*/ 2533946 h 6858000"/>
              <a:gd name="connsiteX49" fmla="*/ 2017511 w 10732631"/>
              <a:gd name="connsiteY49" fmla="*/ 2953645 h 6858000"/>
              <a:gd name="connsiteX50" fmla="*/ 1008756 w 10732631"/>
              <a:gd name="connsiteY50" fmla="*/ 3962400 h 6858000"/>
              <a:gd name="connsiteX51" fmla="*/ 0 w 10732631"/>
              <a:gd name="connsiteY51" fmla="*/ 2953645 h 6858000"/>
              <a:gd name="connsiteX52" fmla="*/ 0 w 10732631"/>
              <a:gd name="connsiteY52" fmla="*/ 2533946 h 6858000"/>
              <a:gd name="connsiteX53" fmla="*/ 1008756 w 10732631"/>
              <a:gd name="connsiteY53" fmla="*/ 1525191 h 6858000"/>
              <a:gd name="connsiteX54" fmla="*/ 8378524 w 10732631"/>
              <a:gd name="connsiteY54" fmla="*/ 743773 h 6858000"/>
              <a:gd name="connsiteX55" fmla="*/ 8635051 w 10732631"/>
              <a:gd name="connsiteY55" fmla="*/ 850031 h 6858000"/>
              <a:gd name="connsiteX56" fmla="*/ 10340228 w 10732631"/>
              <a:gd name="connsiteY56" fmla="*/ 2555209 h 6858000"/>
              <a:gd name="connsiteX57" fmla="*/ 10340228 w 10732631"/>
              <a:gd name="connsiteY57" fmla="*/ 3068265 h 6858000"/>
              <a:gd name="connsiteX58" fmla="*/ 10340228 w 10732631"/>
              <a:gd name="connsiteY58" fmla="*/ 3068263 h 6858000"/>
              <a:gd name="connsiteX59" fmla="*/ 9827172 w 10732631"/>
              <a:gd name="connsiteY59" fmla="*/ 3068263 h 6858000"/>
              <a:gd name="connsiteX60" fmla="*/ 8121996 w 10732631"/>
              <a:gd name="connsiteY60" fmla="*/ 1363086 h 6858000"/>
              <a:gd name="connsiteX61" fmla="*/ 8121996 w 10732631"/>
              <a:gd name="connsiteY61" fmla="*/ 850031 h 6858000"/>
              <a:gd name="connsiteX62" fmla="*/ 8378524 w 10732631"/>
              <a:gd name="connsiteY62" fmla="*/ 743773 h 6858000"/>
              <a:gd name="connsiteX63" fmla="*/ 7062200 w 10732631"/>
              <a:gd name="connsiteY63" fmla="*/ 612697 h 6858000"/>
              <a:gd name="connsiteX64" fmla="*/ 7318728 w 10732631"/>
              <a:gd name="connsiteY64" fmla="*/ 718955 h 6858000"/>
              <a:gd name="connsiteX65" fmla="*/ 10488805 w 10732631"/>
              <a:gd name="connsiteY65" fmla="*/ 3889033 h 6858000"/>
              <a:gd name="connsiteX66" fmla="*/ 10488805 w 10732631"/>
              <a:gd name="connsiteY66" fmla="*/ 4402089 h 6858000"/>
              <a:gd name="connsiteX67" fmla="*/ 10488805 w 10732631"/>
              <a:gd name="connsiteY67" fmla="*/ 4402087 h 6858000"/>
              <a:gd name="connsiteX68" fmla="*/ 9975750 w 10732631"/>
              <a:gd name="connsiteY68" fmla="*/ 4402087 h 6858000"/>
              <a:gd name="connsiteX69" fmla="*/ 6805673 w 10732631"/>
              <a:gd name="connsiteY69" fmla="*/ 1232010 h 6858000"/>
              <a:gd name="connsiteX70" fmla="*/ 6805673 w 10732631"/>
              <a:gd name="connsiteY70" fmla="*/ 718955 h 6858000"/>
              <a:gd name="connsiteX71" fmla="*/ 7062200 w 10732631"/>
              <a:gd name="connsiteY71" fmla="*/ 612697 h 6858000"/>
              <a:gd name="connsiteX72" fmla="*/ 4371995 w 10732631"/>
              <a:gd name="connsiteY72" fmla="*/ 0 h 6858000"/>
              <a:gd name="connsiteX73" fmla="*/ 5398106 w 10732631"/>
              <a:gd name="connsiteY73" fmla="*/ 0 h 6858000"/>
              <a:gd name="connsiteX74" fmla="*/ 10678822 w 10732631"/>
              <a:gd name="connsiteY74" fmla="*/ 5280718 h 6858000"/>
              <a:gd name="connsiteX75" fmla="*/ 10725310 w 10732631"/>
              <a:gd name="connsiteY75" fmla="*/ 5337629 h 6858000"/>
              <a:gd name="connsiteX76" fmla="*/ 10732631 w 10732631"/>
              <a:gd name="connsiteY76" fmla="*/ 5351542 h 6858000"/>
              <a:gd name="connsiteX77" fmla="*/ 10732631 w 10732631"/>
              <a:gd name="connsiteY77" fmla="*/ 5722950 h 6858000"/>
              <a:gd name="connsiteX78" fmla="*/ 10725310 w 10732631"/>
              <a:gd name="connsiteY78" fmla="*/ 5736863 h 6858000"/>
              <a:gd name="connsiteX79" fmla="*/ 10678822 w 10732631"/>
              <a:gd name="connsiteY79" fmla="*/ 5793774 h 6858000"/>
              <a:gd name="connsiteX80" fmla="*/ 10678822 w 10732631"/>
              <a:gd name="connsiteY80" fmla="*/ 5793772 h 6858000"/>
              <a:gd name="connsiteX81" fmla="*/ 10165767 w 10732631"/>
              <a:gd name="connsiteY81" fmla="*/ 5793772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2017511 w 10732631"/>
              <a:gd name="connsiteY48" fmla="*/ 2533946 h 6858000"/>
              <a:gd name="connsiteX49" fmla="*/ 2017511 w 10732631"/>
              <a:gd name="connsiteY49" fmla="*/ 2953645 h 6858000"/>
              <a:gd name="connsiteX50" fmla="*/ 1008756 w 10732631"/>
              <a:gd name="connsiteY50" fmla="*/ 3962400 h 6858000"/>
              <a:gd name="connsiteX51" fmla="*/ 0 w 10732631"/>
              <a:gd name="connsiteY51" fmla="*/ 2953645 h 6858000"/>
              <a:gd name="connsiteX52" fmla="*/ 0 w 10732631"/>
              <a:gd name="connsiteY52" fmla="*/ 2533946 h 6858000"/>
              <a:gd name="connsiteX53" fmla="*/ 8378524 w 10732631"/>
              <a:gd name="connsiteY53" fmla="*/ 743773 h 6858000"/>
              <a:gd name="connsiteX54" fmla="*/ 8635051 w 10732631"/>
              <a:gd name="connsiteY54" fmla="*/ 850031 h 6858000"/>
              <a:gd name="connsiteX55" fmla="*/ 10340228 w 10732631"/>
              <a:gd name="connsiteY55" fmla="*/ 2555209 h 6858000"/>
              <a:gd name="connsiteX56" fmla="*/ 10340228 w 10732631"/>
              <a:gd name="connsiteY56" fmla="*/ 3068265 h 6858000"/>
              <a:gd name="connsiteX57" fmla="*/ 10340228 w 10732631"/>
              <a:gd name="connsiteY57" fmla="*/ 3068263 h 6858000"/>
              <a:gd name="connsiteX58" fmla="*/ 9827172 w 10732631"/>
              <a:gd name="connsiteY58" fmla="*/ 3068263 h 6858000"/>
              <a:gd name="connsiteX59" fmla="*/ 8121996 w 10732631"/>
              <a:gd name="connsiteY59" fmla="*/ 1363086 h 6858000"/>
              <a:gd name="connsiteX60" fmla="*/ 8121996 w 10732631"/>
              <a:gd name="connsiteY60" fmla="*/ 850031 h 6858000"/>
              <a:gd name="connsiteX61" fmla="*/ 8378524 w 10732631"/>
              <a:gd name="connsiteY61" fmla="*/ 743773 h 6858000"/>
              <a:gd name="connsiteX62" fmla="*/ 7062200 w 10732631"/>
              <a:gd name="connsiteY62" fmla="*/ 612697 h 6858000"/>
              <a:gd name="connsiteX63" fmla="*/ 7318728 w 10732631"/>
              <a:gd name="connsiteY63" fmla="*/ 718955 h 6858000"/>
              <a:gd name="connsiteX64" fmla="*/ 10488805 w 10732631"/>
              <a:gd name="connsiteY64" fmla="*/ 3889033 h 6858000"/>
              <a:gd name="connsiteX65" fmla="*/ 10488805 w 10732631"/>
              <a:gd name="connsiteY65" fmla="*/ 4402089 h 6858000"/>
              <a:gd name="connsiteX66" fmla="*/ 10488805 w 10732631"/>
              <a:gd name="connsiteY66" fmla="*/ 4402087 h 6858000"/>
              <a:gd name="connsiteX67" fmla="*/ 9975750 w 10732631"/>
              <a:gd name="connsiteY67" fmla="*/ 4402087 h 6858000"/>
              <a:gd name="connsiteX68" fmla="*/ 6805673 w 10732631"/>
              <a:gd name="connsiteY68" fmla="*/ 1232010 h 6858000"/>
              <a:gd name="connsiteX69" fmla="*/ 6805673 w 10732631"/>
              <a:gd name="connsiteY69" fmla="*/ 718955 h 6858000"/>
              <a:gd name="connsiteX70" fmla="*/ 7062200 w 10732631"/>
              <a:gd name="connsiteY70" fmla="*/ 612697 h 6858000"/>
              <a:gd name="connsiteX71" fmla="*/ 4371995 w 10732631"/>
              <a:gd name="connsiteY71" fmla="*/ 0 h 6858000"/>
              <a:gd name="connsiteX72" fmla="*/ 5398106 w 10732631"/>
              <a:gd name="connsiteY72" fmla="*/ 0 h 6858000"/>
              <a:gd name="connsiteX73" fmla="*/ 10678822 w 10732631"/>
              <a:gd name="connsiteY73" fmla="*/ 5280718 h 6858000"/>
              <a:gd name="connsiteX74" fmla="*/ 10725310 w 10732631"/>
              <a:gd name="connsiteY74" fmla="*/ 5337629 h 6858000"/>
              <a:gd name="connsiteX75" fmla="*/ 10732631 w 10732631"/>
              <a:gd name="connsiteY75" fmla="*/ 5351542 h 6858000"/>
              <a:gd name="connsiteX76" fmla="*/ 10732631 w 10732631"/>
              <a:gd name="connsiteY76" fmla="*/ 5722950 h 6858000"/>
              <a:gd name="connsiteX77" fmla="*/ 10725310 w 10732631"/>
              <a:gd name="connsiteY77" fmla="*/ 5736863 h 6858000"/>
              <a:gd name="connsiteX78" fmla="*/ 10678822 w 10732631"/>
              <a:gd name="connsiteY78" fmla="*/ 5793774 h 6858000"/>
              <a:gd name="connsiteX79" fmla="*/ 10678822 w 10732631"/>
              <a:gd name="connsiteY79" fmla="*/ 5793772 h 6858000"/>
              <a:gd name="connsiteX80" fmla="*/ 10165767 w 10732631"/>
              <a:gd name="connsiteY80" fmla="*/ 5793772 h 6858000"/>
              <a:gd name="connsiteX81" fmla="*/ 4371995 w 10732631"/>
              <a:gd name="connsiteY81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2017511 w 10732631"/>
              <a:gd name="connsiteY48" fmla="*/ 2953645 h 6858000"/>
              <a:gd name="connsiteX49" fmla="*/ 1008756 w 10732631"/>
              <a:gd name="connsiteY49" fmla="*/ 3962400 h 6858000"/>
              <a:gd name="connsiteX50" fmla="*/ 0 w 10732631"/>
              <a:gd name="connsiteY50" fmla="*/ 2953645 h 6858000"/>
              <a:gd name="connsiteX51" fmla="*/ 0 w 10732631"/>
              <a:gd name="connsiteY51" fmla="*/ 2533946 h 6858000"/>
              <a:gd name="connsiteX52" fmla="*/ 8378524 w 10732631"/>
              <a:gd name="connsiteY52" fmla="*/ 743773 h 6858000"/>
              <a:gd name="connsiteX53" fmla="*/ 8635051 w 10732631"/>
              <a:gd name="connsiteY53" fmla="*/ 850031 h 6858000"/>
              <a:gd name="connsiteX54" fmla="*/ 10340228 w 10732631"/>
              <a:gd name="connsiteY54" fmla="*/ 2555209 h 6858000"/>
              <a:gd name="connsiteX55" fmla="*/ 10340228 w 10732631"/>
              <a:gd name="connsiteY55" fmla="*/ 3068265 h 6858000"/>
              <a:gd name="connsiteX56" fmla="*/ 10340228 w 10732631"/>
              <a:gd name="connsiteY56" fmla="*/ 3068263 h 6858000"/>
              <a:gd name="connsiteX57" fmla="*/ 9827172 w 10732631"/>
              <a:gd name="connsiteY57" fmla="*/ 3068263 h 6858000"/>
              <a:gd name="connsiteX58" fmla="*/ 8121996 w 10732631"/>
              <a:gd name="connsiteY58" fmla="*/ 1363086 h 6858000"/>
              <a:gd name="connsiteX59" fmla="*/ 8121996 w 10732631"/>
              <a:gd name="connsiteY59" fmla="*/ 850031 h 6858000"/>
              <a:gd name="connsiteX60" fmla="*/ 8378524 w 10732631"/>
              <a:gd name="connsiteY60" fmla="*/ 743773 h 6858000"/>
              <a:gd name="connsiteX61" fmla="*/ 7062200 w 10732631"/>
              <a:gd name="connsiteY61" fmla="*/ 612697 h 6858000"/>
              <a:gd name="connsiteX62" fmla="*/ 7318728 w 10732631"/>
              <a:gd name="connsiteY62" fmla="*/ 718955 h 6858000"/>
              <a:gd name="connsiteX63" fmla="*/ 10488805 w 10732631"/>
              <a:gd name="connsiteY63" fmla="*/ 3889033 h 6858000"/>
              <a:gd name="connsiteX64" fmla="*/ 10488805 w 10732631"/>
              <a:gd name="connsiteY64" fmla="*/ 4402089 h 6858000"/>
              <a:gd name="connsiteX65" fmla="*/ 10488805 w 10732631"/>
              <a:gd name="connsiteY65" fmla="*/ 4402087 h 6858000"/>
              <a:gd name="connsiteX66" fmla="*/ 9975750 w 10732631"/>
              <a:gd name="connsiteY66" fmla="*/ 4402087 h 6858000"/>
              <a:gd name="connsiteX67" fmla="*/ 6805673 w 10732631"/>
              <a:gd name="connsiteY67" fmla="*/ 1232010 h 6858000"/>
              <a:gd name="connsiteX68" fmla="*/ 6805673 w 10732631"/>
              <a:gd name="connsiteY68" fmla="*/ 718955 h 6858000"/>
              <a:gd name="connsiteX69" fmla="*/ 7062200 w 10732631"/>
              <a:gd name="connsiteY69" fmla="*/ 612697 h 6858000"/>
              <a:gd name="connsiteX70" fmla="*/ 4371995 w 10732631"/>
              <a:gd name="connsiteY70" fmla="*/ 0 h 6858000"/>
              <a:gd name="connsiteX71" fmla="*/ 5398106 w 10732631"/>
              <a:gd name="connsiteY71" fmla="*/ 0 h 6858000"/>
              <a:gd name="connsiteX72" fmla="*/ 10678822 w 10732631"/>
              <a:gd name="connsiteY72" fmla="*/ 5280718 h 6858000"/>
              <a:gd name="connsiteX73" fmla="*/ 10725310 w 10732631"/>
              <a:gd name="connsiteY73" fmla="*/ 5337629 h 6858000"/>
              <a:gd name="connsiteX74" fmla="*/ 10732631 w 10732631"/>
              <a:gd name="connsiteY74" fmla="*/ 5351542 h 6858000"/>
              <a:gd name="connsiteX75" fmla="*/ 10732631 w 10732631"/>
              <a:gd name="connsiteY75" fmla="*/ 5722950 h 6858000"/>
              <a:gd name="connsiteX76" fmla="*/ 10725310 w 10732631"/>
              <a:gd name="connsiteY76" fmla="*/ 5736863 h 6858000"/>
              <a:gd name="connsiteX77" fmla="*/ 10678822 w 10732631"/>
              <a:gd name="connsiteY77" fmla="*/ 5793774 h 6858000"/>
              <a:gd name="connsiteX78" fmla="*/ 10678822 w 10732631"/>
              <a:gd name="connsiteY78" fmla="*/ 5793772 h 6858000"/>
              <a:gd name="connsiteX79" fmla="*/ 10165767 w 10732631"/>
              <a:gd name="connsiteY79" fmla="*/ 5793772 h 6858000"/>
              <a:gd name="connsiteX80" fmla="*/ 4371995 w 10732631"/>
              <a:gd name="connsiteY80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1008756 w 10732631"/>
              <a:gd name="connsiteY48" fmla="*/ 3962400 h 6858000"/>
              <a:gd name="connsiteX49" fmla="*/ 0 w 10732631"/>
              <a:gd name="connsiteY49" fmla="*/ 2953645 h 6858000"/>
              <a:gd name="connsiteX50" fmla="*/ 0 w 10732631"/>
              <a:gd name="connsiteY50" fmla="*/ 2533946 h 6858000"/>
              <a:gd name="connsiteX51" fmla="*/ 8378524 w 10732631"/>
              <a:gd name="connsiteY51" fmla="*/ 743773 h 6858000"/>
              <a:gd name="connsiteX52" fmla="*/ 8635051 w 10732631"/>
              <a:gd name="connsiteY52" fmla="*/ 850031 h 6858000"/>
              <a:gd name="connsiteX53" fmla="*/ 10340228 w 10732631"/>
              <a:gd name="connsiteY53" fmla="*/ 2555209 h 6858000"/>
              <a:gd name="connsiteX54" fmla="*/ 10340228 w 10732631"/>
              <a:gd name="connsiteY54" fmla="*/ 3068265 h 6858000"/>
              <a:gd name="connsiteX55" fmla="*/ 10340228 w 10732631"/>
              <a:gd name="connsiteY55" fmla="*/ 3068263 h 6858000"/>
              <a:gd name="connsiteX56" fmla="*/ 9827172 w 10732631"/>
              <a:gd name="connsiteY56" fmla="*/ 3068263 h 6858000"/>
              <a:gd name="connsiteX57" fmla="*/ 8121996 w 10732631"/>
              <a:gd name="connsiteY57" fmla="*/ 1363086 h 6858000"/>
              <a:gd name="connsiteX58" fmla="*/ 8121996 w 10732631"/>
              <a:gd name="connsiteY58" fmla="*/ 850031 h 6858000"/>
              <a:gd name="connsiteX59" fmla="*/ 8378524 w 10732631"/>
              <a:gd name="connsiteY59" fmla="*/ 743773 h 6858000"/>
              <a:gd name="connsiteX60" fmla="*/ 7062200 w 10732631"/>
              <a:gd name="connsiteY60" fmla="*/ 612697 h 6858000"/>
              <a:gd name="connsiteX61" fmla="*/ 7318728 w 10732631"/>
              <a:gd name="connsiteY61" fmla="*/ 718955 h 6858000"/>
              <a:gd name="connsiteX62" fmla="*/ 10488805 w 10732631"/>
              <a:gd name="connsiteY62" fmla="*/ 3889033 h 6858000"/>
              <a:gd name="connsiteX63" fmla="*/ 10488805 w 10732631"/>
              <a:gd name="connsiteY63" fmla="*/ 4402089 h 6858000"/>
              <a:gd name="connsiteX64" fmla="*/ 10488805 w 10732631"/>
              <a:gd name="connsiteY64" fmla="*/ 4402087 h 6858000"/>
              <a:gd name="connsiteX65" fmla="*/ 9975750 w 10732631"/>
              <a:gd name="connsiteY65" fmla="*/ 4402087 h 6858000"/>
              <a:gd name="connsiteX66" fmla="*/ 6805673 w 10732631"/>
              <a:gd name="connsiteY66" fmla="*/ 1232010 h 6858000"/>
              <a:gd name="connsiteX67" fmla="*/ 6805673 w 10732631"/>
              <a:gd name="connsiteY67" fmla="*/ 718955 h 6858000"/>
              <a:gd name="connsiteX68" fmla="*/ 7062200 w 10732631"/>
              <a:gd name="connsiteY68" fmla="*/ 612697 h 6858000"/>
              <a:gd name="connsiteX69" fmla="*/ 4371995 w 10732631"/>
              <a:gd name="connsiteY69" fmla="*/ 0 h 6858000"/>
              <a:gd name="connsiteX70" fmla="*/ 5398106 w 10732631"/>
              <a:gd name="connsiteY70" fmla="*/ 0 h 6858000"/>
              <a:gd name="connsiteX71" fmla="*/ 10678822 w 10732631"/>
              <a:gd name="connsiteY71" fmla="*/ 5280718 h 6858000"/>
              <a:gd name="connsiteX72" fmla="*/ 10725310 w 10732631"/>
              <a:gd name="connsiteY72" fmla="*/ 5337629 h 6858000"/>
              <a:gd name="connsiteX73" fmla="*/ 10732631 w 10732631"/>
              <a:gd name="connsiteY73" fmla="*/ 5351542 h 6858000"/>
              <a:gd name="connsiteX74" fmla="*/ 10732631 w 10732631"/>
              <a:gd name="connsiteY74" fmla="*/ 5722950 h 6858000"/>
              <a:gd name="connsiteX75" fmla="*/ 10725310 w 10732631"/>
              <a:gd name="connsiteY75" fmla="*/ 5736863 h 6858000"/>
              <a:gd name="connsiteX76" fmla="*/ 10678822 w 10732631"/>
              <a:gd name="connsiteY76" fmla="*/ 5793774 h 6858000"/>
              <a:gd name="connsiteX77" fmla="*/ 10678822 w 10732631"/>
              <a:gd name="connsiteY77" fmla="*/ 5793772 h 6858000"/>
              <a:gd name="connsiteX78" fmla="*/ 10165767 w 10732631"/>
              <a:gd name="connsiteY78" fmla="*/ 5793772 h 6858000"/>
              <a:gd name="connsiteX79" fmla="*/ 4371995 w 10732631"/>
              <a:gd name="connsiteY79" fmla="*/ 0 h 6858000"/>
              <a:gd name="connsiteX0" fmla="*/ 4027003 w 10732631"/>
              <a:gd name="connsiteY0" fmla="*/ 6026314 h 6858000"/>
              <a:gd name="connsiteX1" fmla="*/ 4283530 w 10732631"/>
              <a:gd name="connsiteY1" fmla="*/ 6132571 h 6858000"/>
              <a:gd name="connsiteX2" fmla="*/ 5008959 w 10732631"/>
              <a:gd name="connsiteY2" fmla="*/ 6858000 h 6858000"/>
              <a:gd name="connsiteX3" fmla="*/ 3982847 w 10732631"/>
              <a:gd name="connsiteY3" fmla="*/ 6858000 h 6858000"/>
              <a:gd name="connsiteX4" fmla="*/ 3770474 w 10732631"/>
              <a:gd name="connsiteY4" fmla="*/ 6645627 h 6858000"/>
              <a:gd name="connsiteX5" fmla="*/ 3770474 w 10732631"/>
              <a:gd name="connsiteY5" fmla="*/ 6132571 h 6858000"/>
              <a:gd name="connsiteX6" fmla="*/ 4027003 w 10732631"/>
              <a:gd name="connsiteY6" fmla="*/ 6026314 h 6858000"/>
              <a:gd name="connsiteX7" fmla="*/ 5226044 w 10732631"/>
              <a:gd name="connsiteY7" fmla="*/ 4810762 h 6858000"/>
              <a:gd name="connsiteX8" fmla="*/ 5482571 w 10732631"/>
              <a:gd name="connsiteY8" fmla="*/ 4917019 h 6858000"/>
              <a:gd name="connsiteX9" fmla="*/ 7423552 w 10732631"/>
              <a:gd name="connsiteY9" fmla="*/ 6858000 h 6858000"/>
              <a:gd name="connsiteX10" fmla="*/ 6397442 w 10732631"/>
              <a:gd name="connsiteY10" fmla="*/ 6858000 h 6858000"/>
              <a:gd name="connsiteX11" fmla="*/ 4969516 w 10732631"/>
              <a:gd name="connsiteY11" fmla="*/ 5430074 h 6858000"/>
              <a:gd name="connsiteX12" fmla="*/ 4969516 w 10732631"/>
              <a:gd name="connsiteY12" fmla="*/ 4917019 h 6858000"/>
              <a:gd name="connsiteX13" fmla="*/ 5226044 w 10732631"/>
              <a:gd name="connsiteY13" fmla="*/ 4810762 h 6858000"/>
              <a:gd name="connsiteX14" fmla="*/ 4016831 w 10732631"/>
              <a:gd name="connsiteY14" fmla="*/ 4808883 h 6858000"/>
              <a:gd name="connsiteX15" fmla="*/ 4273358 w 10732631"/>
              <a:gd name="connsiteY15" fmla="*/ 4915140 h 6858000"/>
              <a:gd name="connsiteX16" fmla="*/ 6216216 w 10732631"/>
              <a:gd name="connsiteY16" fmla="*/ 6858000 h 6858000"/>
              <a:gd name="connsiteX17" fmla="*/ 5190107 w 10732631"/>
              <a:gd name="connsiteY17" fmla="*/ 6858000 h 6858000"/>
              <a:gd name="connsiteX18" fmla="*/ 3760302 w 10732631"/>
              <a:gd name="connsiteY18" fmla="*/ 5428196 h 6858000"/>
              <a:gd name="connsiteX19" fmla="*/ 3760302 w 10732631"/>
              <a:gd name="connsiteY19" fmla="*/ 4915140 h 6858000"/>
              <a:gd name="connsiteX20" fmla="*/ 4016831 w 10732631"/>
              <a:gd name="connsiteY20" fmla="*/ 4808883 h 6858000"/>
              <a:gd name="connsiteX21" fmla="*/ 4983334 w 10732631"/>
              <a:gd name="connsiteY21" fmla="*/ 3358111 h 6858000"/>
              <a:gd name="connsiteX22" fmla="*/ 5239861 w 10732631"/>
              <a:gd name="connsiteY22" fmla="*/ 3464368 h 6858000"/>
              <a:gd name="connsiteX23" fmla="*/ 8633493 w 10732631"/>
              <a:gd name="connsiteY23" fmla="*/ 6858000 h 6858000"/>
              <a:gd name="connsiteX24" fmla="*/ 7607384 w 10732631"/>
              <a:gd name="connsiteY24" fmla="*/ 6858000 h 6858000"/>
              <a:gd name="connsiteX25" fmla="*/ 4726806 w 10732631"/>
              <a:gd name="connsiteY25" fmla="*/ 3977423 h 6858000"/>
              <a:gd name="connsiteX26" fmla="*/ 4726806 w 10732631"/>
              <a:gd name="connsiteY26" fmla="*/ 3464368 h 6858000"/>
              <a:gd name="connsiteX27" fmla="*/ 4983334 w 10732631"/>
              <a:gd name="connsiteY27" fmla="*/ 3358111 h 6858000"/>
              <a:gd name="connsiteX28" fmla="*/ 4411835 w 10732631"/>
              <a:gd name="connsiteY28" fmla="*/ 1580111 h 6858000"/>
              <a:gd name="connsiteX29" fmla="*/ 4668361 w 10732631"/>
              <a:gd name="connsiteY29" fmla="*/ 1686369 h 6858000"/>
              <a:gd name="connsiteX30" fmla="*/ 9305884 w 10732631"/>
              <a:gd name="connsiteY30" fmla="*/ 6323892 h 6858000"/>
              <a:gd name="connsiteX31" fmla="*/ 9305884 w 10732631"/>
              <a:gd name="connsiteY31" fmla="*/ 6836948 h 6858000"/>
              <a:gd name="connsiteX32" fmla="*/ 9305884 w 10732631"/>
              <a:gd name="connsiteY32" fmla="*/ 6836946 h 6858000"/>
              <a:gd name="connsiteX33" fmla="*/ 9280109 w 10732631"/>
              <a:gd name="connsiteY33" fmla="*/ 6858000 h 6858000"/>
              <a:gd name="connsiteX34" fmla="*/ 8818604 w 10732631"/>
              <a:gd name="connsiteY34" fmla="*/ 6858000 h 6858000"/>
              <a:gd name="connsiteX35" fmla="*/ 8792829 w 10732631"/>
              <a:gd name="connsiteY35" fmla="*/ 6836946 h 6858000"/>
              <a:gd name="connsiteX36" fmla="*/ 4155306 w 10732631"/>
              <a:gd name="connsiteY36" fmla="*/ 2199424 h 6858000"/>
              <a:gd name="connsiteX37" fmla="*/ 4155306 w 10732631"/>
              <a:gd name="connsiteY37" fmla="*/ 1686369 h 6858000"/>
              <a:gd name="connsiteX38" fmla="*/ 4411835 w 10732631"/>
              <a:gd name="connsiteY38" fmla="*/ 1580111 h 6858000"/>
              <a:gd name="connsiteX39" fmla="*/ 5620152 w 10732631"/>
              <a:gd name="connsiteY39" fmla="*/ 1580110 h 6858000"/>
              <a:gd name="connsiteX40" fmla="*/ 5876680 w 10732631"/>
              <a:gd name="connsiteY40" fmla="*/ 1686368 h 6858000"/>
              <a:gd name="connsiteX41" fmla="*/ 10732631 w 10732631"/>
              <a:gd name="connsiteY41" fmla="*/ 6542320 h 6858000"/>
              <a:gd name="connsiteX42" fmla="*/ 10732631 w 10732631"/>
              <a:gd name="connsiteY42" fmla="*/ 6858000 h 6858000"/>
              <a:gd name="connsiteX43" fmla="*/ 10022202 w 10732631"/>
              <a:gd name="connsiteY43" fmla="*/ 6858000 h 6858000"/>
              <a:gd name="connsiteX44" fmla="*/ 5363625 w 10732631"/>
              <a:gd name="connsiteY44" fmla="*/ 2199423 h 6858000"/>
              <a:gd name="connsiteX45" fmla="*/ 5363625 w 10732631"/>
              <a:gd name="connsiteY45" fmla="*/ 1686368 h 6858000"/>
              <a:gd name="connsiteX46" fmla="*/ 5620152 w 10732631"/>
              <a:gd name="connsiteY46" fmla="*/ 1580110 h 6858000"/>
              <a:gd name="connsiteX47" fmla="*/ 0 w 10732631"/>
              <a:gd name="connsiteY47" fmla="*/ 2533946 h 6858000"/>
              <a:gd name="connsiteX48" fmla="*/ 0 w 10732631"/>
              <a:gd name="connsiteY48" fmla="*/ 2953645 h 6858000"/>
              <a:gd name="connsiteX49" fmla="*/ 0 w 10732631"/>
              <a:gd name="connsiteY49" fmla="*/ 2533946 h 6858000"/>
              <a:gd name="connsiteX50" fmla="*/ 8378524 w 10732631"/>
              <a:gd name="connsiteY50" fmla="*/ 743773 h 6858000"/>
              <a:gd name="connsiteX51" fmla="*/ 8635051 w 10732631"/>
              <a:gd name="connsiteY51" fmla="*/ 850031 h 6858000"/>
              <a:gd name="connsiteX52" fmla="*/ 10340228 w 10732631"/>
              <a:gd name="connsiteY52" fmla="*/ 2555209 h 6858000"/>
              <a:gd name="connsiteX53" fmla="*/ 10340228 w 10732631"/>
              <a:gd name="connsiteY53" fmla="*/ 3068265 h 6858000"/>
              <a:gd name="connsiteX54" fmla="*/ 10340228 w 10732631"/>
              <a:gd name="connsiteY54" fmla="*/ 3068263 h 6858000"/>
              <a:gd name="connsiteX55" fmla="*/ 9827172 w 10732631"/>
              <a:gd name="connsiteY55" fmla="*/ 3068263 h 6858000"/>
              <a:gd name="connsiteX56" fmla="*/ 8121996 w 10732631"/>
              <a:gd name="connsiteY56" fmla="*/ 1363086 h 6858000"/>
              <a:gd name="connsiteX57" fmla="*/ 8121996 w 10732631"/>
              <a:gd name="connsiteY57" fmla="*/ 850031 h 6858000"/>
              <a:gd name="connsiteX58" fmla="*/ 8378524 w 10732631"/>
              <a:gd name="connsiteY58" fmla="*/ 743773 h 6858000"/>
              <a:gd name="connsiteX59" fmla="*/ 7062200 w 10732631"/>
              <a:gd name="connsiteY59" fmla="*/ 612697 h 6858000"/>
              <a:gd name="connsiteX60" fmla="*/ 7318728 w 10732631"/>
              <a:gd name="connsiteY60" fmla="*/ 718955 h 6858000"/>
              <a:gd name="connsiteX61" fmla="*/ 10488805 w 10732631"/>
              <a:gd name="connsiteY61" fmla="*/ 3889033 h 6858000"/>
              <a:gd name="connsiteX62" fmla="*/ 10488805 w 10732631"/>
              <a:gd name="connsiteY62" fmla="*/ 4402089 h 6858000"/>
              <a:gd name="connsiteX63" fmla="*/ 10488805 w 10732631"/>
              <a:gd name="connsiteY63" fmla="*/ 4402087 h 6858000"/>
              <a:gd name="connsiteX64" fmla="*/ 9975750 w 10732631"/>
              <a:gd name="connsiteY64" fmla="*/ 4402087 h 6858000"/>
              <a:gd name="connsiteX65" fmla="*/ 6805673 w 10732631"/>
              <a:gd name="connsiteY65" fmla="*/ 1232010 h 6858000"/>
              <a:gd name="connsiteX66" fmla="*/ 6805673 w 10732631"/>
              <a:gd name="connsiteY66" fmla="*/ 718955 h 6858000"/>
              <a:gd name="connsiteX67" fmla="*/ 7062200 w 10732631"/>
              <a:gd name="connsiteY67" fmla="*/ 612697 h 6858000"/>
              <a:gd name="connsiteX68" fmla="*/ 4371995 w 10732631"/>
              <a:gd name="connsiteY68" fmla="*/ 0 h 6858000"/>
              <a:gd name="connsiteX69" fmla="*/ 5398106 w 10732631"/>
              <a:gd name="connsiteY69" fmla="*/ 0 h 6858000"/>
              <a:gd name="connsiteX70" fmla="*/ 10678822 w 10732631"/>
              <a:gd name="connsiteY70" fmla="*/ 5280718 h 6858000"/>
              <a:gd name="connsiteX71" fmla="*/ 10725310 w 10732631"/>
              <a:gd name="connsiteY71" fmla="*/ 5337629 h 6858000"/>
              <a:gd name="connsiteX72" fmla="*/ 10732631 w 10732631"/>
              <a:gd name="connsiteY72" fmla="*/ 5351542 h 6858000"/>
              <a:gd name="connsiteX73" fmla="*/ 10732631 w 10732631"/>
              <a:gd name="connsiteY73" fmla="*/ 5722950 h 6858000"/>
              <a:gd name="connsiteX74" fmla="*/ 10725310 w 10732631"/>
              <a:gd name="connsiteY74" fmla="*/ 5736863 h 6858000"/>
              <a:gd name="connsiteX75" fmla="*/ 10678822 w 10732631"/>
              <a:gd name="connsiteY75" fmla="*/ 5793774 h 6858000"/>
              <a:gd name="connsiteX76" fmla="*/ 10678822 w 10732631"/>
              <a:gd name="connsiteY76" fmla="*/ 5793772 h 6858000"/>
              <a:gd name="connsiteX77" fmla="*/ 10165767 w 10732631"/>
              <a:gd name="connsiteY77" fmla="*/ 5793772 h 6858000"/>
              <a:gd name="connsiteX78" fmla="*/ 4371995 w 10732631"/>
              <a:gd name="connsiteY78" fmla="*/ 0 h 6858000"/>
              <a:gd name="connsiteX0" fmla="*/ 372959 w 7078587"/>
              <a:gd name="connsiteY0" fmla="*/ 6026314 h 6858000"/>
              <a:gd name="connsiteX1" fmla="*/ 629486 w 7078587"/>
              <a:gd name="connsiteY1" fmla="*/ 6132571 h 6858000"/>
              <a:gd name="connsiteX2" fmla="*/ 1354915 w 7078587"/>
              <a:gd name="connsiteY2" fmla="*/ 6858000 h 6858000"/>
              <a:gd name="connsiteX3" fmla="*/ 328803 w 7078587"/>
              <a:gd name="connsiteY3" fmla="*/ 6858000 h 6858000"/>
              <a:gd name="connsiteX4" fmla="*/ 116430 w 7078587"/>
              <a:gd name="connsiteY4" fmla="*/ 6645627 h 6858000"/>
              <a:gd name="connsiteX5" fmla="*/ 116430 w 7078587"/>
              <a:gd name="connsiteY5" fmla="*/ 6132571 h 6858000"/>
              <a:gd name="connsiteX6" fmla="*/ 372959 w 7078587"/>
              <a:gd name="connsiteY6" fmla="*/ 6026314 h 6858000"/>
              <a:gd name="connsiteX7" fmla="*/ 1572000 w 7078587"/>
              <a:gd name="connsiteY7" fmla="*/ 4810762 h 6858000"/>
              <a:gd name="connsiteX8" fmla="*/ 1828527 w 7078587"/>
              <a:gd name="connsiteY8" fmla="*/ 4917019 h 6858000"/>
              <a:gd name="connsiteX9" fmla="*/ 3769508 w 7078587"/>
              <a:gd name="connsiteY9" fmla="*/ 6858000 h 6858000"/>
              <a:gd name="connsiteX10" fmla="*/ 2743398 w 7078587"/>
              <a:gd name="connsiteY10" fmla="*/ 6858000 h 6858000"/>
              <a:gd name="connsiteX11" fmla="*/ 1315472 w 7078587"/>
              <a:gd name="connsiteY11" fmla="*/ 5430074 h 6858000"/>
              <a:gd name="connsiteX12" fmla="*/ 1315472 w 7078587"/>
              <a:gd name="connsiteY12" fmla="*/ 4917019 h 6858000"/>
              <a:gd name="connsiteX13" fmla="*/ 1572000 w 7078587"/>
              <a:gd name="connsiteY13" fmla="*/ 4810762 h 6858000"/>
              <a:gd name="connsiteX14" fmla="*/ 362787 w 7078587"/>
              <a:gd name="connsiteY14" fmla="*/ 4808883 h 6858000"/>
              <a:gd name="connsiteX15" fmla="*/ 619314 w 7078587"/>
              <a:gd name="connsiteY15" fmla="*/ 4915140 h 6858000"/>
              <a:gd name="connsiteX16" fmla="*/ 2562172 w 7078587"/>
              <a:gd name="connsiteY16" fmla="*/ 6858000 h 6858000"/>
              <a:gd name="connsiteX17" fmla="*/ 1536063 w 7078587"/>
              <a:gd name="connsiteY17" fmla="*/ 6858000 h 6858000"/>
              <a:gd name="connsiteX18" fmla="*/ 106258 w 7078587"/>
              <a:gd name="connsiteY18" fmla="*/ 5428196 h 6858000"/>
              <a:gd name="connsiteX19" fmla="*/ 106258 w 7078587"/>
              <a:gd name="connsiteY19" fmla="*/ 4915140 h 6858000"/>
              <a:gd name="connsiteX20" fmla="*/ 362787 w 7078587"/>
              <a:gd name="connsiteY20" fmla="*/ 4808883 h 6858000"/>
              <a:gd name="connsiteX21" fmla="*/ 1329290 w 7078587"/>
              <a:gd name="connsiteY21" fmla="*/ 3358111 h 6858000"/>
              <a:gd name="connsiteX22" fmla="*/ 1585817 w 7078587"/>
              <a:gd name="connsiteY22" fmla="*/ 3464368 h 6858000"/>
              <a:gd name="connsiteX23" fmla="*/ 4979449 w 7078587"/>
              <a:gd name="connsiteY23" fmla="*/ 6858000 h 6858000"/>
              <a:gd name="connsiteX24" fmla="*/ 3953340 w 7078587"/>
              <a:gd name="connsiteY24" fmla="*/ 6858000 h 6858000"/>
              <a:gd name="connsiteX25" fmla="*/ 1072762 w 7078587"/>
              <a:gd name="connsiteY25" fmla="*/ 3977423 h 6858000"/>
              <a:gd name="connsiteX26" fmla="*/ 1072762 w 7078587"/>
              <a:gd name="connsiteY26" fmla="*/ 3464368 h 6858000"/>
              <a:gd name="connsiteX27" fmla="*/ 1329290 w 7078587"/>
              <a:gd name="connsiteY27" fmla="*/ 3358111 h 6858000"/>
              <a:gd name="connsiteX28" fmla="*/ 757791 w 7078587"/>
              <a:gd name="connsiteY28" fmla="*/ 1580111 h 6858000"/>
              <a:gd name="connsiteX29" fmla="*/ 1014317 w 7078587"/>
              <a:gd name="connsiteY29" fmla="*/ 1686369 h 6858000"/>
              <a:gd name="connsiteX30" fmla="*/ 5651840 w 7078587"/>
              <a:gd name="connsiteY30" fmla="*/ 6323892 h 6858000"/>
              <a:gd name="connsiteX31" fmla="*/ 5651840 w 7078587"/>
              <a:gd name="connsiteY31" fmla="*/ 6836948 h 6858000"/>
              <a:gd name="connsiteX32" fmla="*/ 5651840 w 7078587"/>
              <a:gd name="connsiteY32" fmla="*/ 6836946 h 6858000"/>
              <a:gd name="connsiteX33" fmla="*/ 5626065 w 7078587"/>
              <a:gd name="connsiteY33" fmla="*/ 6858000 h 6858000"/>
              <a:gd name="connsiteX34" fmla="*/ 5164560 w 7078587"/>
              <a:gd name="connsiteY34" fmla="*/ 6858000 h 6858000"/>
              <a:gd name="connsiteX35" fmla="*/ 5138785 w 7078587"/>
              <a:gd name="connsiteY35" fmla="*/ 6836946 h 6858000"/>
              <a:gd name="connsiteX36" fmla="*/ 501262 w 7078587"/>
              <a:gd name="connsiteY36" fmla="*/ 2199424 h 6858000"/>
              <a:gd name="connsiteX37" fmla="*/ 501262 w 7078587"/>
              <a:gd name="connsiteY37" fmla="*/ 1686369 h 6858000"/>
              <a:gd name="connsiteX38" fmla="*/ 757791 w 7078587"/>
              <a:gd name="connsiteY38" fmla="*/ 1580111 h 6858000"/>
              <a:gd name="connsiteX39" fmla="*/ 1966108 w 7078587"/>
              <a:gd name="connsiteY39" fmla="*/ 1580110 h 6858000"/>
              <a:gd name="connsiteX40" fmla="*/ 2222636 w 7078587"/>
              <a:gd name="connsiteY40" fmla="*/ 1686368 h 6858000"/>
              <a:gd name="connsiteX41" fmla="*/ 7078587 w 7078587"/>
              <a:gd name="connsiteY41" fmla="*/ 6542320 h 6858000"/>
              <a:gd name="connsiteX42" fmla="*/ 7078587 w 7078587"/>
              <a:gd name="connsiteY42" fmla="*/ 6858000 h 6858000"/>
              <a:gd name="connsiteX43" fmla="*/ 6368158 w 7078587"/>
              <a:gd name="connsiteY43" fmla="*/ 6858000 h 6858000"/>
              <a:gd name="connsiteX44" fmla="*/ 1709581 w 7078587"/>
              <a:gd name="connsiteY44" fmla="*/ 2199423 h 6858000"/>
              <a:gd name="connsiteX45" fmla="*/ 1709581 w 7078587"/>
              <a:gd name="connsiteY45" fmla="*/ 1686368 h 6858000"/>
              <a:gd name="connsiteX46" fmla="*/ 1966108 w 7078587"/>
              <a:gd name="connsiteY46" fmla="*/ 1580110 h 6858000"/>
              <a:gd name="connsiteX47" fmla="*/ 4724480 w 7078587"/>
              <a:gd name="connsiteY47" fmla="*/ 743773 h 6858000"/>
              <a:gd name="connsiteX48" fmla="*/ 4981007 w 7078587"/>
              <a:gd name="connsiteY48" fmla="*/ 850031 h 6858000"/>
              <a:gd name="connsiteX49" fmla="*/ 6686184 w 7078587"/>
              <a:gd name="connsiteY49" fmla="*/ 2555209 h 6858000"/>
              <a:gd name="connsiteX50" fmla="*/ 6686184 w 7078587"/>
              <a:gd name="connsiteY50" fmla="*/ 3068265 h 6858000"/>
              <a:gd name="connsiteX51" fmla="*/ 6686184 w 7078587"/>
              <a:gd name="connsiteY51" fmla="*/ 3068263 h 6858000"/>
              <a:gd name="connsiteX52" fmla="*/ 6173128 w 7078587"/>
              <a:gd name="connsiteY52" fmla="*/ 3068263 h 6858000"/>
              <a:gd name="connsiteX53" fmla="*/ 4467952 w 7078587"/>
              <a:gd name="connsiteY53" fmla="*/ 1363086 h 6858000"/>
              <a:gd name="connsiteX54" fmla="*/ 4467952 w 7078587"/>
              <a:gd name="connsiteY54" fmla="*/ 850031 h 6858000"/>
              <a:gd name="connsiteX55" fmla="*/ 4724480 w 7078587"/>
              <a:gd name="connsiteY55" fmla="*/ 743773 h 6858000"/>
              <a:gd name="connsiteX56" fmla="*/ 3408156 w 7078587"/>
              <a:gd name="connsiteY56" fmla="*/ 612697 h 6858000"/>
              <a:gd name="connsiteX57" fmla="*/ 3664684 w 7078587"/>
              <a:gd name="connsiteY57" fmla="*/ 718955 h 6858000"/>
              <a:gd name="connsiteX58" fmla="*/ 6834761 w 7078587"/>
              <a:gd name="connsiteY58" fmla="*/ 3889033 h 6858000"/>
              <a:gd name="connsiteX59" fmla="*/ 6834761 w 7078587"/>
              <a:gd name="connsiteY59" fmla="*/ 4402089 h 6858000"/>
              <a:gd name="connsiteX60" fmla="*/ 6834761 w 7078587"/>
              <a:gd name="connsiteY60" fmla="*/ 4402087 h 6858000"/>
              <a:gd name="connsiteX61" fmla="*/ 6321706 w 7078587"/>
              <a:gd name="connsiteY61" fmla="*/ 4402087 h 6858000"/>
              <a:gd name="connsiteX62" fmla="*/ 3151629 w 7078587"/>
              <a:gd name="connsiteY62" fmla="*/ 1232010 h 6858000"/>
              <a:gd name="connsiteX63" fmla="*/ 3151629 w 7078587"/>
              <a:gd name="connsiteY63" fmla="*/ 718955 h 6858000"/>
              <a:gd name="connsiteX64" fmla="*/ 3408156 w 7078587"/>
              <a:gd name="connsiteY64" fmla="*/ 612697 h 6858000"/>
              <a:gd name="connsiteX65" fmla="*/ 717951 w 7078587"/>
              <a:gd name="connsiteY65" fmla="*/ 0 h 6858000"/>
              <a:gd name="connsiteX66" fmla="*/ 1744062 w 7078587"/>
              <a:gd name="connsiteY66" fmla="*/ 0 h 6858000"/>
              <a:gd name="connsiteX67" fmla="*/ 7024778 w 7078587"/>
              <a:gd name="connsiteY67" fmla="*/ 5280718 h 6858000"/>
              <a:gd name="connsiteX68" fmla="*/ 7071266 w 7078587"/>
              <a:gd name="connsiteY68" fmla="*/ 5337629 h 6858000"/>
              <a:gd name="connsiteX69" fmla="*/ 7078587 w 7078587"/>
              <a:gd name="connsiteY69" fmla="*/ 5351542 h 6858000"/>
              <a:gd name="connsiteX70" fmla="*/ 7078587 w 7078587"/>
              <a:gd name="connsiteY70" fmla="*/ 5722950 h 6858000"/>
              <a:gd name="connsiteX71" fmla="*/ 7071266 w 7078587"/>
              <a:gd name="connsiteY71" fmla="*/ 5736863 h 6858000"/>
              <a:gd name="connsiteX72" fmla="*/ 7024778 w 7078587"/>
              <a:gd name="connsiteY72" fmla="*/ 5793774 h 6858000"/>
              <a:gd name="connsiteX73" fmla="*/ 7024778 w 7078587"/>
              <a:gd name="connsiteY73" fmla="*/ 5793772 h 6858000"/>
              <a:gd name="connsiteX74" fmla="*/ 6511723 w 7078587"/>
              <a:gd name="connsiteY74" fmla="*/ 5793772 h 6858000"/>
              <a:gd name="connsiteX75" fmla="*/ 717951 w 7078587"/>
              <a:gd name="connsiteY7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7078587" h="6858000">
                <a:moveTo>
                  <a:pt x="372959" y="6026314"/>
                </a:moveTo>
                <a:cubicBezTo>
                  <a:pt x="465804" y="6026314"/>
                  <a:pt x="558647" y="6061733"/>
                  <a:pt x="629486" y="6132571"/>
                </a:cubicBezTo>
                <a:lnTo>
                  <a:pt x="1354915" y="6858000"/>
                </a:lnTo>
                <a:lnTo>
                  <a:pt x="328803" y="6858000"/>
                </a:lnTo>
                <a:lnTo>
                  <a:pt x="116430" y="6645627"/>
                </a:lnTo>
                <a:cubicBezTo>
                  <a:pt x="-25247" y="6503950"/>
                  <a:pt x="-25247" y="6274248"/>
                  <a:pt x="116430" y="6132571"/>
                </a:cubicBezTo>
                <a:cubicBezTo>
                  <a:pt x="187269" y="6061733"/>
                  <a:pt x="280113" y="6026314"/>
                  <a:pt x="372959" y="6026314"/>
                </a:cubicBezTo>
                <a:close/>
                <a:moveTo>
                  <a:pt x="1572000" y="4810762"/>
                </a:moveTo>
                <a:cubicBezTo>
                  <a:pt x="1664844" y="4810762"/>
                  <a:pt x="1757689" y="4846181"/>
                  <a:pt x="1828527" y="4917019"/>
                </a:cubicBezTo>
                <a:lnTo>
                  <a:pt x="3769508" y="6858000"/>
                </a:lnTo>
                <a:lnTo>
                  <a:pt x="2743398" y="6858000"/>
                </a:lnTo>
                <a:lnTo>
                  <a:pt x="1315472" y="5430074"/>
                </a:lnTo>
                <a:cubicBezTo>
                  <a:pt x="1173795" y="5288397"/>
                  <a:pt x="1173795" y="5058695"/>
                  <a:pt x="1315472" y="4917019"/>
                </a:cubicBezTo>
                <a:cubicBezTo>
                  <a:pt x="1386310" y="4846181"/>
                  <a:pt x="1479155" y="4810762"/>
                  <a:pt x="1572000" y="4810762"/>
                </a:cubicBezTo>
                <a:close/>
                <a:moveTo>
                  <a:pt x="362787" y="4808883"/>
                </a:moveTo>
                <a:cubicBezTo>
                  <a:pt x="455632" y="4808883"/>
                  <a:pt x="548477" y="4844302"/>
                  <a:pt x="619314" y="4915140"/>
                </a:cubicBezTo>
                <a:lnTo>
                  <a:pt x="2562172" y="6858000"/>
                </a:lnTo>
                <a:lnTo>
                  <a:pt x="1536063" y="6858000"/>
                </a:lnTo>
                <a:lnTo>
                  <a:pt x="106258" y="5428196"/>
                </a:lnTo>
                <a:cubicBezTo>
                  <a:pt x="-35419" y="5286519"/>
                  <a:pt x="-35419" y="5056817"/>
                  <a:pt x="106258" y="4915140"/>
                </a:cubicBezTo>
                <a:cubicBezTo>
                  <a:pt x="177097" y="4844302"/>
                  <a:pt x="269941" y="4808883"/>
                  <a:pt x="362787" y="4808883"/>
                </a:cubicBezTo>
                <a:close/>
                <a:moveTo>
                  <a:pt x="1329290" y="3358111"/>
                </a:moveTo>
                <a:cubicBezTo>
                  <a:pt x="1422134" y="3358111"/>
                  <a:pt x="1514979" y="3393529"/>
                  <a:pt x="1585817" y="3464368"/>
                </a:cubicBezTo>
                <a:lnTo>
                  <a:pt x="4979449" y="6858000"/>
                </a:lnTo>
                <a:lnTo>
                  <a:pt x="3953340" y="6858000"/>
                </a:lnTo>
                <a:lnTo>
                  <a:pt x="1072762" y="3977423"/>
                </a:lnTo>
                <a:cubicBezTo>
                  <a:pt x="931085" y="3835747"/>
                  <a:pt x="931085" y="3606045"/>
                  <a:pt x="1072762" y="3464368"/>
                </a:cubicBezTo>
                <a:cubicBezTo>
                  <a:pt x="1143600" y="3393529"/>
                  <a:pt x="1236445" y="3358111"/>
                  <a:pt x="1329290" y="3358111"/>
                </a:cubicBezTo>
                <a:close/>
                <a:moveTo>
                  <a:pt x="757791" y="1580111"/>
                </a:moveTo>
                <a:cubicBezTo>
                  <a:pt x="850634" y="1580111"/>
                  <a:pt x="943479" y="1615530"/>
                  <a:pt x="1014317" y="1686369"/>
                </a:cubicBezTo>
                <a:lnTo>
                  <a:pt x="5651840" y="6323892"/>
                </a:lnTo>
                <a:cubicBezTo>
                  <a:pt x="5793517" y="6465569"/>
                  <a:pt x="5793517" y="6695271"/>
                  <a:pt x="5651840" y="6836948"/>
                </a:cubicBezTo>
                <a:lnTo>
                  <a:pt x="5651840" y="6836946"/>
                </a:lnTo>
                <a:lnTo>
                  <a:pt x="5626065" y="6858000"/>
                </a:lnTo>
                <a:lnTo>
                  <a:pt x="5164560" y="6858000"/>
                </a:lnTo>
                <a:lnTo>
                  <a:pt x="5138785" y="6836946"/>
                </a:lnTo>
                <a:lnTo>
                  <a:pt x="501262" y="2199424"/>
                </a:lnTo>
                <a:cubicBezTo>
                  <a:pt x="359585" y="2057747"/>
                  <a:pt x="359585" y="1828045"/>
                  <a:pt x="501262" y="1686369"/>
                </a:cubicBezTo>
                <a:cubicBezTo>
                  <a:pt x="572100" y="1615530"/>
                  <a:pt x="664946" y="1580111"/>
                  <a:pt x="757791" y="1580111"/>
                </a:cubicBezTo>
                <a:close/>
                <a:moveTo>
                  <a:pt x="1966108" y="1580110"/>
                </a:moveTo>
                <a:cubicBezTo>
                  <a:pt x="2058953" y="1580110"/>
                  <a:pt x="2151798" y="1615529"/>
                  <a:pt x="2222636" y="1686368"/>
                </a:cubicBezTo>
                <a:lnTo>
                  <a:pt x="7078587" y="6542320"/>
                </a:lnTo>
                <a:lnTo>
                  <a:pt x="7078587" y="6858000"/>
                </a:lnTo>
                <a:lnTo>
                  <a:pt x="6368158" y="6858000"/>
                </a:lnTo>
                <a:lnTo>
                  <a:pt x="1709581" y="2199423"/>
                </a:lnTo>
                <a:cubicBezTo>
                  <a:pt x="1567904" y="2057746"/>
                  <a:pt x="1567904" y="1828044"/>
                  <a:pt x="1709581" y="1686368"/>
                </a:cubicBezTo>
                <a:cubicBezTo>
                  <a:pt x="1780419" y="1615529"/>
                  <a:pt x="1873264" y="1580110"/>
                  <a:pt x="1966108" y="1580110"/>
                </a:cubicBezTo>
                <a:close/>
                <a:moveTo>
                  <a:pt x="4724480" y="743773"/>
                </a:moveTo>
                <a:cubicBezTo>
                  <a:pt x="4817324" y="743773"/>
                  <a:pt x="4910169" y="779192"/>
                  <a:pt x="4981007" y="850031"/>
                </a:cubicBezTo>
                <a:lnTo>
                  <a:pt x="6686184" y="2555209"/>
                </a:lnTo>
                <a:cubicBezTo>
                  <a:pt x="6827861" y="2696885"/>
                  <a:pt x="6827861" y="2926588"/>
                  <a:pt x="6686184" y="3068265"/>
                </a:cubicBezTo>
                <a:lnTo>
                  <a:pt x="6686184" y="3068263"/>
                </a:lnTo>
                <a:cubicBezTo>
                  <a:pt x="6544507" y="3209940"/>
                  <a:pt x="6314805" y="3209940"/>
                  <a:pt x="6173128" y="3068263"/>
                </a:cubicBezTo>
                <a:lnTo>
                  <a:pt x="4467952" y="1363086"/>
                </a:lnTo>
                <a:cubicBezTo>
                  <a:pt x="4326275" y="1221409"/>
                  <a:pt x="4326275" y="991707"/>
                  <a:pt x="4467952" y="850031"/>
                </a:cubicBezTo>
                <a:cubicBezTo>
                  <a:pt x="4538790" y="779192"/>
                  <a:pt x="4631635" y="743773"/>
                  <a:pt x="4724480" y="743773"/>
                </a:cubicBezTo>
                <a:close/>
                <a:moveTo>
                  <a:pt x="3408156" y="612697"/>
                </a:moveTo>
                <a:cubicBezTo>
                  <a:pt x="3501001" y="612697"/>
                  <a:pt x="3593846" y="648116"/>
                  <a:pt x="3664684" y="718955"/>
                </a:cubicBezTo>
                <a:lnTo>
                  <a:pt x="6834761" y="3889033"/>
                </a:lnTo>
                <a:cubicBezTo>
                  <a:pt x="6976438" y="4030710"/>
                  <a:pt x="6976438" y="4260412"/>
                  <a:pt x="6834761" y="4402089"/>
                </a:cubicBezTo>
                <a:lnTo>
                  <a:pt x="6834761" y="4402087"/>
                </a:lnTo>
                <a:cubicBezTo>
                  <a:pt x="6693085" y="4543764"/>
                  <a:pt x="6463382" y="4543764"/>
                  <a:pt x="6321706" y="4402087"/>
                </a:cubicBezTo>
                <a:lnTo>
                  <a:pt x="3151629" y="1232010"/>
                </a:lnTo>
                <a:cubicBezTo>
                  <a:pt x="3009952" y="1090334"/>
                  <a:pt x="3009952" y="860631"/>
                  <a:pt x="3151629" y="718955"/>
                </a:cubicBezTo>
                <a:cubicBezTo>
                  <a:pt x="3222467" y="648116"/>
                  <a:pt x="3315311" y="612697"/>
                  <a:pt x="3408156" y="612697"/>
                </a:cubicBezTo>
                <a:close/>
                <a:moveTo>
                  <a:pt x="717951" y="0"/>
                </a:moveTo>
                <a:lnTo>
                  <a:pt x="1744062" y="0"/>
                </a:lnTo>
                <a:lnTo>
                  <a:pt x="7024778" y="5280718"/>
                </a:lnTo>
                <a:cubicBezTo>
                  <a:pt x="7042488" y="5298428"/>
                  <a:pt x="7057984" y="5317513"/>
                  <a:pt x="7071266" y="5337629"/>
                </a:cubicBezTo>
                <a:lnTo>
                  <a:pt x="7078587" y="5351542"/>
                </a:lnTo>
                <a:lnTo>
                  <a:pt x="7078587" y="5722950"/>
                </a:lnTo>
                <a:lnTo>
                  <a:pt x="7071266" y="5736863"/>
                </a:lnTo>
                <a:cubicBezTo>
                  <a:pt x="7057984" y="5756980"/>
                  <a:pt x="7042488" y="5776065"/>
                  <a:pt x="7024778" y="5793774"/>
                </a:cubicBezTo>
                <a:lnTo>
                  <a:pt x="7024778" y="5793772"/>
                </a:lnTo>
                <a:cubicBezTo>
                  <a:pt x="6883102" y="5935449"/>
                  <a:pt x="6653400" y="5935449"/>
                  <a:pt x="6511723" y="5793772"/>
                </a:cubicBezTo>
                <a:lnTo>
                  <a:pt x="717951" y="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8104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2560367" y="433389"/>
            <a:ext cx="9498284" cy="5991225"/>
          </a:xfrm>
          <a:custGeom>
            <a:avLst/>
            <a:gdLst>
              <a:gd name="connsiteX0" fmla="*/ 1123950 w 8667750"/>
              <a:gd name="connsiteY0" fmla="*/ 3867150 h 5467350"/>
              <a:gd name="connsiteX1" fmla="*/ 4933950 w 8667750"/>
              <a:gd name="connsiteY1" fmla="*/ 3867150 h 5467350"/>
              <a:gd name="connsiteX2" fmla="*/ 4933950 w 8667750"/>
              <a:gd name="connsiteY2" fmla="*/ 5467350 h 5467350"/>
              <a:gd name="connsiteX3" fmla="*/ 1123950 w 8667750"/>
              <a:gd name="connsiteY3" fmla="*/ 5467350 h 5467350"/>
              <a:gd name="connsiteX4" fmla="*/ 5181600 w 8667750"/>
              <a:gd name="connsiteY4" fmla="*/ 2038350 h 5467350"/>
              <a:gd name="connsiteX5" fmla="*/ 7524750 w 8667750"/>
              <a:gd name="connsiteY5" fmla="*/ 2038350 h 5467350"/>
              <a:gd name="connsiteX6" fmla="*/ 7524750 w 8667750"/>
              <a:gd name="connsiteY6" fmla="*/ 5467350 h 5467350"/>
              <a:gd name="connsiteX7" fmla="*/ 5181600 w 8667750"/>
              <a:gd name="connsiteY7" fmla="*/ 5467350 h 5467350"/>
              <a:gd name="connsiteX8" fmla="*/ 0 w 8667750"/>
              <a:gd name="connsiteY8" fmla="*/ 1409700 h 5467350"/>
              <a:gd name="connsiteX9" fmla="*/ 2343150 w 8667750"/>
              <a:gd name="connsiteY9" fmla="*/ 1409700 h 5467350"/>
              <a:gd name="connsiteX10" fmla="*/ 2343150 w 8667750"/>
              <a:gd name="connsiteY10" fmla="*/ 3695700 h 5467350"/>
              <a:gd name="connsiteX11" fmla="*/ 0 w 8667750"/>
              <a:gd name="connsiteY11" fmla="*/ 3695700 h 5467350"/>
              <a:gd name="connsiteX12" fmla="*/ 5181600 w 8667750"/>
              <a:gd name="connsiteY12" fmla="*/ 19050 h 5467350"/>
              <a:gd name="connsiteX13" fmla="*/ 8667750 w 8667750"/>
              <a:gd name="connsiteY13" fmla="*/ 19050 h 5467350"/>
              <a:gd name="connsiteX14" fmla="*/ 8667750 w 8667750"/>
              <a:gd name="connsiteY14" fmla="*/ 1828800 h 5467350"/>
              <a:gd name="connsiteX15" fmla="*/ 5181600 w 8667750"/>
              <a:gd name="connsiteY15" fmla="*/ 1828800 h 5467350"/>
              <a:gd name="connsiteX16" fmla="*/ 2590800 w 8667750"/>
              <a:gd name="connsiteY16" fmla="*/ 0 h 5467350"/>
              <a:gd name="connsiteX17" fmla="*/ 4933950 w 8667750"/>
              <a:gd name="connsiteY17" fmla="*/ 0 h 5467350"/>
              <a:gd name="connsiteX18" fmla="*/ 4933950 w 8667750"/>
              <a:gd name="connsiteY18" fmla="*/ 3695700 h 5467350"/>
              <a:gd name="connsiteX19" fmla="*/ 2590800 w 8667750"/>
              <a:gd name="connsiteY19" fmla="*/ 3695700 h 546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667750" h="5467350">
                <a:moveTo>
                  <a:pt x="1123950" y="3867150"/>
                </a:moveTo>
                <a:lnTo>
                  <a:pt x="4933950" y="3867150"/>
                </a:lnTo>
                <a:lnTo>
                  <a:pt x="4933950" y="5467350"/>
                </a:lnTo>
                <a:lnTo>
                  <a:pt x="1123950" y="5467350"/>
                </a:lnTo>
                <a:close/>
                <a:moveTo>
                  <a:pt x="5181600" y="2038350"/>
                </a:moveTo>
                <a:lnTo>
                  <a:pt x="7524750" y="2038350"/>
                </a:lnTo>
                <a:lnTo>
                  <a:pt x="7524750" y="5467350"/>
                </a:lnTo>
                <a:lnTo>
                  <a:pt x="5181600" y="5467350"/>
                </a:lnTo>
                <a:close/>
                <a:moveTo>
                  <a:pt x="0" y="1409700"/>
                </a:moveTo>
                <a:lnTo>
                  <a:pt x="2343150" y="1409700"/>
                </a:lnTo>
                <a:lnTo>
                  <a:pt x="2343150" y="3695700"/>
                </a:lnTo>
                <a:lnTo>
                  <a:pt x="0" y="3695700"/>
                </a:lnTo>
                <a:close/>
                <a:moveTo>
                  <a:pt x="5181600" y="19050"/>
                </a:moveTo>
                <a:lnTo>
                  <a:pt x="8667750" y="19050"/>
                </a:lnTo>
                <a:lnTo>
                  <a:pt x="8667750" y="1828800"/>
                </a:lnTo>
                <a:lnTo>
                  <a:pt x="5181600" y="1828800"/>
                </a:lnTo>
                <a:close/>
                <a:moveTo>
                  <a:pt x="2590800" y="0"/>
                </a:moveTo>
                <a:lnTo>
                  <a:pt x="4933950" y="0"/>
                </a:lnTo>
                <a:lnTo>
                  <a:pt x="4933950" y="3695700"/>
                </a:lnTo>
                <a:lnTo>
                  <a:pt x="2590800" y="3695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61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114300" y="95254"/>
            <a:ext cx="8915400" cy="6667499"/>
          </a:xfrm>
          <a:custGeom>
            <a:avLst/>
            <a:gdLst>
              <a:gd name="connsiteX0" fmla="*/ 6743700 w 8915400"/>
              <a:gd name="connsiteY0" fmla="*/ 4495799 h 6667499"/>
              <a:gd name="connsiteX1" fmla="*/ 8915400 w 8915400"/>
              <a:gd name="connsiteY1" fmla="*/ 4495799 h 6667499"/>
              <a:gd name="connsiteX2" fmla="*/ 8915400 w 8915400"/>
              <a:gd name="connsiteY2" fmla="*/ 6667499 h 6667499"/>
              <a:gd name="connsiteX3" fmla="*/ 6743700 w 8915400"/>
              <a:gd name="connsiteY3" fmla="*/ 6667499 h 6667499"/>
              <a:gd name="connsiteX4" fmla="*/ 2247900 w 8915400"/>
              <a:gd name="connsiteY4" fmla="*/ 4495799 h 6667499"/>
              <a:gd name="connsiteX5" fmla="*/ 4419600 w 8915400"/>
              <a:gd name="connsiteY5" fmla="*/ 4495799 h 6667499"/>
              <a:gd name="connsiteX6" fmla="*/ 4419600 w 8915400"/>
              <a:gd name="connsiteY6" fmla="*/ 6667499 h 6667499"/>
              <a:gd name="connsiteX7" fmla="*/ 2247900 w 8915400"/>
              <a:gd name="connsiteY7" fmla="*/ 6667499 h 6667499"/>
              <a:gd name="connsiteX8" fmla="*/ 0 w 8915400"/>
              <a:gd name="connsiteY8" fmla="*/ 4495799 h 6667499"/>
              <a:gd name="connsiteX9" fmla="*/ 2171700 w 8915400"/>
              <a:gd name="connsiteY9" fmla="*/ 4495799 h 6667499"/>
              <a:gd name="connsiteX10" fmla="*/ 2171700 w 8915400"/>
              <a:gd name="connsiteY10" fmla="*/ 6667499 h 6667499"/>
              <a:gd name="connsiteX11" fmla="*/ 0 w 8915400"/>
              <a:gd name="connsiteY11" fmla="*/ 6667499 h 6667499"/>
              <a:gd name="connsiteX12" fmla="*/ 4495800 w 8915400"/>
              <a:gd name="connsiteY12" fmla="*/ 4476749 h 6667499"/>
              <a:gd name="connsiteX13" fmla="*/ 6667500 w 8915400"/>
              <a:gd name="connsiteY13" fmla="*/ 4476749 h 6667499"/>
              <a:gd name="connsiteX14" fmla="*/ 6667500 w 8915400"/>
              <a:gd name="connsiteY14" fmla="*/ 6648449 h 6667499"/>
              <a:gd name="connsiteX15" fmla="*/ 4495800 w 8915400"/>
              <a:gd name="connsiteY15" fmla="*/ 6648449 h 6667499"/>
              <a:gd name="connsiteX16" fmla="*/ 6743700 w 8915400"/>
              <a:gd name="connsiteY16" fmla="*/ 2257424 h 6667499"/>
              <a:gd name="connsiteX17" fmla="*/ 8915400 w 8915400"/>
              <a:gd name="connsiteY17" fmla="*/ 2257424 h 6667499"/>
              <a:gd name="connsiteX18" fmla="*/ 8915400 w 8915400"/>
              <a:gd name="connsiteY18" fmla="*/ 4429124 h 6667499"/>
              <a:gd name="connsiteX19" fmla="*/ 6743700 w 8915400"/>
              <a:gd name="connsiteY19" fmla="*/ 4429124 h 6667499"/>
              <a:gd name="connsiteX20" fmla="*/ 2247900 w 8915400"/>
              <a:gd name="connsiteY20" fmla="*/ 2257424 h 6667499"/>
              <a:gd name="connsiteX21" fmla="*/ 4419600 w 8915400"/>
              <a:gd name="connsiteY21" fmla="*/ 2257424 h 6667499"/>
              <a:gd name="connsiteX22" fmla="*/ 4419600 w 8915400"/>
              <a:gd name="connsiteY22" fmla="*/ 4429124 h 6667499"/>
              <a:gd name="connsiteX23" fmla="*/ 2247900 w 8915400"/>
              <a:gd name="connsiteY23" fmla="*/ 4429124 h 6667499"/>
              <a:gd name="connsiteX24" fmla="*/ 0 w 8915400"/>
              <a:gd name="connsiteY24" fmla="*/ 2257424 h 6667499"/>
              <a:gd name="connsiteX25" fmla="*/ 2171700 w 8915400"/>
              <a:gd name="connsiteY25" fmla="*/ 2257424 h 6667499"/>
              <a:gd name="connsiteX26" fmla="*/ 2171700 w 8915400"/>
              <a:gd name="connsiteY26" fmla="*/ 4429124 h 6667499"/>
              <a:gd name="connsiteX27" fmla="*/ 0 w 8915400"/>
              <a:gd name="connsiteY27" fmla="*/ 4429124 h 6667499"/>
              <a:gd name="connsiteX28" fmla="*/ 4495800 w 8915400"/>
              <a:gd name="connsiteY28" fmla="*/ 2238374 h 6667499"/>
              <a:gd name="connsiteX29" fmla="*/ 6667500 w 8915400"/>
              <a:gd name="connsiteY29" fmla="*/ 2238374 h 6667499"/>
              <a:gd name="connsiteX30" fmla="*/ 6667500 w 8915400"/>
              <a:gd name="connsiteY30" fmla="*/ 4410074 h 6667499"/>
              <a:gd name="connsiteX31" fmla="*/ 4495800 w 8915400"/>
              <a:gd name="connsiteY31" fmla="*/ 4410074 h 6667499"/>
              <a:gd name="connsiteX32" fmla="*/ 6743700 w 8915400"/>
              <a:gd name="connsiteY32" fmla="*/ 19050 h 6667499"/>
              <a:gd name="connsiteX33" fmla="*/ 8915400 w 8915400"/>
              <a:gd name="connsiteY33" fmla="*/ 19050 h 6667499"/>
              <a:gd name="connsiteX34" fmla="*/ 8915400 w 8915400"/>
              <a:gd name="connsiteY34" fmla="*/ 2190749 h 6667499"/>
              <a:gd name="connsiteX35" fmla="*/ 6743700 w 8915400"/>
              <a:gd name="connsiteY35" fmla="*/ 2190749 h 6667499"/>
              <a:gd name="connsiteX36" fmla="*/ 2247900 w 8915400"/>
              <a:gd name="connsiteY36" fmla="*/ 19050 h 6667499"/>
              <a:gd name="connsiteX37" fmla="*/ 4419600 w 8915400"/>
              <a:gd name="connsiteY37" fmla="*/ 19050 h 6667499"/>
              <a:gd name="connsiteX38" fmla="*/ 4419600 w 8915400"/>
              <a:gd name="connsiteY38" fmla="*/ 2190749 h 6667499"/>
              <a:gd name="connsiteX39" fmla="*/ 2247900 w 8915400"/>
              <a:gd name="connsiteY39" fmla="*/ 2190749 h 6667499"/>
              <a:gd name="connsiteX40" fmla="*/ 0 w 8915400"/>
              <a:gd name="connsiteY40" fmla="*/ 19050 h 6667499"/>
              <a:gd name="connsiteX41" fmla="*/ 2171700 w 8915400"/>
              <a:gd name="connsiteY41" fmla="*/ 19050 h 6667499"/>
              <a:gd name="connsiteX42" fmla="*/ 2171700 w 8915400"/>
              <a:gd name="connsiteY42" fmla="*/ 2190749 h 6667499"/>
              <a:gd name="connsiteX43" fmla="*/ 0 w 8915400"/>
              <a:gd name="connsiteY43" fmla="*/ 2190749 h 6667499"/>
              <a:gd name="connsiteX44" fmla="*/ 4495800 w 8915400"/>
              <a:gd name="connsiteY44" fmla="*/ 0 h 6667499"/>
              <a:gd name="connsiteX45" fmla="*/ 6667500 w 8915400"/>
              <a:gd name="connsiteY45" fmla="*/ 0 h 6667499"/>
              <a:gd name="connsiteX46" fmla="*/ 6667500 w 8915400"/>
              <a:gd name="connsiteY46" fmla="*/ 2171699 h 6667499"/>
              <a:gd name="connsiteX47" fmla="*/ 4495800 w 8915400"/>
              <a:gd name="connsiteY47" fmla="*/ 2171699 h 666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915400" h="6667499">
                <a:moveTo>
                  <a:pt x="6743700" y="4495799"/>
                </a:moveTo>
                <a:lnTo>
                  <a:pt x="8915400" y="4495799"/>
                </a:lnTo>
                <a:lnTo>
                  <a:pt x="8915400" y="6667499"/>
                </a:lnTo>
                <a:lnTo>
                  <a:pt x="6743700" y="6667499"/>
                </a:lnTo>
                <a:close/>
                <a:moveTo>
                  <a:pt x="2247900" y="4495799"/>
                </a:moveTo>
                <a:lnTo>
                  <a:pt x="4419600" y="4495799"/>
                </a:lnTo>
                <a:lnTo>
                  <a:pt x="4419600" y="6667499"/>
                </a:lnTo>
                <a:lnTo>
                  <a:pt x="2247900" y="6667499"/>
                </a:lnTo>
                <a:close/>
                <a:moveTo>
                  <a:pt x="0" y="4495799"/>
                </a:moveTo>
                <a:lnTo>
                  <a:pt x="2171700" y="4495799"/>
                </a:lnTo>
                <a:lnTo>
                  <a:pt x="2171700" y="6667499"/>
                </a:lnTo>
                <a:lnTo>
                  <a:pt x="0" y="6667499"/>
                </a:lnTo>
                <a:close/>
                <a:moveTo>
                  <a:pt x="4495800" y="4476749"/>
                </a:moveTo>
                <a:lnTo>
                  <a:pt x="6667500" y="4476749"/>
                </a:lnTo>
                <a:lnTo>
                  <a:pt x="6667500" y="6648449"/>
                </a:lnTo>
                <a:lnTo>
                  <a:pt x="4495800" y="6648449"/>
                </a:lnTo>
                <a:close/>
                <a:moveTo>
                  <a:pt x="6743700" y="2257424"/>
                </a:moveTo>
                <a:lnTo>
                  <a:pt x="8915400" y="2257424"/>
                </a:lnTo>
                <a:lnTo>
                  <a:pt x="8915400" y="4429124"/>
                </a:lnTo>
                <a:lnTo>
                  <a:pt x="6743700" y="4429124"/>
                </a:lnTo>
                <a:close/>
                <a:moveTo>
                  <a:pt x="2247900" y="2257424"/>
                </a:moveTo>
                <a:lnTo>
                  <a:pt x="4419600" y="2257424"/>
                </a:lnTo>
                <a:lnTo>
                  <a:pt x="4419600" y="4429124"/>
                </a:lnTo>
                <a:lnTo>
                  <a:pt x="2247900" y="4429124"/>
                </a:lnTo>
                <a:close/>
                <a:moveTo>
                  <a:pt x="0" y="2257424"/>
                </a:moveTo>
                <a:lnTo>
                  <a:pt x="2171700" y="2257424"/>
                </a:lnTo>
                <a:lnTo>
                  <a:pt x="2171700" y="4429124"/>
                </a:lnTo>
                <a:lnTo>
                  <a:pt x="0" y="4429124"/>
                </a:lnTo>
                <a:close/>
                <a:moveTo>
                  <a:pt x="4495800" y="2238374"/>
                </a:moveTo>
                <a:lnTo>
                  <a:pt x="6667500" y="2238374"/>
                </a:lnTo>
                <a:lnTo>
                  <a:pt x="6667500" y="4410074"/>
                </a:lnTo>
                <a:lnTo>
                  <a:pt x="4495800" y="4410074"/>
                </a:lnTo>
                <a:close/>
                <a:moveTo>
                  <a:pt x="6743700" y="19050"/>
                </a:moveTo>
                <a:lnTo>
                  <a:pt x="8915400" y="19050"/>
                </a:lnTo>
                <a:lnTo>
                  <a:pt x="8915400" y="2190749"/>
                </a:lnTo>
                <a:lnTo>
                  <a:pt x="6743700" y="2190749"/>
                </a:lnTo>
                <a:close/>
                <a:moveTo>
                  <a:pt x="2247900" y="19050"/>
                </a:moveTo>
                <a:lnTo>
                  <a:pt x="4419600" y="19050"/>
                </a:lnTo>
                <a:lnTo>
                  <a:pt x="4419600" y="2190749"/>
                </a:lnTo>
                <a:lnTo>
                  <a:pt x="2247900" y="2190749"/>
                </a:lnTo>
                <a:close/>
                <a:moveTo>
                  <a:pt x="0" y="19050"/>
                </a:moveTo>
                <a:lnTo>
                  <a:pt x="2171700" y="19050"/>
                </a:lnTo>
                <a:lnTo>
                  <a:pt x="2171700" y="2190749"/>
                </a:lnTo>
                <a:lnTo>
                  <a:pt x="0" y="2190749"/>
                </a:lnTo>
                <a:close/>
                <a:moveTo>
                  <a:pt x="4495800" y="0"/>
                </a:moveTo>
                <a:lnTo>
                  <a:pt x="6667500" y="0"/>
                </a:lnTo>
                <a:lnTo>
                  <a:pt x="6667500" y="2171699"/>
                </a:lnTo>
                <a:lnTo>
                  <a:pt x="4495800" y="2171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2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652463"/>
            <a:ext cx="5675313" cy="5530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75314" y="668338"/>
            <a:ext cx="2684463" cy="2760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675314" y="3444875"/>
            <a:ext cx="2684463" cy="27606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59777" y="668340"/>
            <a:ext cx="3832225" cy="55530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48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4371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581150"/>
            <a:ext cx="12192000" cy="3714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59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90550" y="704850"/>
            <a:ext cx="3714751" cy="54673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476751" y="685800"/>
            <a:ext cx="71628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476750" y="2667000"/>
            <a:ext cx="3486151" cy="224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153401" y="2667000"/>
            <a:ext cx="3486151" cy="2247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76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24000" y="666750"/>
            <a:ext cx="4572000" cy="6191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53201" y="666750"/>
            <a:ext cx="1866900" cy="1866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11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3429000"/>
            <a:ext cx="43053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305301" y="0"/>
            <a:ext cx="78867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4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943474" y="419100"/>
            <a:ext cx="2610853" cy="3200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50944" y="3238500"/>
            <a:ext cx="2610853" cy="3200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351" y="1257300"/>
            <a:ext cx="3543300" cy="4343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2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861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429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29001" y="3429000"/>
            <a:ext cx="36195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048501" y="3429000"/>
            <a:ext cx="51435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18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24001" y="685800"/>
            <a:ext cx="4076700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610349" y="685800"/>
            <a:ext cx="4057651" cy="4591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66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600200"/>
            <a:ext cx="2457451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28900" y="1600200"/>
            <a:ext cx="37338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534151" y="1600200"/>
            <a:ext cx="41910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629650" y="4114800"/>
            <a:ext cx="3562351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286251" y="4114800"/>
            <a:ext cx="4191000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14400" y="4114800"/>
            <a:ext cx="3219451" cy="236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50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057650" y="2533650"/>
            <a:ext cx="1504951" cy="1504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1" y="4686300"/>
            <a:ext cx="1504951" cy="1504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2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 flipH="1">
            <a:off x="2038085" y="0"/>
            <a:ext cx="2846788" cy="6858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84011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81000" y="609600"/>
            <a:ext cx="3657600" cy="2743200"/>
          </a:xfrm>
          <a:prstGeom prst="rect">
            <a:avLst/>
          </a:prstGeom>
          <a:effectLst>
            <a:outerShdw blurRad="4064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267200" y="60960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53400" y="60960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810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2672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8153400" y="3524250"/>
            <a:ext cx="3657600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30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877051" y="1352550"/>
            <a:ext cx="4457700" cy="55054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2077" y="3495677"/>
            <a:ext cx="1400175" cy="33623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4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741863" y="2960688"/>
            <a:ext cx="2836863" cy="38973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1490854" y="3162300"/>
            <a:ext cx="1813033" cy="3695700"/>
          </a:xfrm>
          <a:custGeom>
            <a:avLst/>
            <a:gdLst>
              <a:gd name="connsiteX0" fmla="*/ 0 w 1782036"/>
              <a:gd name="connsiteY0" fmla="*/ 0 h 3695700"/>
              <a:gd name="connsiteX1" fmla="*/ 1782036 w 1782036"/>
              <a:gd name="connsiteY1" fmla="*/ 0 h 3695700"/>
              <a:gd name="connsiteX2" fmla="*/ 1782036 w 1782036"/>
              <a:gd name="connsiteY2" fmla="*/ 3695700 h 3695700"/>
              <a:gd name="connsiteX3" fmla="*/ 0 w 1782036"/>
              <a:gd name="connsiteY3" fmla="*/ 3695700 h 3695700"/>
              <a:gd name="connsiteX4" fmla="*/ 0 w 1782036"/>
              <a:gd name="connsiteY4" fmla="*/ 0 h 3695700"/>
              <a:gd name="connsiteX0" fmla="*/ 0 w 1813033"/>
              <a:gd name="connsiteY0" fmla="*/ 418454 h 3695700"/>
              <a:gd name="connsiteX1" fmla="*/ 1813033 w 1813033"/>
              <a:gd name="connsiteY1" fmla="*/ 0 h 3695700"/>
              <a:gd name="connsiteX2" fmla="*/ 1813033 w 1813033"/>
              <a:gd name="connsiteY2" fmla="*/ 3695700 h 3695700"/>
              <a:gd name="connsiteX3" fmla="*/ 30997 w 1813033"/>
              <a:gd name="connsiteY3" fmla="*/ 3695700 h 3695700"/>
              <a:gd name="connsiteX4" fmla="*/ 0 w 1813033"/>
              <a:gd name="connsiteY4" fmla="*/ 418454 h 36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033" h="3695700">
                <a:moveTo>
                  <a:pt x="0" y="418454"/>
                </a:moveTo>
                <a:lnTo>
                  <a:pt x="1813033" y="0"/>
                </a:lnTo>
                <a:lnTo>
                  <a:pt x="1813033" y="3695700"/>
                </a:lnTo>
                <a:lnTo>
                  <a:pt x="30997" y="3695700"/>
                </a:lnTo>
                <a:lnTo>
                  <a:pt x="0" y="41845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9048452" y="3162300"/>
            <a:ext cx="1796675" cy="3695700"/>
          </a:xfrm>
          <a:custGeom>
            <a:avLst/>
            <a:gdLst>
              <a:gd name="connsiteX0" fmla="*/ 0 w 1781175"/>
              <a:gd name="connsiteY0" fmla="*/ 0 h 3695700"/>
              <a:gd name="connsiteX1" fmla="*/ 1781175 w 1781175"/>
              <a:gd name="connsiteY1" fmla="*/ 0 h 3695700"/>
              <a:gd name="connsiteX2" fmla="*/ 1781175 w 1781175"/>
              <a:gd name="connsiteY2" fmla="*/ 3695700 h 3695700"/>
              <a:gd name="connsiteX3" fmla="*/ 0 w 1781175"/>
              <a:gd name="connsiteY3" fmla="*/ 3695700 h 3695700"/>
              <a:gd name="connsiteX4" fmla="*/ 0 w 1781175"/>
              <a:gd name="connsiteY4" fmla="*/ 0 h 3695700"/>
              <a:gd name="connsiteX0" fmla="*/ 0 w 1796674"/>
              <a:gd name="connsiteY0" fmla="*/ 0 h 3695700"/>
              <a:gd name="connsiteX1" fmla="*/ 1796674 w 1796674"/>
              <a:gd name="connsiteY1" fmla="*/ 418455 h 3695700"/>
              <a:gd name="connsiteX2" fmla="*/ 1781175 w 1796674"/>
              <a:gd name="connsiteY2" fmla="*/ 3695700 h 3695700"/>
              <a:gd name="connsiteX3" fmla="*/ 0 w 1796674"/>
              <a:gd name="connsiteY3" fmla="*/ 3695700 h 3695700"/>
              <a:gd name="connsiteX4" fmla="*/ 0 w 1796674"/>
              <a:gd name="connsiteY4" fmla="*/ 0 h 36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6674" h="3695700">
                <a:moveTo>
                  <a:pt x="0" y="0"/>
                </a:moveTo>
                <a:lnTo>
                  <a:pt x="1796674" y="418455"/>
                </a:lnTo>
                <a:cubicBezTo>
                  <a:pt x="1791508" y="1510870"/>
                  <a:pt x="1786341" y="2603285"/>
                  <a:pt x="1781175" y="3695700"/>
                </a:cubicBezTo>
                <a:lnTo>
                  <a:pt x="0" y="36957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33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38151" y="819150"/>
            <a:ext cx="6629400" cy="3790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409951" y="3276600"/>
            <a:ext cx="5029200" cy="1905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47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229101" y="762000"/>
            <a:ext cx="3695700" cy="4914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148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8401051" y="1905000"/>
            <a:ext cx="2552700" cy="3028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9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496051" y="2800350"/>
            <a:ext cx="4800600" cy="31623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315783" y="1562100"/>
            <a:ext cx="4800600" cy="3162300"/>
          </a:xfrm>
          <a:prstGeom prst="rect">
            <a:avLst/>
          </a:prstGeom>
          <a:effectLst>
            <a:outerShdw blurRad="4826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2045505" y="419100"/>
            <a:ext cx="4800600" cy="3162300"/>
          </a:xfrm>
          <a:prstGeom prst="rect">
            <a:avLst/>
          </a:prstGeom>
          <a:effectLst>
            <a:outerShdw blurRad="4826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27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1085849" y="2857500"/>
            <a:ext cx="4667251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751027" y="590549"/>
            <a:ext cx="4667251" cy="3086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5311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065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581802" y="1036499"/>
            <a:ext cx="5032783" cy="4796876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8102211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25434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801288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647721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445012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678619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82505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04138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98185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9660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30684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7302220" y="1720516"/>
            <a:ext cx="3380433" cy="5137484"/>
          </a:xfrm>
          <a:prstGeom prst="rect">
            <a:avLst/>
          </a:prstGeom>
          <a:noFill/>
          <a:ln w="762000">
            <a:noFill/>
            <a:miter lim="800000"/>
          </a:ln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6554822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751581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47793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20457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806957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0944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9703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528627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09391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6244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007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876165" y="866777"/>
            <a:ext cx="2438083" cy="5133975"/>
          </a:xfrm>
          <a:prstGeom prst="rect">
            <a:avLst/>
          </a:prstGeom>
          <a:noFill/>
          <a:ln w="508000">
            <a:noFill/>
            <a:miter lim="800000"/>
          </a:ln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292259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658338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08011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66635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71858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148114"/>
            <a:ext cx="711200" cy="2627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800"/>
          </a:p>
        </p:txBody>
      </p:sp>
    </p:spTree>
    <p:extLst>
      <p:ext uri="{BB962C8B-B14F-4D97-AF65-F5344CB8AC3E}">
        <p14:creationId xmlns:p14="http://schemas.microsoft.com/office/powerpoint/2010/main" val="3702079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17448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8186058" y="2"/>
            <a:ext cx="4005943" cy="22932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</p:spTree>
    <p:extLst>
      <p:ext uri="{BB962C8B-B14F-4D97-AF65-F5344CB8AC3E}">
        <p14:creationId xmlns:p14="http://schemas.microsoft.com/office/powerpoint/2010/main" val="415252990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170706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126693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60355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077693" y="2286000"/>
            <a:ext cx="4041123" cy="22860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8288303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03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1" y="692945"/>
            <a:ext cx="6392335" cy="547211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422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DB1D66-61DB-4025-AF8C-37FD48F0A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DC671-AE47-4674-A005-E71857B17AF9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1A7BA0-D5AD-430F-8993-09C30A89D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E7AF7-CDBA-4266-BAA3-2AA128DD4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CFA36-8BA7-4F17-8412-F85AC937E5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7475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09651" y="2185989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638551" y="2185989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67451" y="2185989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896351" y="2185989"/>
            <a:ext cx="2277408" cy="248602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42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096000" y="1700784"/>
            <a:ext cx="6096000" cy="3456432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777421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 flipH="1">
            <a:off x="3047605" y="432349"/>
            <a:ext cx="8767719" cy="4725807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352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8956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047605" y="2286000"/>
            <a:ext cx="8381703" cy="22860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36276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 flipH="1">
            <a:off x="745861" y="1528011"/>
            <a:ext cx="5350139" cy="2646948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233362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761901" y="2286000"/>
            <a:ext cx="6552347" cy="45720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51558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046540" y="2006255"/>
            <a:ext cx="6098923" cy="2847976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228451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096000" y="1376363"/>
            <a:ext cx="4081391" cy="4110038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4719199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072707" y="866276"/>
            <a:ext cx="4054236" cy="5134477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5658172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569683" y="431076"/>
            <a:ext cx="4074959" cy="5125453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672047"/>
            <a:ext cx="2021043" cy="4572000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1337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 flipH="1">
            <a:off x="7303302" y="420624"/>
            <a:ext cx="4513881" cy="6016752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12"/>
          </p:nvPr>
        </p:nvSpPr>
        <p:spPr>
          <a:xfrm flipH="1">
            <a:off x="5274360" y="1371600"/>
            <a:ext cx="3246809" cy="41148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92524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95401" y="2034988"/>
            <a:ext cx="6406225" cy="4130379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8435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153959" y="2011681"/>
            <a:ext cx="3036455" cy="2571471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2" y="1645921"/>
            <a:ext cx="2534193" cy="521208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9828666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2774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690759" y="847727"/>
            <a:ext cx="3048397" cy="3438525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80951" y="3429000"/>
            <a:ext cx="2057132" cy="30099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942922" y="4124327"/>
            <a:ext cx="3361887" cy="2314575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781431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7314247" y="0"/>
            <a:ext cx="2844431" cy="3429000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0" y="4583153"/>
            <a:ext cx="4065059" cy="1859983"/>
          </a:xfrm>
          <a:prstGeom prst="rect">
            <a:avLst/>
          </a:prstGeom>
          <a:noFill/>
        </p:spPr>
        <p:txBody>
          <a:bodyPr/>
          <a:lstStyle>
            <a:lvl1pPr>
              <a:defRPr sz="2699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155504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6002" y="423334"/>
            <a:ext cx="5334100" cy="1854200"/>
          </a:xfrm>
          <a:custGeom>
            <a:avLst/>
            <a:gdLst>
              <a:gd name="connsiteX0" fmla="*/ 0 w 10669589"/>
              <a:gd name="connsiteY0" fmla="*/ 0 h 3708400"/>
              <a:gd name="connsiteX1" fmla="*/ 10669589 w 10669589"/>
              <a:gd name="connsiteY1" fmla="*/ 0 h 3708400"/>
              <a:gd name="connsiteX2" fmla="*/ 10669589 w 10669589"/>
              <a:gd name="connsiteY2" fmla="*/ 3708400 h 3708400"/>
              <a:gd name="connsiteX3" fmla="*/ 0 w 10669589"/>
              <a:gd name="connsiteY3" fmla="*/ 3708400 h 370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69589" h="3708400">
                <a:moveTo>
                  <a:pt x="0" y="0"/>
                </a:moveTo>
                <a:lnTo>
                  <a:pt x="10669589" y="0"/>
                </a:lnTo>
                <a:lnTo>
                  <a:pt x="10669589" y="3708400"/>
                </a:lnTo>
                <a:lnTo>
                  <a:pt x="0" y="37084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id-ID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071937" y="3429001"/>
            <a:ext cx="2024065" cy="2571750"/>
          </a:xfrm>
          <a:custGeom>
            <a:avLst/>
            <a:gdLst>
              <a:gd name="connsiteX0" fmla="*/ 0 w 4048655"/>
              <a:gd name="connsiteY0" fmla="*/ 0 h 5143500"/>
              <a:gd name="connsiteX1" fmla="*/ 4048655 w 4048655"/>
              <a:gd name="connsiteY1" fmla="*/ 0 h 5143500"/>
              <a:gd name="connsiteX2" fmla="*/ 4048655 w 4048655"/>
              <a:gd name="connsiteY2" fmla="*/ 5143500 h 5143500"/>
              <a:gd name="connsiteX3" fmla="*/ 0 w 4048655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8655" h="5143500">
                <a:moveTo>
                  <a:pt x="0" y="0"/>
                </a:moveTo>
                <a:lnTo>
                  <a:pt x="4048655" y="0"/>
                </a:lnTo>
                <a:lnTo>
                  <a:pt x="4048655" y="5143500"/>
                </a:lnTo>
                <a:lnTo>
                  <a:pt x="0" y="51435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0886307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222999" y="768626"/>
            <a:ext cx="1824604" cy="3346174"/>
          </a:xfrm>
          <a:custGeom>
            <a:avLst/>
            <a:gdLst>
              <a:gd name="connsiteX0" fmla="*/ 0 w 4048655"/>
              <a:gd name="connsiteY0" fmla="*/ 0 h 5143500"/>
              <a:gd name="connsiteX1" fmla="*/ 4048655 w 4048655"/>
              <a:gd name="connsiteY1" fmla="*/ 0 h 5143500"/>
              <a:gd name="connsiteX2" fmla="*/ 4048655 w 4048655"/>
              <a:gd name="connsiteY2" fmla="*/ 5143500 h 5143500"/>
              <a:gd name="connsiteX3" fmla="*/ 0 w 4048655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8655" h="5143500">
                <a:moveTo>
                  <a:pt x="0" y="0"/>
                </a:moveTo>
                <a:lnTo>
                  <a:pt x="4048655" y="0"/>
                </a:lnTo>
                <a:lnTo>
                  <a:pt x="4048655" y="5143500"/>
                </a:lnTo>
                <a:lnTo>
                  <a:pt x="0" y="51435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id-ID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71397" y="1206776"/>
            <a:ext cx="1824604" cy="3346174"/>
          </a:xfrm>
          <a:custGeom>
            <a:avLst/>
            <a:gdLst>
              <a:gd name="connsiteX0" fmla="*/ 0 w 4048655"/>
              <a:gd name="connsiteY0" fmla="*/ 0 h 5143500"/>
              <a:gd name="connsiteX1" fmla="*/ 4048655 w 4048655"/>
              <a:gd name="connsiteY1" fmla="*/ 0 h 5143500"/>
              <a:gd name="connsiteX2" fmla="*/ 4048655 w 4048655"/>
              <a:gd name="connsiteY2" fmla="*/ 5143500 h 5143500"/>
              <a:gd name="connsiteX3" fmla="*/ 0 w 4048655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8655" h="5143500">
                <a:moveTo>
                  <a:pt x="0" y="0"/>
                </a:moveTo>
                <a:lnTo>
                  <a:pt x="4048655" y="0"/>
                </a:lnTo>
                <a:lnTo>
                  <a:pt x="4048655" y="5143500"/>
                </a:lnTo>
                <a:lnTo>
                  <a:pt x="0" y="51435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id-ID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367397" y="2654576"/>
            <a:ext cx="1824604" cy="3346174"/>
          </a:xfrm>
          <a:custGeom>
            <a:avLst/>
            <a:gdLst>
              <a:gd name="connsiteX0" fmla="*/ 0 w 4048655"/>
              <a:gd name="connsiteY0" fmla="*/ 0 h 5143500"/>
              <a:gd name="connsiteX1" fmla="*/ 4048655 w 4048655"/>
              <a:gd name="connsiteY1" fmla="*/ 0 h 5143500"/>
              <a:gd name="connsiteX2" fmla="*/ 4048655 w 4048655"/>
              <a:gd name="connsiteY2" fmla="*/ 5143500 h 5143500"/>
              <a:gd name="connsiteX3" fmla="*/ 0 w 4048655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8655" h="5143500">
                <a:moveTo>
                  <a:pt x="0" y="0"/>
                </a:moveTo>
                <a:lnTo>
                  <a:pt x="4048655" y="0"/>
                </a:lnTo>
                <a:lnTo>
                  <a:pt x="4048655" y="5143500"/>
                </a:lnTo>
                <a:lnTo>
                  <a:pt x="0" y="51435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1013935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EB4AAB-F804-46DF-9099-9AFAA48D9F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12261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3269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8EFF67-431C-4DBC-B1D8-6684E1E0DD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6355" y="0"/>
            <a:ext cx="312261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7828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DB2FB1B-EA0D-48ED-A242-427A82A28B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9110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EDCB2D-72AB-4F5F-9A07-F28A248C7E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0771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7EFA17-9BD2-4511-8719-707B00570E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89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05A0BE0-9EE9-46E2-B4D8-A3F661EB9F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215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4528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7D7C4EF-C78F-4F9A-9973-3642BDCD0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870700" cy="6870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3794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D6C5D08-764A-40E6-8F7D-B5FF8A1AC0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55938" y="0"/>
            <a:ext cx="913606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0392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29D5B6F-3035-432B-B6C3-6CFD012009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9738" y="392113"/>
            <a:ext cx="11312525" cy="6100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5819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83CBA2E-9931-449F-A9C3-96885F8515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70029" y="0"/>
            <a:ext cx="4833937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5018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970E081-CCBB-4414-AB27-5A2C334C2C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4585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E8800B-D2CD-498F-8871-7546FD544E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A9418288-8F75-4426-9CF0-233B93763F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029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046D9B7-4A8A-42E9-9EA4-E483C971D2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227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46184CA-E9AF-4922-8FE2-C922281B5F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289" y="338865"/>
            <a:ext cx="10893425" cy="28479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131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FDD0435-D9E3-44DD-8DC1-07C77A9C76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8789" y="803275"/>
            <a:ext cx="5251451" cy="5251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9326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095067-7C81-413A-A0DF-D095A36660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49738" y="1384300"/>
            <a:ext cx="7942263" cy="4089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902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1795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244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12192000" cy="3193035"/>
          </a:xfrm>
          <a:prstGeom prst="rect">
            <a:avLst/>
          </a:prstGeom>
          <a:pattFill prst="pct80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 b="0" i="0" baseline="0">
                <a:latin typeface="Roboto Condensed Light" charset="0"/>
                <a:ea typeface="Roboto Condensed Light" charset="0"/>
                <a:cs typeface="Roboto Condensed Light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7290495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068992" y="0"/>
            <a:ext cx="6123008" cy="6858000"/>
          </a:xfrm>
          <a:prstGeom prst="rect">
            <a:avLst/>
          </a:prstGeom>
          <a:pattFill prst="pct80">
            <a:fgClr>
              <a:schemeClr val="bg1">
                <a:lumMod val="65000"/>
              </a:schemeClr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 b="0" i="0" baseline="0">
                <a:latin typeface="Roboto Light" charset="0"/>
                <a:ea typeface="Roboto Light" charset="0"/>
                <a:cs typeface="Roboto Light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153330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ojects of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1828800"/>
            <a:ext cx="12192000" cy="50292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339741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456040" y="-8950"/>
            <a:ext cx="3600400" cy="686695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 sz="2700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0890401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317011" y="1871625"/>
            <a:ext cx="3644909" cy="6443594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299549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pos="384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90363" y="1954531"/>
            <a:ext cx="1659300" cy="2948940"/>
          </a:xfrm>
          <a:prstGeom prst="rect">
            <a:avLst/>
          </a:prstGeom>
          <a:noFill/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2743361" y="1954530"/>
            <a:ext cx="1659300" cy="2948940"/>
          </a:xfrm>
          <a:prstGeom prst="rect">
            <a:avLst/>
          </a:prstGeom>
          <a:noFill/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769631" y="1954530"/>
            <a:ext cx="1659300" cy="2948940"/>
          </a:xfrm>
          <a:prstGeom prst="rect">
            <a:avLst/>
          </a:prstGeom>
          <a:noFill/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608587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991472B-3538-4047-922D-C973C8EC98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85998" y="1973929"/>
            <a:ext cx="2483372" cy="291014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493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 rot="5400000">
            <a:off x="1685219" y="4035683"/>
            <a:ext cx="1771047" cy="3113308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46630" y="2626793"/>
            <a:ext cx="2001319" cy="3574077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10863125" y="4953406"/>
            <a:ext cx="774384" cy="963299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3277849" y="1822129"/>
            <a:ext cx="5278351" cy="396553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986327" y="2458308"/>
            <a:ext cx="691979" cy="131412"/>
          </a:xfrm>
          <a:prstGeom prst="rect">
            <a:avLst/>
          </a:prstGeom>
          <a:solidFill>
            <a:srgbClr val="F4F4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631831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299E6E9-F382-4265-A681-416720C855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0039" y="1719265"/>
            <a:ext cx="2865437" cy="38496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916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5676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E943B04-A1C0-4BD8-8C05-DAA93908C2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54714" y="1620840"/>
            <a:ext cx="2935287" cy="3970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FB8ACA5-5EF7-4B03-AA28-7EE9725344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79114" y="1620840"/>
            <a:ext cx="2935287" cy="3970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23BBB25-3E56-4D3A-B0C9-22BD8D3B7B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97530" y="1620840"/>
            <a:ext cx="2935287" cy="3970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6757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CBF97D5-3C8C-4C6D-825F-97F441A80B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5550" y="1933577"/>
            <a:ext cx="1722439" cy="307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FB487C9D-DDF6-42E2-BD4B-A769258335C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97785" y="1933577"/>
            <a:ext cx="1722439" cy="307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9A3347D2-C89D-44A9-916B-287B4B509B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60775" y="1933577"/>
            <a:ext cx="1722439" cy="307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8">
            <a:extLst>
              <a:ext uri="{FF2B5EF4-FFF2-40B4-BE49-F238E27FC236}">
                <a16:creationId xmlns:a16="http://schemas.microsoft.com/office/drawing/2014/main" id="{FC6D39DA-6E36-4959-8A68-A352C74EC1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32758" y="1933577"/>
            <a:ext cx="1722439" cy="3070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2288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66129" y="2131268"/>
            <a:ext cx="5026767" cy="316395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450015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22E9DF7-E326-4FA5-B47D-6F73A25F9B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14514" y="1077913"/>
            <a:ext cx="1747837" cy="1992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DDA4CE6-E813-4F25-9AD1-A094D6DA46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70742" y="1077913"/>
            <a:ext cx="1747837" cy="1992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685150B4-9418-4F1F-B665-3BBCC911AD2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14716" y="1077913"/>
            <a:ext cx="1747837" cy="1992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002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81854" y="1571328"/>
            <a:ext cx="5522257" cy="3427746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9263226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02279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7371397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tx1">
              <a:alpha val="89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70550218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69928-9221-4293-B59A-7EBC4D93E2DF}" type="datetimeFigureOut">
              <a:rPr lang="en-US" smtClean="0"/>
              <a:t>6/2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A6F1E-40CC-4F6A-9CE7-7280319160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8592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917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8060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4508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94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436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>
            <a:spLocks noGrp="1"/>
          </p:cNvSpPr>
          <p:nvPr>
            <p:ph type="pic" sz="quarter" idx="10"/>
          </p:nvPr>
        </p:nvSpPr>
        <p:spPr>
          <a:xfrm>
            <a:off x="4757981" y="4"/>
            <a:ext cx="7434020" cy="6819247"/>
          </a:xfrm>
          <a:custGeom>
            <a:avLst/>
            <a:gdLst>
              <a:gd name="connsiteX0" fmla="*/ 924732 w 7434020"/>
              <a:gd name="connsiteY0" fmla="*/ 6292305 h 6819247"/>
              <a:gd name="connsiteX1" fmla="*/ 7418522 w 7434020"/>
              <a:gd name="connsiteY1" fmla="*/ 6292305 h 6819247"/>
              <a:gd name="connsiteX2" fmla="*/ 7418522 w 7434020"/>
              <a:gd name="connsiteY2" fmla="*/ 6819247 h 6819247"/>
              <a:gd name="connsiteX3" fmla="*/ 924732 w 7434020"/>
              <a:gd name="connsiteY3" fmla="*/ 6819247 h 6819247"/>
              <a:gd name="connsiteX4" fmla="*/ 924732 w 7434020"/>
              <a:gd name="connsiteY4" fmla="*/ 5594882 h 6819247"/>
              <a:gd name="connsiteX5" fmla="*/ 7418522 w 7434020"/>
              <a:gd name="connsiteY5" fmla="*/ 5594882 h 6819247"/>
              <a:gd name="connsiteX6" fmla="*/ 7418522 w 7434020"/>
              <a:gd name="connsiteY6" fmla="*/ 6121824 h 6819247"/>
              <a:gd name="connsiteX7" fmla="*/ 924732 w 7434020"/>
              <a:gd name="connsiteY7" fmla="*/ 6121824 h 6819247"/>
              <a:gd name="connsiteX8" fmla="*/ 335796 w 7434020"/>
              <a:gd name="connsiteY8" fmla="*/ 4897459 h 6819247"/>
              <a:gd name="connsiteX9" fmla="*/ 1761640 w 7434020"/>
              <a:gd name="connsiteY9" fmla="*/ 4897459 h 6819247"/>
              <a:gd name="connsiteX10" fmla="*/ 6829586 w 7434020"/>
              <a:gd name="connsiteY10" fmla="*/ 4897459 h 6819247"/>
              <a:gd name="connsiteX11" fmla="*/ 7434020 w 7434020"/>
              <a:gd name="connsiteY11" fmla="*/ 4897459 h 6819247"/>
              <a:gd name="connsiteX12" fmla="*/ 7434020 w 7434020"/>
              <a:gd name="connsiteY12" fmla="*/ 5424401 h 6819247"/>
              <a:gd name="connsiteX13" fmla="*/ 6829586 w 7434020"/>
              <a:gd name="connsiteY13" fmla="*/ 5424401 h 6819247"/>
              <a:gd name="connsiteX14" fmla="*/ 1761640 w 7434020"/>
              <a:gd name="connsiteY14" fmla="*/ 5424401 h 6819247"/>
              <a:gd name="connsiteX15" fmla="*/ 335796 w 7434020"/>
              <a:gd name="connsiteY15" fmla="*/ 5424401 h 6819247"/>
              <a:gd name="connsiteX16" fmla="*/ 537274 w 7434020"/>
              <a:gd name="connsiteY16" fmla="*/ 4200036 h 6819247"/>
              <a:gd name="connsiteX17" fmla="*/ 7031064 w 7434020"/>
              <a:gd name="connsiteY17" fmla="*/ 4200036 h 6819247"/>
              <a:gd name="connsiteX18" fmla="*/ 7031064 w 7434020"/>
              <a:gd name="connsiteY18" fmla="*/ 4726978 h 6819247"/>
              <a:gd name="connsiteX19" fmla="*/ 537274 w 7434020"/>
              <a:gd name="connsiteY19" fmla="*/ 4726978 h 6819247"/>
              <a:gd name="connsiteX20" fmla="*/ 1338020 w 7434020"/>
              <a:gd name="connsiteY20" fmla="*/ 3502613 h 6819247"/>
              <a:gd name="connsiteX21" fmla="*/ 7434020 w 7434020"/>
              <a:gd name="connsiteY21" fmla="*/ 3502613 h 6819247"/>
              <a:gd name="connsiteX22" fmla="*/ 7434020 w 7434020"/>
              <a:gd name="connsiteY22" fmla="*/ 4029555 h 6819247"/>
              <a:gd name="connsiteX23" fmla="*/ 1338020 w 7434020"/>
              <a:gd name="connsiteY23" fmla="*/ 4029555 h 6819247"/>
              <a:gd name="connsiteX24" fmla="*/ 227308 w 7434020"/>
              <a:gd name="connsiteY24" fmla="*/ 2805190 h 6819247"/>
              <a:gd name="connsiteX25" fmla="*/ 940230 w 7434020"/>
              <a:gd name="connsiteY25" fmla="*/ 2805190 h 6819247"/>
              <a:gd name="connsiteX26" fmla="*/ 6721098 w 7434020"/>
              <a:gd name="connsiteY26" fmla="*/ 2805190 h 6819247"/>
              <a:gd name="connsiteX27" fmla="*/ 7434020 w 7434020"/>
              <a:gd name="connsiteY27" fmla="*/ 2805190 h 6819247"/>
              <a:gd name="connsiteX28" fmla="*/ 7434020 w 7434020"/>
              <a:gd name="connsiteY28" fmla="*/ 3332133 h 6819247"/>
              <a:gd name="connsiteX29" fmla="*/ 6721098 w 7434020"/>
              <a:gd name="connsiteY29" fmla="*/ 3332133 h 6819247"/>
              <a:gd name="connsiteX30" fmla="*/ 940230 w 7434020"/>
              <a:gd name="connsiteY30" fmla="*/ 3332133 h 6819247"/>
              <a:gd name="connsiteX31" fmla="*/ 227308 w 7434020"/>
              <a:gd name="connsiteY31" fmla="*/ 3332133 h 6819247"/>
              <a:gd name="connsiteX32" fmla="*/ 537274 w 7434020"/>
              <a:gd name="connsiteY32" fmla="*/ 2107767 h 6819247"/>
              <a:gd name="connsiteX33" fmla="*/ 7031064 w 7434020"/>
              <a:gd name="connsiteY33" fmla="*/ 2107767 h 6819247"/>
              <a:gd name="connsiteX34" fmla="*/ 7031064 w 7434020"/>
              <a:gd name="connsiteY34" fmla="*/ 2634709 h 6819247"/>
              <a:gd name="connsiteX35" fmla="*/ 537274 w 7434020"/>
              <a:gd name="connsiteY35" fmla="*/ 2634709 h 6819247"/>
              <a:gd name="connsiteX36" fmla="*/ 1157206 w 7434020"/>
              <a:gd name="connsiteY36" fmla="*/ 1410345 h 6819247"/>
              <a:gd name="connsiteX37" fmla="*/ 7434020 w 7434020"/>
              <a:gd name="connsiteY37" fmla="*/ 1410345 h 6819247"/>
              <a:gd name="connsiteX38" fmla="*/ 7434020 w 7434020"/>
              <a:gd name="connsiteY38" fmla="*/ 1937287 h 6819247"/>
              <a:gd name="connsiteX39" fmla="*/ 1157206 w 7434020"/>
              <a:gd name="connsiteY39" fmla="*/ 1937287 h 6819247"/>
              <a:gd name="connsiteX40" fmla="*/ 0 w 7434020"/>
              <a:gd name="connsiteY40" fmla="*/ 712922 h 6819247"/>
              <a:gd name="connsiteX41" fmla="*/ 940230 w 7434020"/>
              <a:gd name="connsiteY41" fmla="*/ 712922 h 6819247"/>
              <a:gd name="connsiteX42" fmla="*/ 7434020 w 7434020"/>
              <a:gd name="connsiteY42" fmla="*/ 712922 h 6819247"/>
              <a:gd name="connsiteX43" fmla="*/ 7434020 w 7434020"/>
              <a:gd name="connsiteY43" fmla="*/ 1239864 h 6819247"/>
              <a:gd name="connsiteX44" fmla="*/ 6493790 w 7434020"/>
              <a:gd name="connsiteY44" fmla="*/ 1239864 h 6819247"/>
              <a:gd name="connsiteX45" fmla="*/ 0 w 7434020"/>
              <a:gd name="connsiteY45" fmla="*/ 1239864 h 6819247"/>
              <a:gd name="connsiteX46" fmla="*/ 821410 w 7434020"/>
              <a:gd name="connsiteY46" fmla="*/ 0 h 6819247"/>
              <a:gd name="connsiteX47" fmla="*/ 7315200 w 7434020"/>
              <a:gd name="connsiteY47" fmla="*/ 0 h 6819247"/>
              <a:gd name="connsiteX48" fmla="*/ 7315200 w 7434020"/>
              <a:gd name="connsiteY48" fmla="*/ 526942 h 6819247"/>
              <a:gd name="connsiteX49" fmla="*/ 821410 w 7434020"/>
              <a:gd name="connsiteY49" fmla="*/ 526942 h 68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7434020" h="6819247">
                <a:moveTo>
                  <a:pt x="924732" y="6292305"/>
                </a:moveTo>
                <a:lnTo>
                  <a:pt x="7418522" y="6292305"/>
                </a:lnTo>
                <a:lnTo>
                  <a:pt x="7418522" y="6819247"/>
                </a:lnTo>
                <a:lnTo>
                  <a:pt x="924732" y="6819247"/>
                </a:lnTo>
                <a:close/>
                <a:moveTo>
                  <a:pt x="924732" y="5594882"/>
                </a:moveTo>
                <a:lnTo>
                  <a:pt x="7418522" y="5594882"/>
                </a:lnTo>
                <a:lnTo>
                  <a:pt x="7418522" y="6121824"/>
                </a:lnTo>
                <a:lnTo>
                  <a:pt x="924732" y="6121824"/>
                </a:lnTo>
                <a:close/>
                <a:moveTo>
                  <a:pt x="335796" y="4897459"/>
                </a:moveTo>
                <a:lnTo>
                  <a:pt x="1761640" y="4897459"/>
                </a:lnTo>
                <a:lnTo>
                  <a:pt x="6829586" y="4897459"/>
                </a:lnTo>
                <a:lnTo>
                  <a:pt x="7434020" y="4897459"/>
                </a:lnTo>
                <a:lnTo>
                  <a:pt x="7434020" y="5424401"/>
                </a:lnTo>
                <a:lnTo>
                  <a:pt x="6829586" y="5424401"/>
                </a:lnTo>
                <a:lnTo>
                  <a:pt x="1761640" y="5424401"/>
                </a:lnTo>
                <a:lnTo>
                  <a:pt x="335796" y="5424401"/>
                </a:lnTo>
                <a:close/>
                <a:moveTo>
                  <a:pt x="537274" y="4200036"/>
                </a:moveTo>
                <a:lnTo>
                  <a:pt x="7031064" y="4200036"/>
                </a:lnTo>
                <a:lnTo>
                  <a:pt x="7031064" y="4726978"/>
                </a:lnTo>
                <a:lnTo>
                  <a:pt x="537274" y="4726978"/>
                </a:lnTo>
                <a:close/>
                <a:moveTo>
                  <a:pt x="1338020" y="3502613"/>
                </a:moveTo>
                <a:lnTo>
                  <a:pt x="7434020" y="3502613"/>
                </a:lnTo>
                <a:lnTo>
                  <a:pt x="7434020" y="4029555"/>
                </a:lnTo>
                <a:lnTo>
                  <a:pt x="1338020" y="4029555"/>
                </a:lnTo>
                <a:close/>
                <a:moveTo>
                  <a:pt x="227308" y="2805190"/>
                </a:moveTo>
                <a:lnTo>
                  <a:pt x="940230" y="2805190"/>
                </a:lnTo>
                <a:lnTo>
                  <a:pt x="6721098" y="2805190"/>
                </a:lnTo>
                <a:lnTo>
                  <a:pt x="7434020" y="2805190"/>
                </a:lnTo>
                <a:lnTo>
                  <a:pt x="7434020" y="3332133"/>
                </a:lnTo>
                <a:lnTo>
                  <a:pt x="6721098" y="3332133"/>
                </a:lnTo>
                <a:lnTo>
                  <a:pt x="940230" y="3332133"/>
                </a:lnTo>
                <a:lnTo>
                  <a:pt x="227308" y="3332133"/>
                </a:lnTo>
                <a:close/>
                <a:moveTo>
                  <a:pt x="537274" y="2107767"/>
                </a:moveTo>
                <a:lnTo>
                  <a:pt x="7031064" y="2107767"/>
                </a:lnTo>
                <a:lnTo>
                  <a:pt x="7031064" y="2634709"/>
                </a:lnTo>
                <a:lnTo>
                  <a:pt x="537274" y="2634709"/>
                </a:lnTo>
                <a:close/>
                <a:moveTo>
                  <a:pt x="1157206" y="1410345"/>
                </a:moveTo>
                <a:lnTo>
                  <a:pt x="7434020" y="1410345"/>
                </a:lnTo>
                <a:lnTo>
                  <a:pt x="7434020" y="1937287"/>
                </a:lnTo>
                <a:lnTo>
                  <a:pt x="1157206" y="1937287"/>
                </a:lnTo>
                <a:close/>
                <a:moveTo>
                  <a:pt x="0" y="712922"/>
                </a:moveTo>
                <a:lnTo>
                  <a:pt x="940230" y="712922"/>
                </a:lnTo>
                <a:lnTo>
                  <a:pt x="7434020" y="712922"/>
                </a:lnTo>
                <a:lnTo>
                  <a:pt x="7434020" y="1239864"/>
                </a:lnTo>
                <a:lnTo>
                  <a:pt x="6493790" y="1239864"/>
                </a:lnTo>
                <a:lnTo>
                  <a:pt x="0" y="1239864"/>
                </a:lnTo>
                <a:close/>
                <a:moveTo>
                  <a:pt x="821410" y="0"/>
                </a:moveTo>
                <a:lnTo>
                  <a:pt x="7315200" y="0"/>
                </a:lnTo>
                <a:lnTo>
                  <a:pt x="7315200" y="526942"/>
                </a:lnTo>
                <a:lnTo>
                  <a:pt x="821410" y="52694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51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0" y="397844"/>
            <a:ext cx="6786043" cy="6062312"/>
          </a:xfrm>
          <a:custGeom>
            <a:avLst/>
            <a:gdLst>
              <a:gd name="connsiteX0" fmla="*/ 6333006 w 6786042"/>
              <a:gd name="connsiteY0" fmla="*/ 0 h 6062312"/>
              <a:gd name="connsiteX1" fmla="*/ 6450226 w 6786042"/>
              <a:gd name="connsiteY1" fmla="*/ 141500 h 6062312"/>
              <a:gd name="connsiteX2" fmla="*/ 6516755 w 6786042"/>
              <a:gd name="connsiteY2" fmla="*/ 428323 h 6062312"/>
              <a:gd name="connsiteX3" fmla="*/ 6557940 w 6786042"/>
              <a:gd name="connsiteY3" fmla="*/ 543051 h 6062312"/>
              <a:gd name="connsiteX4" fmla="*/ 6564277 w 6786042"/>
              <a:gd name="connsiteY4" fmla="*/ 753389 h 6062312"/>
              <a:gd name="connsiteX5" fmla="*/ 6491410 w 6786042"/>
              <a:gd name="connsiteY5" fmla="*/ 971374 h 6062312"/>
              <a:gd name="connsiteX6" fmla="*/ 6488242 w 6786042"/>
              <a:gd name="connsiteY6" fmla="*/ 1105226 h 6062312"/>
              <a:gd name="connsiteX7" fmla="*/ 6618134 w 6786042"/>
              <a:gd name="connsiteY7" fmla="*/ 1089928 h 6062312"/>
              <a:gd name="connsiteX8" fmla="*/ 6557940 w 6786042"/>
              <a:gd name="connsiteY8" fmla="*/ 1304089 h 6062312"/>
              <a:gd name="connsiteX9" fmla="*/ 6462898 w 6786042"/>
              <a:gd name="connsiteY9" fmla="*/ 1407346 h 6062312"/>
              <a:gd name="connsiteX10" fmla="*/ 6548435 w 6786042"/>
              <a:gd name="connsiteY10" fmla="*/ 1476183 h 6062312"/>
              <a:gd name="connsiteX11" fmla="*/ 6773369 w 6786042"/>
              <a:gd name="connsiteY11" fmla="*/ 1418819 h 6062312"/>
              <a:gd name="connsiteX12" fmla="*/ 6786042 w 6786042"/>
              <a:gd name="connsiteY12" fmla="*/ 1430291 h 6062312"/>
              <a:gd name="connsiteX13" fmla="*/ 6630807 w 6786042"/>
              <a:gd name="connsiteY13" fmla="*/ 1606209 h 6062312"/>
              <a:gd name="connsiteX14" fmla="*/ 6722681 w 6786042"/>
              <a:gd name="connsiteY14" fmla="*/ 1594737 h 6062312"/>
              <a:gd name="connsiteX15" fmla="*/ 6567444 w 6786042"/>
              <a:gd name="connsiteY15" fmla="*/ 1740060 h 6062312"/>
              <a:gd name="connsiteX16" fmla="*/ 6209451 w 6786042"/>
              <a:gd name="connsiteY16" fmla="*/ 2061302 h 6062312"/>
              <a:gd name="connsiteX17" fmla="*/ 6139752 w 6786042"/>
              <a:gd name="connsiteY17" fmla="*/ 2168382 h 6062312"/>
              <a:gd name="connsiteX18" fmla="*/ 5870465 w 6786042"/>
              <a:gd name="connsiteY18" fmla="*/ 2638773 h 6062312"/>
              <a:gd name="connsiteX19" fmla="*/ 6092232 w 6786042"/>
              <a:gd name="connsiteY19" fmla="*/ 2585231 h 6062312"/>
              <a:gd name="connsiteX20" fmla="*/ 6250636 w 6786042"/>
              <a:gd name="connsiteY20" fmla="*/ 2631123 h 6062312"/>
              <a:gd name="connsiteX21" fmla="*/ 6523091 w 6786042"/>
              <a:gd name="connsiteY21" fmla="*/ 2573759 h 6062312"/>
              <a:gd name="connsiteX22" fmla="*/ 6291821 w 6786042"/>
              <a:gd name="connsiteY22" fmla="*/ 2749678 h 6062312"/>
              <a:gd name="connsiteX23" fmla="*/ 6298157 w 6786042"/>
              <a:gd name="connsiteY23" fmla="*/ 2776448 h 6062312"/>
              <a:gd name="connsiteX24" fmla="*/ 6399536 w 6786042"/>
              <a:gd name="connsiteY24" fmla="*/ 2791745 h 6062312"/>
              <a:gd name="connsiteX25" fmla="*/ 6415376 w 6786042"/>
              <a:gd name="connsiteY25" fmla="*/ 2826163 h 6062312"/>
              <a:gd name="connsiteX26" fmla="*/ 6377360 w 6786042"/>
              <a:gd name="connsiteY26" fmla="*/ 2875880 h 6062312"/>
              <a:gd name="connsiteX27" fmla="*/ 6142921 w 6786042"/>
              <a:gd name="connsiteY27" fmla="*/ 3128284 h 6062312"/>
              <a:gd name="connsiteX28" fmla="*/ 6016197 w 6786042"/>
              <a:gd name="connsiteY28" fmla="*/ 3231540 h 6062312"/>
              <a:gd name="connsiteX29" fmla="*/ 5984517 w 6786042"/>
              <a:gd name="connsiteY29" fmla="*/ 3300378 h 6062312"/>
              <a:gd name="connsiteX30" fmla="*/ 5952836 w 6786042"/>
              <a:gd name="connsiteY30" fmla="*/ 3338621 h 6062312"/>
              <a:gd name="connsiteX31" fmla="*/ 5765919 w 6786042"/>
              <a:gd name="connsiteY31" fmla="*/ 3464823 h 6062312"/>
              <a:gd name="connsiteX32" fmla="*/ 5745547 w 6786042"/>
              <a:gd name="connsiteY32" fmla="*/ 3480697 h 6062312"/>
              <a:gd name="connsiteX33" fmla="*/ 5823335 w 6786042"/>
              <a:gd name="connsiteY33" fmla="*/ 3471535 h 6062312"/>
              <a:gd name="connsiteX34" fmla="*/ 5777975 w 6786042"/>
              <a:gd name="connsiteY34" fmla="*/ 3632919 h 6062312"/>
              <a:gd name="connsiteX35" fmla="*/ 5706356 w 6786042"/>
              <a:gd name="connsiteY35" fmla="*/ 3710729 h 6062312"/>
              <a:gd name="connsiteX36" fmla="*/ 5770813 w 6786042"/>
              <a:gd name="connsiteY36" fmla="*/ 3762602 h 6062312"/>
              <a:gd name="connsiteX37" fmla="*/ 5940314 w 6786042"/>
              <a:gd name="connsiteY37" fmla="*/ 3719374 h 6062312"/>
              <a:gd name="connsiteX38" fmla="*/ 5949864 w 6786042"/>
              <a:gd name="connsiteY38" fmla="*/ 3728019 h 6062312"/>
              <a:gd name="connsiteX39" fmla="*/ 5832885 w 6786042"/>
              <a:gd name="connsiteY39" fmla="*/ 3860584 h 6062312"/>
              <a:gd name="connsiteX40" fmla="*/ 5902118 w 6786042"/>
              <a:gd name="connsiteY40" fmla="*/ 3851939 h 6062312"/>
              <a:gd name="connsiteX41" fmla="*/ 5785138 w 6786042"/>
              <a:gd name="connsiteY41" fmla="*/ 3961449 h 6062312"/>
              <a:gd name="connsiteX42" fmla="*/ 5515368 w 6786042"/>
              <a:gd name="connsiteY42" fmla="*/ 4203524 h 6062312"/>
              <a:gd name="connsiteX43" fmla="*/ 5462847 w 6786042"/>
              <a:gd name="connsiteY43" fmla="*/ 4284215 h 6062312"/>
              <a:gd name="connsiteX44" fmla="*/ 5259922 w 6786042"/>
              <a:gd name="connsiteY44" fmla="*/ 4638682 h 6062312"/>
              <a:gd name="connsiteX45" fmla="*/ 5427037 w 6786042"/>
              <a:gd name="connsiteY45" fmla="*/ 4598336 h 6062312"/>
              <a:gd name="connsiteX46" fmla="*/ 5546404 w 6786042"/>
              <a:gd name="connsiteY46" fmla="*/ 4632918 h 6062312"/>
              <a:gd name="connsiteX47" fmla="*/ 5751715 w 6786042"/>
              <a:gd name="connsiteY47" fmla="*/ 4589691 h 6062312"/>
              <a:gd name="connsiteX48" fmla="*/ 5577439 w 6786042"/>
              <a:gd name="connsiteY48" fmla="*/ 4722256 h 6062312"/>
              <a:gd name="connsiteX49" fmla="*/ 5582213 w 6786042"/>
              <a:gd name="connsiteY49" fmla="*/ 4742428 h 6062312"/>
              <a:gd name="connsiteX50" fmla="*/ 5658609 w 6786042"/>
              <a:gd name="connsiteY50" fmla="*/ 4753956 h 6062312"/>
              <a:gd name="connsiteX51" fmla="*/ 5670545 w 6786042"/>
              <a:gd name="connsiteY51" fmla="*/ 4779892 h 6062312"/>
              <a:gd name="connsiteX52" fmla="*/ 5641898 w 6786042"/>
              <a:gd name="connsiteY52" fmla="*/ 4817356 h 6062312"/>
              <a:gd name="connsiteX53" fmla="*/ 5465234 w 6786042"/>
              <a:gd name="connsiteY53" fmla="*/ 5007558 h 6062312"/>
              <a:gd name="connsiteX54" fmla="*/ 5369740 w 6786042"/>
              <a:gd name="connsiteY54" fmla="*/ 5085367 h 6062312"/>
              <a:gd name="connsiteX55" fmla="*/ 5345867 w 6786042"/>
              <a:gd name="connsiteY55" fmla="*/ 5137241 h 6062312"/>
              <a:gd name="connsiteX56" fmla="*/ 5321993 w 6786042"/>
              <a:gd name="connsiteY56" fmla="*/ 5166059 h 6062312"/>
              <a:gd name="connsiteX57" fmla="*/ 5181140 w 6786042"/>
              <a:gd name="connsiteY57" fmla="*/ 5261160 h 6062312"/>
              <a:gd name="connsiteX58" fmla="*/ 5104746 w 6786042"/>
              <a:gd name="connsiteY58" fmla="*/ 5364906 h 6062312"/>
              <a:gd name="connsiteX59" fmla="*/ 5121457 w 6786042"/>
              <a:gd name="connsiteY59" fmla="*/ 5321678 h 6062312"/>
              <a:gd name="connsiteX60" fmla="*/ 4973442 w 6786042"/>
              <a:gd name="connsiteY60" fmla="*/ 5428307 h 6062312"/>
              <a:gd name="connsiteX61" fmla="*/ 4961505 w 6786042"/>
              <a:gd name="connsiteY61" fmla="*/ 5416780 h 6062312"/>
              <a:gd name="connsiteX62" fmla="*/ 4887497 w 6786042"/>
              <a:gd name="connsiteY62" fmla="*/ 5457125 h 6062312"/>
              <a:gd name="connsiteX63" fmla="*/ 4653538 w 6786042"/>
              <a:gd name="connsiteY63" fmla="*/ 5494589 h 6062312"/>
              <a:gd name="connsiteX64" fmla="*/ 4371832 w 6786042"/>
              <a:gd name="connsiteY64" fmla="*/ 5540699 h 6062312"/>
              <a:gd name="connsiteX65" fmla="*/ 4324085 w 6786042"/>
              <a:gd name="connsiteY65" fmla="*/ 5566635 h 6062312"/>
              <a:gd name="connsiteX66" fmla="*/ 4230979 w 6786042"/>
              <a:gd name="connsiteY66" fmla="*/ 5572399 h 6062312"/>
              <a:gd name="connsiteX67" fmla="*/ 4209492 w 6786042"/>
              <a:gd name="connsiteY67" fmla="*/ 5586808 h 6062312"/>
              <a:gd name="connsiteX68" fmla="*/ 3937335 w 6786042"/>
              <a:gd name="connsiteY68" fmla="*/ 5641564 h 6062312"/>
              <a:gd name="connsiteX69" fmla="*/ 3851391 w 6786042"/>
              <a:gd name="connsiteY69" fmla="*/ 5670381 h 6062312"/>
              <a:gd name="connsiteX70" fmla="*/ 3464642 w 6786042"/>
              <a:gd name="connsiteY70" fmla="*/ 5768364 h 6062312"/>
              <a:gd name="connsiteX71" fmla="*/ 3424057 w 6786042"/>
              <a:gd name="connsiteY71" fmla="*/ 5802946 h 6062312"/>
              <a:gd name="connsiteX72" fmla="*/ 3400183 w 6786042"/>
              <a:gd name="connsiteY72" fmla="*/ 5800065 h 6062312"/>
              <a:gd name="connsiteX73" fmla="*/ 3390634 w 6786042"/>
              <a:gd name="connsiteY73" fmla="*/ 5771246 h 6062312"/>
              <a:gd name="connsiteX74" fmla="*/ 3063568 w 6786042"/>
              <a:gd name="connsiteY74" fmla="*/ 5912457 h 6062312"/>
              <a:gd name="connsiteX75" fmla="*/ 2848707 w 6786042"/>
              <a:gd name="connsiteY75" fmla="*/ 6016203 h 6062312"/>
              <a:gd name="connsiteX76" fmla="*/ 2779475 w 6786042"/>
              <a:gd name="connsiteY76" fmla="*/ 5996030 h 6062312"/>
              <a:gd name="connsiteX77" fmla="*/ 2738889 w 6786042"/>
              <a:gd name="connsiteY77" fmla="*/ 6059431 h 6062312"/>
              <a:gd name="connsiteX78" fmla="*/ 2624297 w 6786042"/>
              <a:gd name="connsiteY78" fmla="*/ 6062312 h 6062312"/>
              <a:gd name="connsiteX79" fmla="*/ 2593262 w 6786042"/>
              <a:gd name="connsiteY79" fmla="*/ 6039258 h 6062312"/>
              <a:gd name="connsiteX80" fmla="*/ 2617136 w 6786042"/>
              <a:gd name="connsiteY80" fmla="*/ 5972975 h 6062312"/>
              <a:gd name="connsiteX81" fmla="*/ 2452409 w 6786042"/>
              <a:gd name="connsiteY81" fmla="*/ 5923984 h 6062312"/>
              <a:gd name="connsiteX82" fmla="*/ 2407049 w 6786042"/>
              <a:gd name="connsiteY82" fmla="*/ 5921102 h 6062312"/>
              <a:gd name="connsiteX83" fmla="*/ 2287682 w 6786042"/>
              <a:gd name="connsiteY83" fmla="*/ 5967212 h 6062312"/>
              <a:gd name="connsiteX84" fmla="*/ 2072821 w 6786042"/>
              <a:gd name="connsiteY84" fmla="*/ 6039258 h 6062312"/>
              <a:gd name="connsiteX85" fmla="*/ 2051335 w 6786042"/>
              <a:gd name="connsiteY85" fmla="*/ 6027730 h 6062312"/>
              <a:gd name="connsiteX86" fmla="*/ 2027462 w 6786042"/>
              <a:gd name="connsiteY86" fmla="*/ 6010439 h 6062312"/>
              <a:gd name="connsiteX87" fmla="*/ 2065659 w 6786042"/>
              <a:gd name="connsiteY87" fmla="*/ 5929747 h 6062312"/>
              <a:gd name="connsiteX88" fmla="*/ 1963004 w 6786042"/>
              <a:gd name="connsiteY88" fmla="*/ 5932629 h 6062312"/>
              <a:gd name="connsiteX89" fmla="*/ 1900933 w 6786042"/>
              <a:gd name="connsiteY89" fmla="*/ 5900929 h 6062312"/>
              <a:gd name="connsiteX90" fmla="*/ 1948680 w 6786042"/>
              <a:gd name="connsiteY90" fmla="*/ 5857702 h 6062312"/>
              <a:gd name="connsiteX91" fmla="*/ 2077596 w 6786042"/>
              <a:gd name="connsiteY91" fmla="*/ 5762600 h 6062312"/>
              <a:gd name="connsiteX92" fmla="*/ 1786341 w 6786042"/>
              <a:gd name="connsiteY92" fmla="*/ 5823119 h 6062312"/>
              <a:gd name="connsiteX93" fmla="*/ 1731432 w 6786042"/>
              <a:gd name="connsiteY93" fmla="*/ 5854820 h 6062312"/>
              <a:gd name="connsiteX94" fmla="*/ 1614452 w 6786042"/>
              <a:gd name="connsiteY94" fmla="*/ 5794301 h 6062312"/>
              <a:gd name="connsiteX95" fmla="*/ 1612064 w 6786042"/>
              <a:gd name="connsiteY95" fmla="*/ 5863465 h 6062312"/>
              <a:gd name="connsiteX96" fmla="*/ 1559543 w 6786042"/>
              <a:gd name="connsiteY96" fmla="*/ 5857702 h 6062312"/>
              <a:gd name="connsiteX97" fmla="*/ 1552381 w 6786042"/>
              <a:gd name="connsiteY97" fmla="*/ 5791419 h 6062312"/>
              <a:gd name="connsiteX98" fmla="*/ 1616839 w 6786042"/>
              <a:gd name="connsiteY98" fmla="*/ 5756837 h 6062312"/>
              <a:gd name="connsiteX99" fmla="*/ 1430626 w 6786042"/>
              <a:gd name="connsiteY99" fmla="*/ 5710728 h 6062312"/>
              <a:gd name="connsiteX100" fmla="*/ 1428239 w 6786042"/>
              <a:gd name="connsiteY100" fmla="*/ 5687673 h 6062312"/>
              <a:gd name="connsiteX101" fmla="*/ 1521345 w 6786042"/>
              <a:gd name="connsiteY101" fmla="*/ 5624272 h 6062312"/>
              <a:gd name="connsiteX102" fmla="*/ 1151308 w 6786042"/>
              <a:gd name="connsiteY102" fmla="*/ 5673263 h 6062312"/>
              <a:gd name="connsiteX103" fmla="*/ 1003292 w 6786042"/>
              <a:gd name="connsiteY103" fmla="*/ 5673263 h 6062312"/>
              <a:gd name="connsiteX104" fmla="*/ 1027165 w 6786042"/>
              <a:gd name="connsiteY104" fmla="*/ 5592572 h 6062312"/>
              <a:gd name="connsiteX105" fmla="*/ 862439 w 6786042"/>
              <a:gd name="connsiteY105" fmla="*/ 5552226 h 6062312"/>
              <a:gd name="connsiteX106" fmla="*/ 1120272 w 6786042"/>
              <a:gd name="connsiteY106" fmla="*/ 5373552 h 6062312"/>
              <a:gd name="connsiteX107" fmla="*/ 1375718 w 6786042"/>
              <a:gd name="connsiteY107" fmla="*/ 5166059 h 6062312"/>
              <a:gd name="connsiteX108" fmla="*/ 1664586 w 6786042"/>
              <a:gd name="connsiteY108" fmla="*/ 4987384 h 6062312"/>
              <a:gd name="connsiteX109" fmla="*/ 1502246 w 6786042"/>
              <a:gd name="connsiteY109" fmla="*/ 4955685 h 6062312"/>
              <a:gd name="connsiteX110" fmla="*/ 1359006 w 6786042"/>
              <a:gd name="connsiteY110" fmla="*/ 5019085 h 6062312"/>
              <a:gd name="connsiteX111" fmla="*/ 1175181 w 6786042"/>
              <a:gd name="connsiteY111" fmla="*/ 5073840 h 6062312"/>
              <a:gd name="connsiteX112" fmla="*/ 1086849 w 6786042"/>
              <a:gd name="connsiteY112" fmla="*/ 5076722 h 6062312"/>
              <a:gd name="connsiteX113" fmla="*/ 1060588 w 6786042"/>
              <a:gd name="connsiteY113" fmla="*/ 5114186 h 6062312"/>
              <a:gd name="connsiteX114" fmla="*/ 965095 w 6786042"/>
              <a:gd name="connsiteY114" fmla="*/ 5177586 h 6062312"/>
              <a:gd name="connsiteX115" fmla="*/ 931672 w 6786042"/>
              <a:gd name="connsiteY115" fmla="*/ 5154531 h 6062312"/>
              <a:gd name="connsiteX116" fmla="*/ 945996 w 6786042"/>
              <a:gd name="connsiteY116" fmla="*/ 5099776 h 6062312"/>
              <a:gd name="connsiteX117" fmla="*/ 1022391 w 6786042"/>
              <a:gd name="connsiteY117" fmla="*/ 5050785 h 6062312"/>
              <a:gd name="connsiteX118" fmla="*/ 1015229 w 6786042"/>
              <a:gd name="connsiteY118" fmla="*/ 5027731 h 6062312"/>
              <a:gd name="connsiteX119" fmla="*/ 852890 w 6786042"/>
              <a:gd name="connsiteY119" fmla="*/ 5053667 h 6062312"/>
              <a:gd name="connsiteX120" fmla="*/ 848115 w 6786042"/>
              <a:gd name="connsiteY120" fmla="*/ 5039258 h 6062312"/>
              <a:gd name="connsiteX121" fmla="*/ 898249 w 6786042"/>
              <a:gd name="connsiteY121" fmla="*/ 4990267 h 6062312"/>
              <a:gd name="connsiteX122" fmla="*/ 836178 w 6786042"/>
              <a:gd name="connsiteY122" fmla="*/ 4996030 h 6062312"/>
              <a:gd name="connsiteX123" fmla="*/ 1058201 w 6786042"/>
              <a:gd name="connsiteY123" fmla="*/ 4826002 h 6062312"/>
              <a:gd name="connsiteX124" fmla="*/ 1270675 w 6786042"/>
              <a:gd name="connsiteY124" fmla="*/ 4673264 h 6062312"/>
              <a:gd name="connsiteX125" fmla="*/ 1378105 w 6786042"/>
              <a:gd name="connsiteY125" fmla="*/ 4609864 h 6062312"/>
              <a:gd name="connsiteX126" fmla="*/ 1421077 w 6786042"/>
              <a:gd name="connsiteY126" fmla="*/ 4563754 h 6062312"/>
              <a:gd name="connsiteX127" fmla="*/ 1606295 w 6786042"/>
              <a:gd name="connsiteY127" fmla="*/ 4477554 h 6062312"/>
              <a:gd name="connsiteX128" fmla="*/ 1580875 w 6786042"/>
              <a:gd name="connsiteY128" fmla="*/ 4459143 h 6062312"/>
              <a:gd name="connsiteX129" fmla="*/ 1631565 w 6786042"/>
              <a:gd name="connsiteY129" fmla="*/ 4352062 h 6062312"/>
              <a:gd name="connsiteX130" fmla="*/ 1495337 w 6786042"/>
              <a:gd name="connsiteY130" fmla="*/ 4355887 h 6062312"/>
              <a:gd name="connsiteX131" fmla="*/ 1412967 w 6786042"/>
              <a:gd name="connsiteY131" fmla="*/ 4313819 h 6062312"/>
              <a:gd name="connsiteX132" fmla="*/ 1476329 w 6786042"/>
              <a:gd name="connsiteY132" fmla="*/ 4256455 h 6062312"/>
              <a:gd name="connsiteX133" fmla="*/ 1563055 w 6786042"/>
              <a:gd name="connsiteY133" fmla="*/ 4199090 h 6062312"/>
              <a:gd name="connsiteX134" fmla="*/ 1566528 w 6786042"/>
              <a:gd name="connsiteY134" fmla="*/ 4196256 h 6062312"/>
              <a:gd name="connsiteX135" fmla="*/ 1554768 w 6786042"/>
              <a:gd name="connsiteY135" fmla="*/ 4180469 h 6062312"/>
              <a:gd name="connsiteX136" fmla="*/ 1563273 w 6786042"/>
              <a:gd name="connsiteY136" fmla="*/ 4159351 h 6062312"/>
              <a:gd name="connsiteX137" fmla="*/ 1576199 w 6786042"/>
              <a:gd name="connsiteY137" fmla="*/ 4145048 h 6062312"/>
              <a:gd name="connsiteX138" fmla="*/ 1260899 w 6786042"/>
              <a:gd name="connsiteY138" fmla="*/ 4210562 h 6062312"/>
              <a:gd name="connsiteX139" fmla="*/ 1188033 w 6786042"/>
              <a:gd name="connsiteY139" fmla="*/ 4252630 h 6062312"/>
              <a:gd name="connsiteX140" fmla="*/ 1032797 w 6786042"/>
              <a:gd name="connsiteY140" fmla="*/ 4172320 h 6062312"/>
              <a:gd name="connsiteX141" fmla="*/ 1029628 w 6786042"/>
              <a:gd name="connsiteY141" fmla="*/ 4264103 h 6062312"/>
              <a:gd name="connsiteX142" fmla="*/ 959931 w 6786042"/>
              <a:gd name="connsiteY142" fmla="*/ 4256455 h 6062312"/>
              <a:gd name="connsiteX143" fmla="*/ 950426 w 6786042"/>
              <a:gd name="connsiteY143" fmla="*/ 4168495 h 6062312"/>
              <a:gd name="connsiteX144" fmla="*/ 1035964 w 6786042"/>
              <a:gd name="connsiteY144" fmla="*/ 4122604 h 6062312"/>
              <a:gd name="connsiteX145" fmla="*/ 788853 w 6786042"/>
              <a:gd name="connsiteY145" fmla="*/ 4061415 h 6062312"/>
              <a:gd name="connsiteX146" fmla="*/ 785686 w 6786042"/>
              <a:gd name="connsiteY146" fmla="*/ 4030820 h 6062312"/>
              <a:gd name="connsiteX147" fmla="*/ 909241 w 6786042"/>
              <a:gd name="connsiteY147" fmla="*/ 3946685 h 6062312"/>
              <a:gd name="connsiteX148" fmla="*/ 418188 w 6786042"/>
              <a:gd name="connsiteY148" fmla="*/ 4011699 h 6062312"/>
              <a:gd name="connsiteX149" fmla="*/ 221767 w 6786042"/>
              <a:gd name="connsiteY149" fmla="*/ 4011699 h 6062312"/>
              <a:gd name="connsiteX150" fmla="*/ 253447 w 6786042"/>
              <a:gd name="connsiteY150" fmla="*/ 3904619 h 6062312"/>
              <a:gd name="connsiteX151" fmla="*/ 34849 w 6786042"/>
              <a:gd name="connsiteY151" fmla="*/ 3851077 h 6062312"/>
              <a:gd name="connsiteX152" fmla="*/ 377002 w 6786042"/>
              <a:gd name="connsiteY152" fmla="*/ 3613971 h 6062312"/>
              <a:gd name="connsiteX153" fmla="*/ 715988 w 6786042"/>
              <a:gd name="connsiteY153" fmla="*/ 3338621 h 6062312"/>
              <a:gd name="connsiteX154" fmla="*/ 1099327 w 6786042"/>
              <a:gd name="connsiteY154" fmla="*/ 3101513 h 6062312"/>
              <a:gd name="connsiteX155" fmla="*/ 883896 w 6786042"/>
              <a:gd name="connsiteY155" fmla="*/ 3059446 h 6062312"/>
              <a:gd name="connsiteX156" fmla="*/ 693812 w 6786042"/>
              <a:gd name="connsiteY156" fmla="*/ 3143581 h 6062312"/>
              <a:gd name="connsiteX157" fmla="*/ 449868 w 6786042"/>
              <a:gd name="connsiteY157" fmla="*/ 3216243 h 6062312"/>
              <a:gd name="connsiteX158" fmla="*/ 332649 w 6786042"/>
              <a:gd name="connsiteY158" fmla="*/ 3220067 h 6062312"/>
              <a:gd name="connsiteX159" fmla="*/ 297800 w 6786042"/>
              <a:gd name="connsiteY159" fmla="*/ 3269783 h 6062312"/>
              <a:gd name="connsiteX160" fmla="*/ 171077 w 6786042"/>
              <a:gd name="connsiteY160" fmla="*/ 3353918 h 6062312"/>
              <a:gd name="connsiteX161" fmla="*/ 126724 w 6786042"/>
              <a:gd name="connsiteY161" fmla="*/ 3323323 h 6062312"/>
              <a:gd name="connsiteX162" fmla="*/ 145732 w 6786042"/>
              <a:gd name="connsiteY162" fmla="*/ 3250661 h 6062312"/>
              <a:gd name="connsiteX163" fmla="*/ 247111 w 6786042"/>
              <a:gd name="connsiteY163" fmla="*/ 3185648 h 6062312"/>
              <a:gd name="connsiteX164" fmla="*/ 237606 w 6786042"/>
              <a:gd name="connsiteY164" fmla="*/ 3155054 h 6062312"/>
              <a:gd name="connsiteX165" fmla="*/ 22177 w 6786042"/>
              <a:gd name="connsiteY165" fmla="*/ 3189473 h 6062312"/>
              <a:gd name="connsiteX166" fmla="*/ 15841 w 6786042"/>
              <a:gd name="connsiteY166" fmla="*/ 3170351 h 6062312"/>
              <a:gd name="connsiteX167" fmla="*/ 82371 w 6786042"/>
              <a:gd name="connsiteY167" fmla="*/ 3105338 h 6062312"/>
              <a:gd name="connsiteX168" fmla="*/ 0 w 6786042"/>
              <a:gd name="connsiteY168" fmla="*/ 3112986 h 6062312"/>
              <a:gd name="connsiteX169" fmla="*/ 294633 w 6786042"/>
              <a:gd name="connsiteY169" fmla="*/ 2887353 h 6062312"/>
              <a:gd name="connsiteX170" fmla="*/ 576592 w 6786042"/>
              <a:gd name="connsiteY170" fmla="*/ 2684664 h 6062312"/>
              <a:gd name="connsiteX171" fmla="*/ 719156 w 6786042"/>
              <a:gd name="connsiteY171" fmla="*/ 2600529 h 6062312"/>
              <a:gd name="connsiteX172" fmla="*/ 776181 w 6786042"/>
              <a:gd name="connsiteY172" fmla="*/ 2539340 h 6062312"/>
              <a:gd name="connsiteX173" fmla="*/ 1039133 w 6786042"/>
              <a:gd name="connsiteY173" fmla="*/ 2416963 h 6062312"/>
              <a:gd name="connsiteX174" fmla="*/ 1077150 w 6786042"/>
              <a:gd name="connsiteY174" fmla="*/ 2317530 h 6062312"/>
              <a:gd name="connsiteX175" fmla="*/ 1026461 w 6786042"/>
              <a:gd name="connsiteY175" fmla="*/ 2153085 h 6062312"/>
              <a:gd name="connsiteX176" fmla="*/ 953595 w 6786042"/>
              <a:gd name="connsiteY176" fmla="*/ 2030708 h 6062312"/>
              <a:gd name="connsiteX177" fmla="*/ 991612 w 6786042"/>
              <a:gd name="connsiteY177" fmla="*/ 1889209 h 6062312"/>
              <a:gd name="connsiteX178" fmla="*/ 1048637 w 6786042"/>
              <a:gd name="connsiteY178" fmla="*/ 1808898 h 6062312"/>
              <a:gd name="connsiteX179" fmla="*/ 1454152 w 6786042"/>
              <a:gd name="connsiteY179" fmla="*/ 1629155 h 6062312"/>
              <a:gd name="connsiteX180" fmla="*/ 2071929 w 6786042"/>
              <a:gd name="connsiteY180" fmla="*/ 1323211 h 6062312"/>
              <a:gd name="connsiteX181" fmla="*/ 2933649 w 6786042"/>
              <a:gd name="connsiteY181" fmla="*/ 871943 h 6062312"/>
              <a:gd name="connsiteX182" fmla="*/ 3234617 w 6786042"/>
              <a:gd name="connsiteY182" fmla="*/ 761038 h 6062312"/>
              <a:gd name="connsiteX183" fmla="*/ 3427870 w 6786042"/>
              <a:gd name="connsiteY183" fmla="*/ 684551 h 6062312"/>
              <a:gd name="connsiteX184" fmla="*/ 3101557 w 6786042"/>
              <a:gd name="connsiteY184" fmla="*/ 967550 h 6062312"/>
              <a:gd name="connsiteX185" fmla="*/ 3120566 w 6786042"/>
              <a:gd name="connsiteY185" fmla="*/ 1005793 h 6062312"/>
              <a:gd name="connsiteX186" fmla="*/ 3633796 w 6786042"/>
              <a:gd name="connsiteY186" fmla="*/ 676903 h 6062312"/>
              <a:gd name="connsiteX187" fmla="*/ 3963277 w 6786042"/>
              <a:gd name="connsiteY187" fmla="*/ 527754 h 6062312"/>
              <a:gd name="connsiteX188" fmla="*/ 4280086 w 6786042"/>
              <a:gd name="connsiteY188" fmla="*/ 447444 h 6062312"/>
              <a:gd name="connsiteX189" fmla="*/ 3972781 w 6786042"/>
              <a:gd name="connsiteY189" fmla="*/ 783983 h 6062312"/>
              <a:gd name="connsiteX190" fmla="*/ 4267413 w 6786042"/>
              <a:gd name="connsiteY190" fmla="*/ 592768 h 6062312"/>
              <a:gd name="connsiteX191" fmla="*/ 4562046 w 6786042"/>
              <a:gd name="connsiteY191" fmla="*/ 370958 h 6062312"/>
              <a:gd name="connsiteX192" fmla="*/ 4723618 w 6786042"/>
              <a:gd name="connsiteY192" fmla="*/ 367133 h 6062312"/>
              <a:gd name="connsiteX193" fmla="*/ 4758467 w 6786042"/>
              <a:gd name="connsiteY193" fmla="*/ 363309 h 6062312"/>
              <a:gd name="connsiteX194" fmla="*/ 4844005 w 6786042"/>
              <a:gd name="connsiteY194" fmla="*/ 378606 h 6062312"/>
              <a:gd name="connsiteX195" fmla="*/ 4913703 w 6786042"/>
              <a:gd name="connsiteY195" fmla="*/ 359485 h 6062312"/>
              <a:gd name="connsiteX196" fmla="*/ 5084780 w 6786042"/>
              <a:gd name="connsiteY196" fmla="*/ 263878 h 6062312"/>
              <a:gd name="connsiteX197" fmla="*/ 5094284 w 6786042"/>
              <a:gd name="connsiteY197" fmla="*/ 290648 h 6062312"/>
              <a:gd name="connsiteX198" fmla="*/ 4783811 w 6786042"/>
              <a:gd name="connsiteY198" fmla="*/ 523930 h 6062312"/>
              <a:gd name="connsiteX199" fmla="*/ 4793316 w 6786042"/>
              <a:gd name="connsiteY199" fmla="*/ 627186 h 6062312"/>
              <a:gd name="connsiteX200" fmla="*/ 5341395 w 6786042"/>
              <a:gd name="connsiteY200" fmla="*/ 240931 h 6062312"/>
              <a:gd name="connsiteX201" fmla="*/ 5512472 w 6786042"/>
              <a:gd name="connsiteY201" fmla="*/ 156797 h 6062312"/>
              <a:gd name="connsiteX202" fmla="*/ 5534648 w 6786042"/>
              <a:gd name="connsiteY202" fmla="*/ 156797 h 6062312"/>
              <a:gd name="connsiteX203" fmla="*/ 5674044 w 6786042"/>
              <a:gd name="connsiteY203" fmla="*/ 175918 h 6062312"/>
              <a:gd name="connsiteX204" fmla="*/ 5686717 w 6786042"/>
              <a:gd name="connsiteY204" fmla="*/ 248580 h 6062312"/>
              <a:gd name="connsiteX205" fmla="*/ 5936995 w 6786042"/>
              <a:gd name="connsiteY205" fmla="*/ 107081 h 6062312"/>
              <a:gd name="connsiteX206" fmla="*/ 5610682 w 6786042"/>
              <a:gd name="connsiteY206" fmla="*/ 443620 h 6062312"/>
              <a:gd name="connsiteX207" fmla="*/ 5632859 w 6786042"/>
              <a:gd name="connsiteY207" fmla="*/ 474214 h 6062312"/>
              <a:gd name="connsiteX208" fmla="*/ 6333006 w 6786042"/>
              <a:gd name="connsiteY208" fmla="*/ 0 h 606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</a:cxnLst>
            <a:rect l="l" t="t" r="r" b="b"/>
            <a:pathLst>
              <a:path w="6786042" h="6062312">
                <a:moveTo>
                  <a:pt x="6333006" y="0"/>
                </a:moveTo>
                <a:cubicBezTo>
                  <a:pt x="6380527" y="57365"/>
                  <a:pt x="6415376" y="99432"/>
                  <a:pt x="6450226" y="141500"/>
                </a:cubicBezTo>
                <a:cubicBezTo>
                  <a:pt x="6393199" y="294471"/>
                  <a:pt x="6415376" y="313593"/>
                  <a:pt x="6516755" y="428323"/>
                </a:cubicBezTo>
                <a:cubicBezTo>
                  <a:pt x="6548435" y="462741"/>
                  <a:pt x="6561108" y="489511"/>
                  <a:pt x="6557940" y="543051"/>
                </a:cubicBezTo>
                <a:cubicBezTo>
                  <a:pt x="6551604" y="611889"/>
                  <a:pt x="6567444" y="684551"/>
                  <a:pt x="6564277" y="753389"/>
                </a:cubicBezTo>
                <a:cubicBezTo>
                  <a:pt x="6561108" y="833699"/>
                  <a:pt x="6561108" y="914009"/>
                  <a:pt x="6491410" y="971374"/>
                </a:cubicBezTo>
                <a:cubicBezTo>
                  <a:pt x="6475570" y="986671"/>
                  <a:pt x="6488242" y="1055509"/>
                  <a:pt x="6488242" y="1105226"/>
                </a:cubicBezTo>
                <a:cubicBezTo>
                  <a:pt x="6529428" y="1101401"/>
                  <a:pt x="6573780" y="1097576"/>
                  <a:pt x="6618134" y="1089928"/>
                </a:cubicBezTo>
                <a:cubicBezTo>
                  <a:pt x="6589621" y="1177887"/>
                  <a:pt x="6466065" y="1200833"/>
                  <a:pt x="6557940" y="1304089"/>
                </a:cubicBezTo>
                <a:cubicBezTo>
                  <a:pt x="6526259" y="1338508"/>
                  <a:pt x="6494578" y="1372927"/>
                  <a:pt x="6462898" y="1407346"/>
                </a:cubicBezTo>
                <a:cubicBezTo>
                  <a:pt x="6497747" y="1434116"/>
                  <a:pt x="6532595" y="1464710"/>
                  <a:pt x="6548435" y="1476183"/>
                </a:cubicBezTo>
                <a:cubicBezTo>
                  <a:pt x="6633974" y="1453237"/>
                  <a:pt x="6703672" y="1434116"/>
                  <a:pt x="6773369" y="1418819"/>
                </a:cubicBezTo>
                <a:cubicBezTo>
                  <a:pt x="6776539" y="1422642"/>
                  <a:pt x="6782874" y="1426467"/>
                  <a:pt x="6786042" y="1430291"/>
                </a:cubicBezTo>
                <a:cubicBezTo>
                  <a:pt x="6735353" y="1487656"/>
                  <a:pt x="6684663" y="1548845"/>
                  <a:pt x="6630807" y="1606209"/>
                </a:cubicBezTo>
                <a:cubicBezTo>
                  <a:pt x="6649815" y="1606209"/>
                  <a:pt x="6675160" y="1602385"/>
                  <a:pt x="6722681" y="1594737"/>
                </a:cubicBezTo>
                <a:cubicBezTo>
                  <a:pt x="6662487" y="1652101"/>
                  <a:pt x="6614965" y="1694169"/>
                  <a:pt x="6567444" y="1740060"/>
                </a:cubicBezTo>
                <a:cubicBezTo>
                  <a:pt x="6447057" y="1847140"/>
                  <a:pt x="6326670" y="1950397"/>
                  <a:pt x="6209451" y="2061302"/>
                </a:cubicBezTo>
                <a:cubicBezTo>
                  <a:pt x="6180938" y="2088072"/>
                  <a:pt x="6142921" y="2126315"/>
                  <a:pt x="6139752" y="2168382"/>
                </a:cubicBezTo>
                <a:cubicBezTo>
                  <a:pt x="6108072" y="2371071"/>
                  <a:pt x="5997189" y="2501097"/>
                  <a:pt x="5870465" y="2638773"/>
                </a:cubicBezTo>
                <a:cubicBezTo>
                  <a:pt x="5943331" y="2619651"/>
                  <a:pt x="6016197" y="2604353"/>
                  <a:pt x="6092232" y="2585231"/>
                </a:cubicBezTo>
                <a:cubicBezTo>
                  <a:pt x="6136585" y="2631123"/>
                  <a:pt x="6174601" y="2673191"/>
                  <a:pt x="6250636" y="2631123"/>
                </a:cubicBezTo>
                <a:cubicBezTo>
                  <a:pt x="6329838" y="2592881"/>
                  <a:pt x="6421712" y="2592881"/>
                  <a:pt x="6523091" y="2573759"/>
                </a:cubicBezTo>
                <a:cubicBezTo>
                  <a:pt x="6437553" y="2638773"/>
                  <a:pt x="6364687" y="2696137"/>
                  <a:pt x="6291821" y="2749678"/>
                </a:cubicBezTo>
                <a:cubicBezTo>
                  <a:pt x="6294989" y="2757326"/>
                  <a:pt x="6298157" y="2764975"/>
                  <a:pt x="6298157" y="2776448"/>
                </a:cubicBezTo>
                <a:cubicBezTo>
                  <a:pt x="6339342" y="2753501"/>
                  <a:pt x="6352015" y="2849110"/>
                  <a:pt x="6399536" y="2791745"/>
                </a:cubicBezTo>
                <a:cubicBezTo>
                  <a:pt x="6405872" y="2803218"/>
                  <a:pt x="6418544" y="2822339"/>
                  <a:pt x="6415376" y="2826163"/>
                </a:cubicBezTo>
                <a:cubicBezTo>
                  <a:pt x="6405872" y="2845285"/>
                  <a:pt x="6390032" y="2872055"/>
                  <a:pt x="6377360" y="2875880"/>
                </a:cubicBezTo>
                <a:cubicBezTo>
                  <a:pt x="6241131" y="2883528"/>
                  <a:pt x="6203115" y="3017379"/>
                  <a:pt x="6142921" y="3128284"/>
                </a:cubicBezTo>
                <a:cubicBezTo>
                  <a:pt x="6117576" y="3174176"/>
                  <a:pt x="6060550" y="3197121"/>
                  <a:pt x="6016197" y="3231540"/>
                </a:cubicBezTo>
                <a:cubicBezTo>
                  <a:pt x="6000357" y="3246838"/>
                  <a:pt x="5940163" y="3235364"/>
                  <a:pt x="5984517" y="3300378"/>
                </a:cubicBezTo>
                <a:cubicBezTo>
                  <a:pt x="5984517" y="3300378"/>
                  <a:pt x="5965508" y="3327148"/>
                  <a:pt x="5952836" y="3338621"/>
                </a:cubicBezTo>
                <a:cubicBezTo>
                  <a:pt x="5889474" y="3384512"/>
                  <a:pt x="5832449" y="3441877"/>
                  <a:pt x="5765919" y="3464823"/>
                </a:cubicBezTo>
                <a:lnTo>
                  <a:pt x="5745547" y="3480697"/>
                </a:lnTo>
                <a:lnTo>
                  <a:pt x="5823335" y="3471535"/>
                </a:lnTo>
                <a:cubicBezTo>
                  <a:pt x="5801849" y="3537818"/>
                  <a:pt x="5708743" y="3555109"/>
                  <a:pt x="5777975" y="3632919"/>
                </a:cubicBezTo>
                <a:cubicBezTo>
                  <a:pt x="5754102" y="3658855"/>
                  <a:pt x="5730229" y="3684792"/>
                  <a:pt x="5706356" y="3710729"/>
                </a:cubicBezTo>
                <a:cubicBezTo>
                  <a:pt x="5732616" y="3730901"/>
                  <a:pt x="5758877" y="3753956"/>
                  <a:pt x="5770813" y="3762602"/>
                </a:cubicBezTo>
                <a:cubicBezTo>
                  <a:pt x="5835272" y="3745311"/>
                  <a:pt x="5887793" y="3730901"/>
                  <a:pt x="5940314" y="3719374"/>
                </a:cubicBezTo>
                <a:cubicBezTo>
                  <a:pt x="5942703" y="3722256"/>
                  <a:pt x="5947477" y="3725138"/>
                  <a:pt x="5949864" y="3728019"/>
                </a:cubicBezTo>
                <a:cubicBezTo>
                  <a:pt x="5911667" y="3771247"/>
                  <a:pt x="5873469" y="3817357"/>
                  <a:pt x="5832885" y="3860584"/>
                </a:cubicBezTo>
                <a:cubicBezTo>
                  <a:pt x="5847209" y="3860584"/>
                  <a:pt x="5866308" y="3857703"/>
                  <a:pt x="5902118" y="3851939"/>
                </a:cubicBezTo>
                <a:cubicBezTo>
                  <a:pt x="5856758" y="3895166"/>
                  <a:pt x="5820947" y="3926867"/>
                  <a:pt x="5785138" y="3961449"/>
                </a:cubicBezTo>
                <a:cubicBezTo>
                  <a:pt x="5694419" y="4042140"/>
                  <a:pt x="5603700" y="4119950"/>
                  <a:pt x="5515368" y="4203524"/>
                </a:cubicBezTo>
                <a:cubicBezTo>
                  <a:pt x="5493882" y="4223696"/>
                  <a:pt x="5465234" y="4252515"/>
                  <a:pt x="5462847" y="4284215"/>
                </a:cubicBezTo>
                <a:cubicBezTo>
                  <a:pt x="5438973" y="4436953"/>
                  <a:pt x="5355416" y="4534935"/>
                  <a:pt x="5259922" y="4638682"/>
                </a:cubicBezTo>
                <a:cubicBezTo>
                  <a:pt x="5314831" y="4624273"/>
                  <a:pt x="5369740" y="4612745"/>
                  <a:pt x="5427037" y="4598336"/>
                </a:cubicBezTo>
                <a:cubicBezTo>
                  <a:pt x="5460460" y="4632918"/>
                  <a:pt x="5489107" y="4664619"/>
                  <a:pt x="5546404" y="4632918"/>
                </a:cubicBezTo>
                <a:cubicBezTo>
                  <a:pt x="5606087" y="4604100"/>
                  <a:pt x="5675320" y="4604100"/>
                  <a:pt x="5751715" y="4589691"/>
                </a:cubicBezTo>
                <a:cubicBezTo>
                  <a:pt x="5687257" y="4638682"/>
                  <a:pt x="5632348" y="4681909"/>
                  <a:pt x="5577439" y="4722256"/>
                </a:cubicBezTo>
                <a:cubicBezTo>
                  <a:pt x="5579826" y="4728019"/>
                  <a:pt x="5582213" y="4733783"/>
                  <a:pt x="5582213" y="4742428"/>
                </a:cubicBezTo>
                <a:cubicBezTo>
                  <a:pt x="5613249" y="4725137"/>
                  <a:pt x="5622799" y="4797183"/>
                  <a:pt x="5658609" y="4753956"/>
                </a:cubicBezTo>
                <a:cubicBezTo>
                  <a:pt x="5663384" y="4762601"/>
                  <a:pt x="5672933" y="4777011"/>
                  <a:pt x="5670545" y="4779892"/>
                </a:cubicBezTo>
                <a:cubicBezTo>
                  <a:pt x="5663384" y="4794301"/>
                  <a:pt x="5651447" y="4814474"/>
                  <a:pt x="5641898" y="4817356"/>
                </a:cubicBezTo>
                <a:cubicBezTo>
                  <a:pt x="5539241" y="4823120"/>
                  <a:pt x="5510594" y="4923985"/>
                  <a:pt x="5465234" y="5007558"/>
                </a:cubicBezTo>
                <a:cubicBezTo>
                  <a:pt x="5446135" y="5042140"/>
                  <a:pt x="5403163" y="5059431"/>
                  <a:pt x="5369740" y="5085367"/>
                </a:cubicBezTo>
                <a:cubicBezTo>
                  <a:pt x="5357804" y="5096895"/>
                  <a:pt x="5312444" y="5088249"/>
                  <a:pt x="5345867" y="5137241"/>
                </a:cubicBezTo>
                <a:cubicBezTo>
                  <a:pt x="5345867" y="5137241"/>
                  <a:pt x="5331543" y="5157413"/>
                  <a:pt x="5321993" y="5166059"/>
                </a:cubicBezTo>
                <a:cubicBezTo>
                  <a:pt x="5274247" y="5200641"/>
                  <a:pt x="5231275" y="5243869"/>
                  <a:pt x="5181140" y="5261160"/>
                </a:cubicBezTo>
                <a:cubicBezTo>
                  <a:pt x="5133394" y="5281333"/>
                  <a:pt x="5140555" y="5338970"/>
                  <a:pt x="5104746" y="5364906"/>
                </a:cubicBezTo>
                <a:cubicBezTo>
                  <a:pt x="5109520" y="5356261"/>
                  <a:pt x="5114295" y="5344733"/>
                  <a:pt x="5121457" y="5321678"/>
                </a:cubicBezTo>
                <a:cubicBezTo>
                  <a:pt x="5068935" y="5359142"/>
                  <a:pt x="5023576" y="5393725"/>
                  <a:pt x="4973442" y="5428307"/>
                </a:cubicBezTo>
                <a:cubicBezTo>
                  <a:pt x="4968667" y="5422543"/>
                  <a:pt x="4959117" y="5413897"/>
                  <a:pt x="4961505" y="5416780"/>
                </a:cubicBezTo>
                <a:cubicBezTo>
                  <a:pt x="4928082" y="5434070"/>
                  <a:pt x="4906596" y="5457125"/>
                  <a:pt x="4887497" y="5457125"/>
                </a:cubicBezTo>
                <a:cubicBezTo>
                  <a:pt x="4806327" y="5448479"/>
                  <a:pt x="4732320" y="5465771"/>
                  <a:pt x="4653538" y="5494589"/>
                </a:cubicBezTo>
                <a:cubicBezTo>
                  <a:pt x="4562819" y="5529172"/>
                  <a:pt x="4464938" y="5532053"/>
                  <a:pt x="4371832" y="5540699"/>
                </a:cubicBezTo>
                <a:cubicBezTo>
                  <a:pt x="4326472" y="5546462"/>
                  <a:pt x="4324085" y="5540699"/>
                  <a:pt x="4324085" y="5566635"/>
                </a:cubicBezTo>
                <a:cubicBezTo>
                  <a:pt x="4293049" y="5566635"/>
                  <a:pt x="4262014" y="5569517"/>
                  <a:pt x="4230979" y="5572399"/>
                </a:cubicBezTo>
                <a:cubicBezTo>
                  <a:pt x="4223816" y="5572399"/>
                  <a:pt x="4216654" y="5589690"/>
                  <a:pt x="4209492" y="5586808"/>
                </a:cubicBezTo>
                <a:cubicBezTo>
                  <a:pt x="4111611" y="5555108"/>
                  <a:pt x="4030441" y="5638681"/>
                  <a:pt x="3937335" y="5641564"/>
                </a:cubicBezTo>
                <a:cubicBezTo>
                  <a:pt x="3908687" y="5641564"/>
                  <a:pt x="3880039" y="5661736"/>
                  <a:pt x="3851391" y="5670381"/>
                </a:cubicBezTo>
                <a:cubicBezTo>
                  <a:pt x="3722475" y="5702082"/>
                  <a:pt x="3593558" y="5733782"/>
                  <a:pt x="3464642" y="5768364"/>
                </a:cubicBezTo>
                <a:cubicBezTo>
                  <a:pt x="3450317" y="5774128"/>
                  <a:pt x="3438380" y="5794301"/>
                  <a:pt x="3424057" y="5802946"/>
                </a:cubicBezTo>
                <a:cubicBezTo>
                  <a:pt x="3416894" y="5805828"/>
                  <a:pt x="3407345" y="5802946"/>
                  <a:pt x="3400183" y="5800065"/>
                </a:cubicBezTo>
                <a:cubicBezTo>
                  <a:pt x="3397796" y="5791419"/>
                  <a:pt x="3393021" y="5782773"/>
                  <a:pt x="3390634" y="5771246"/>
                </a:cubicBezTo>
                <a:cubicBezTo>
                  <a:pt x="3280816" y="5820238"/>
                  <a:pt x="3170999" y="5863465"/>
                  <a:pt x="3063568" y="5912457"/>
                </a:cubicBezTo>
                <a:cubicBezTo>
                  <a:pt x="2991948" y="5944157"/>
                  <a:pt x="2922715" y="5984502"/>
                  <a:pt x="2848707" y="6016203"/>
                </a:cubicBezTo>
                <a:cubicBezTo>
                  <a:pt x="2829609" y="6021966"/>
                  <a:pt x="2803348" y="6004676"/>
                  <a:pt x="2779475" y="5996030"/>
                </a:cubicBezTo>
                <a:cubicBezTo>
                  <a:pt x="2765151" y="6019084"/>
                  <a:pt x="2753214" y="6039258"/>
                  <a:pt x="2738889" y="6059431"/>
                </a:cubicBezTo>
                <a:cubicBezTo>
                  <a:pt x="2700692" y="5998912"/>
                  <a:pt x="2662495" y="6027730"/>
                  <a:pt x="2624297" y="6062312"/>
                </a:cubicBezTo>
                <a:cubicBezTo>
                  <a:pt x="2614748" y="6053666"/>
                  <a:pt x="2602811" y="6047903"/>
                  <a:pt x="2593262" y="6039258"/>
                </a:cubicBezTo>
                <a:cubicBezTo>
                  <a:pt x="2598036" y="6024849"/>
                  <a:pt x="2602811" y="6013321"/>
                  <a:pt x="2617136" y="5972975"/>
                </a:cubicBezTo>
                <a:cubicBezTo>
                  <a:pt x="2531191" y="6045021"/>
                  <a:pt x="2500156" y="5955684"/>
                  <a:pt x="2452409" y="5923984"/>
                </a:cubicBezTo>
                <a:cubicBezTo>
                  <a:pt x="2435697" y="5912457"/>
                  <a:pt x="2423761" y="5892284"/>
                  <a:pt x="2407049" y="5921102"/>
                </a:cubicBezTo>
                <a:cubicBezTo>
                  <a:pt x="2378401" y="5972975"/>
                  <a:pt x="2325880" y="5964329"/>
                  <a:pt x="2287682" y="5967212"/>
                </a:cubicBezTo>
                <a:cubicBezTo>
                  <a:pt x="2211287" y="5975857"/>
                  <a:pt x="2144442" y="6010439"/>
                  <a:pt x="2072821" y="6039258"/>
                </a:cubicBezTo>
                <a:cubicBezTo>
                  <a:pt x="2068047" y="6042139"/>
                  <a:pt x="2058497" y="6030612"/>
                  <a:pt x="2051335" y="6027730"/>
                </a:cubicBezTo>
                <a:cubicBezTo>
                  <a:pt x="2044173" y="6021966"/>
                  <a:pt x="2034624" y="6016203"/>
                  <a:pt x="2027462" y="6010439"/>
                </a:cubicBezTo>
                <a:cubicBezTo>
                  <a:pt x="2037011" y="5990267"/>
                  <a:pt x="2046561" y="5970093"/>
                  <a:pt x="2065659" y="5929747"/>
                </a:cubicBezTo>
                <a:cubicBezTo>
                  <a:pt x="2022687" y="5929747"/>
                  <a:pt x="1986877" y="5918220"/>
                  <a:pt x="1963004" y="5932629"/>
                </a:cubicBezTo>
                <a:cubicBezTo>
                  <a:pt x="1924806" y="5955684"/>
                  <a:pt x="1924806" y="5900929"/>
                  <a:pt x="1900933" y="5900929"/>
                </a:cubicBezTo>
                <a:cubicBezTo>
                  <a:pt x="1917644" y="5886520"/>
                  <a:pt x="1931968" y="5869229"/>
                  <a:pt x="1948680" y="5857702"/>
                </a:cubicBezTo>
                <a:cubicBezTo>
                  <a:pt x="1991652" y="5828883"/>
                  <a:pt x="2037011" y="5802946"/>
                  <a:pt x="2077596" y="5762600"/>
                </a:cubicBezTo>
                <a:cubicBezTo>
                  <a:pt x="1979715" y="5782773"/>
                  <a:pt x="1884222" y="5802946"/>
                  <a:pt x="1786341" y="5823119"/>
                </a:cubicBezTo>
                <a:cubicBezTo>
                  <a:pt x="1767242" y="5828883"/>
                  <a:pt x="1745756" y="5857702"/>
                  <a:pt x="1731432" y="5854820"/>
                </a:cubicBezTo>
                <a:cubicBezTo>
                  <a:pt x="1690847" y="5840410"/>
                  <a:pt x="1655036" y="5814474"/>
                  <a:pt x="1614452" y="5794301"/>
                </a:cubicBezTo>
                <a:cubicBezTo>
                  <a:pt x="1612064" y="5811592"/>
                  <a:pt x="1612064" y="5837528"/>
                  <a:pt x="1612064" y="5863465"/>
                </a:cubicBezTo>
                <a:cubicBezTo>
                  <a:pt x="1592966" y="5860583"/>
                  <a:pt x="1578641" y="5857702"/>
                  <a:pt x="1559543" y="5857702"/>
                </a:cubicBezTo>
                <a:cubicBezTo>
                  <a:pt x="1557155" y="5837528"/>
                  <a:pt x="1554768" y="5817355"/>
                  <a:pt x="1552381" y="5791419"/>
                </a:cubicBezTo>
                <a:cubicBezTo>
                  <a:pt x="1573867" y="5779892"/>
                  <a:pt x="1595353" y="5768364"/>
                  <a:pt x="1616839" y="5756837"/>
                </a:cubicBezTo>
                <a:cubicBezTo>
                  <a:pt x="1552381" y="5739545"/>
                  <a:pt x="1492697" y="5725137"/>
                  <a:pt x="1430626" y="5710728"/>
                </a:cubicBezTo>
                <a:cubicBezTo>
                  <a:pt x="1430626" y="5702082"/>
                  <a:pt x="1430626" y="5696318"/>
                  <a:pt x="1428239" y="5687673"/>
                </a:cubicBezTo>
                <a:cubicBezTo>
                  <a:pt x="1459274" y="5664618"/>
                  <a:pt x="1492697" y="5644445"/>
                  <a:pt x="1521345" y="5624272"/>
                </a:cubicBezTo>
                <a:cubicBezTo>
                  <a:pt x="1480760" y="5572399"/>
                  <a:pt x="1170406" y="5618509"/>
                  <a:pt x="1151308" y="5673263"/>
                </a:cubicBezTo>
                <a:cubicBezTo>
                  <a:pt x="1101173" y="5673263"/>
                  <a:pt x="1053427" y="5673263"/>
                  <a:pt x="1003292" y="5673263"/>
                </a:cubicBezTo>
                <a:cubicBezTo>
                  <a:pt x="1012842" y="5638681"/>
                  <a:pt x="1020004" y="5615626"/>
                  <a:pt x="1027165" y="5592572"/>
                </a:cubicBezTo>
                <a:cubicBezTo>
                  <a:pt x="957933" y="5650208"/>
                  <a:pt x="912573" y="5575281"/>
                  <a:pt x="862439" y="5552226"/>
                </a:cubicBezTo>
                <a:cubicBezTo>
                  <a:pt x="945996" y="5494589"/>
                  <a:pt x="1034328" y="5436952"/>
                  <a:pt x="1120272" y="5373552"/>
                </a:cubicBezTo>
                <a:cubicBezTo>
                  <a:pt x="1206217" y="5307270"/>
                  <a:pt x="1289773" y="5235223"/>
                  <a:pt x="1375718" y="5166059"/>
                </a:cubicBezTo>
                <a:cubicBezTo>
                  <a:pt x="1461662" y="5091131"/>
                  <a:pt x="1576254" y="5079604"/>
                  <a:pt x="1664586" y="4987384"/>
                </a:cubicBezTo>
                <a:cubicBezTo>
                  <a:pt x="1602515" y="4952802"/>
                  <a:pt x="1538057" y="5079604"/>
                  <a:pt x="1502246" y="4955685"/>
                </a:cubicBezTo>
                <a:cubicBezTo>
                  <a:pt x="1452113" y="4975857"/>
                  <a:pt x="1404365" y="4990267"/>
                  <a:pt x="1359006" y="5019085"/>
                </a:cubicBezTo>
                <a:cubicBezTo>
                  <a:pt x="1301710" y="5053667"/>
                  <a:pt x="1244414" y="5082486"/>
                  <a:pt x="1175181" y="5073840"/>
                </a:cubicBezTo>
                <a:cubicBezTo>
                  <a:pt x="1148920" y="5070958"/>
                  <a:pt x="1117885" y="5131477"/>
                  <a:pt x="1086849" y="5076722"/>
                </a:cubicBezTo>
                <a:cubicBezTo>
                  <a:pt x="1077300" y="5091131"/>
                  <a:pt x="1070138" y="5105541"/>
                  <a:pt x="1060588" y="5114186"/>
                </a:cubicBezTo>
                <a:cubicBezTo>
                  <a:pt x="1031940" y="5143004"/>
                  <a:pt x="979419" y="5117068"/>
                  <a:pt x="965095" y="5177586"/>
                </a:cubicBezTo>
                <a:cubicBezTo>
                  <a:pt x="953158" y="5168941"/>
                  <a:pt x="934059" y="5163177"/>
                  <a:pt x="931672" y="5154531"/>
                </a:cubicBezTo>
                <a:cubicBezTo>
                  <a:pt x="931672" y="5134359"/>
                  <a:pt x="936447" y="5108422"/>
                  <a:pt x="945996" y="5099776"/>
                </a:cubicBezTo>
                <a:cubicBezTo>
                  <a:pt x="967482" y="5076722"/>
                  <a:pt x="996130" y="5065194"/>
                  <a:pt x="1022391" y="5050785"/>
                </a:cubicBezTo>
                <a:cubicBezTo>
                  <a:pt x="1020004" y="5042140"/>
                  <a:pt x="1017616" y="5036376"/>
                  <a:pt x="1015229" y="5027731"/>
                </a:cubicBezTo>
                <a:cubicBezTo>
                  <a:pt x="960320" y="5036376"/>
                  <a:pt x="905411" y="5045022"/>
                  <a:pt x="852890" y="5053667"/>
                </a:cubicBezTo>
                <a:cubicBezTo>
                  <a:pt x="850503" y="5047904"/>
                  <a:pt x="848115" y="5042140"/>
                  <a:pt x="848115" y="5039258"/>
                </a:cubicBezTo>
                <a:cubicBezTo>
                  <a:pt x="860052" y="5027731"/>
                  <a:pt x="874376" y="5013322"/>
                  <a:pt x="898249" y="4990267"/>
                </a:cubicBezTo>
                <a:cubicBezTo>
                  <a:pt x="871989" y="4993149"/>
                  <a:pt x="857664" y="4993149"/>
                  <a:pt x="836178" y="4996030"/>
                </a:cubicBezTo>
                <a:cubicBezTo>
                  <a:pt x="903024" y="4918220"/>
                  <a:pt x="1005679" y="4926866"/>
                  <a:pt x="1058201" y="4826002"/>
                </a:cubicBezTo>
                <a:cubicBezTo>
                  <a:pt x="1101173" y="4742428"/>
                  <a:pt x="1220540" y="4777011"/>
                  <a:pt x="1270675" y="4673264"/>
                </a:cubicBezTo>
                <a:cubicBezTo>
                  <a:pt x="1304098" y="4693437"/>
                  <a:pt x="1361393" y="4664619"/>
                  <a:pt x="1378105" y="4609864"/>
                </a:cubicBezTo>
                <a:cubicBezTo>
                  <a:pt x="1382879" y="4592572"/>
                  <a:pt x="1404365" y="4572399"/>
                  <a:pt x="1421077" y="4563754"/>
                </a:cubicBezTo>
                <a:lnTo>
                  <a:pt x="1606295" y="4477554"/>
                </a:lnTo>
                <a:lnTo>
                  <a:pt x="1580875" y="4459143"/>
                </a:lnTo>
                <a:cubicBezTo>
                  <a:pt x="1593548" y="4432373"/>
                  <a:pt x="1606220" y="4405602"/>
                  <a:pt x="1631565" y="4352062"/>
                </a:cubicBezTo>
                <a:cubicBezTo>
                  <a:pt x="1574539" y="4352062"/>
                  <a:pt x="1527018" y="4336765"/>
                  <a:pt x="1495337" y="4355887"/>
                </a:cubicBezTo>
                <a:cubicBezTo>
                  <a:pt x="1444648" y="4386482"/>
                  <a:pt x="1444648" y="4313819"/>
                  <a:pt x="1412967" y="4313819"/>
                </a:cubicBezTo>
                <a:cubicBezTo>
                  <a:pt x="1435143" y="4294697"/>
                  <a:pt x="1454152" y="4271752"/>
                  <a:pt x="1476329" y="4256455"/>
                </a:cubicBezTo>
                <a:cubicBezTo>
                  <a:pt x="1504842" y="4237334"/>
                  <a:pt x="1534147" y="4219168"/>
                  <a:pt x="1563055" y="4199090"/>
                </a:cubicBezTo>
                <a:lnTo>
                  <a:pt x="1566528" y="4196256"/>
                </a:lnTo>
                <a:lnTo>
                  <a:pt x="1554768" y="4180469"/>
                </a:lnTo>
                <a:cubicBezTo>
                  <a:pt x="1554171" y="4172544"/>
                  <a:pt x="1557902" y="4165880"/>
                  <a:pt x="1563273" y="4159351"/>
                </a:cubicBezTo>
                <a:lnTo>
                  <a:pt x="1576199" y="4145048"/>
                </a:lnTo>
                <a:lnTo>
                  <a:pt x="1260899" y="4210562"/>
                </a:lnTo>
                <a:cubicBezTo>
                  <a:pt x="1235554" y="4218212"/>
                  <a:pt x="1207042" y="4256455"/>
                  <a:pt x="1188033" y="4252630"/>
                </a:cubicBezTo>
                <a:cubicBezTo>
                  <a:pt x="1134176" y="4233509"/>
                  <a:pt x="1086654" y="4199090"/>
                  <a:pt x="1032797" y="4172320"/>
                </a:cubicBezTo>
                <a:cubicBezTo>
                  <a:pt x="1029628" y="4195265"/>
                  <a:pt x="1029628" y="4229684"/>
                  <a:pt x="1029628" y="4264103"/>
                </a:cubicBezTo>
                <a:cubicBezTo>
                  <a:pt x="1004284" y="4260279"/>
                  <a:pt x="985275" y="4256455"/>
                  <a:pt x="959931" y="4256455"/>
                </a:cubicBezTo>
                <a:cubicBezTo>
                  <a:pt x="956762" y="4229684"/>
                  <a:pt x="953595" y="4202914"/>
                  <a:pt x="950426" y="4168495"/>
                </a:cubicBezTo>
                <a:cubicBezTo>
                  <a:pt x="978939" y="4153198"/>
                  <a:pt x="1007452" y="4137901"/>
                  <a:pt x="1035964" y="4122604"/>
                </a:cubicBezTo>
                <a:cubicBezTo>
                  <a:pt x="950426" y="4099657"/>
                  <a:pt x="871224" y="4080537"/>
                  <a:pt x="788853" y="4061415"/>
                </a:cubicBezTo>
                <a:cubicBezTo>
                  <a:pt x="788853" y="4049942"/>
                  <a:pt x="788853" y="4042294"/>
                  <a:pt x="785686" y="4030820"/>
                </a:cubicBezTo>
                <a:cubicBezTo>
                  <a:pt x="826871" y="4000226"/>
                  <a:pt x="871224" y="3973456"/>
                  <a:pt x="909241" y="3946685"/>
                </a:cubicBezTo>
                <a:cubicBezTo>
                  <a:pt x="855383" y="3877848"/>
                  <a:pt x="443532" y="3939037"/>
                  <a:pt x="418188" y="4011699"/>
                </a:cubicBezTo>
                <a:cubicBezTo>
                  <a:pt x="351658" y="4011699"/>
                  <a:pt x="288297" y="4011699"/>
                  <a:pt x="221767" y="4011699"/>
                </a:cubicBezTo>
                <a:cubicBezTo>
                  <a:pt x="234439" y="3965807"/>
                  <a:pt x="243943" y="3935212"/>
                  <a:pt x="253447" y="3904619"/>
                </a:cubicBezTo>
                <a:cubicBezTo>
                  <a:pt x="161573" y="3981104"/>
                  <a:pt x="101379" y="3881672"/>
                  <a:pt x="34849" y="3851077"/>
                </a:cubicBezTo>
                <a:cubicBezTo>
                  <a:pt x="145732" y="3774592"/>
                  <a:pt x="262951" y="3698106"/>
                  <a:pt x="377002" y="3613971"/>
                </a:cubicBezTo>
                <a:cubicBezTo>
                  <a:pt x="491054" y="3526012"/>
                  <a:pt x="601937" y="3430404"/>
                  <a:pt x="715988" y="3338621"/>
                </a:cubicBezTo>
                <a:cubicBezTo>
                  <a:pt x="830039" y="3239189"/>
                  <a:pt x="982107" y="3223891"/>
                  <a:pt x="1099327" y="3101513"/>
                </a:cubicBezTo>
                <a:cubicBezTo>
                  <a:pt x="1016956" y="3055621"/>
                  <a:pt x="931418" y="3223891"/>
                  <a:pt x="883896" y="3059446"/>
                </a:cubicBezTo>
                <a:cubicBezTo>
                  <a:pt x="817367" y="3086216"/>
                  <a:pt x="754005" y="3105338"/>
                  <a:pt x="693812" y="3143581"/>
                </a:cubicBezTo>
                <a:cubicBezTo>
                  <a:pt x="617777" y="3189473"/>
                  <a:pt x="541743" y="3227716"/>
                  <a:pt x="449868" y="3216243"/>
                </a:cubicBezTo>
                <a:cubicBezTo>
                  <a:pt x="415020" y="3212418"/>
                  <a:pt x="373835" y="3292729"/>
                  <a:pt x="332649" y="3220067"/>
                </a:cubicBezTo>
                <a:cubicBezTo>
                  <a:pt x="319977" y="3239189"/>
                  <a:pt x="310473" y="3258311"/>
                  <a:pt x="297800" y="3269783"/>
                </a:cubicBezTo>
                <a:cubicBezTo>
                  <a:pt x="259783" y="3308026"/>
                  <a:pt x="190085" y="3273608"/>
                  <a:pt x="171077" y="3353918"/>
                </a:cubicBezTo>
                <a:cubicBezTo>
                  <a:pt x="155237" y="3342445"/>
                  <a:pt x="129892" y="3334796"/>
                  <a:pt x="126724" y="3323323"/>
                </a:cubicBezTo>
                <a:cubicBezTo>
                  <a:pt x="126724" y="3296553"/>
                  <a:pt x="133060" y="3262134"/>
                  <a:pt x="145732" y="3250661"/>
                </a:cubicBezTo>
                <a:cubicBezTo>
                  <a:pt x="174245" y="3220067"/>
                  <a:pt x="212262" y="3204770"/>
                  <a:pt x="247111" y="3185648"/>
                </a:cubicBezTo>
                <a:cubicBezTo>
                  <a:pt x="243943" y="3174176"/>
                  <a:pt x="240775" y="3166526"/>
                  <a:pt x="237606" y="3155054"/>
                </a:cubicBezTo>
                <a:cubicBezTo>
                  <a:pt x="164741" y="3166526"/>
                  <a:pt x="91874" y="3178000"/>
                  <a:pt x="22177" y="3189473"/>
                </a:cubicBezTo>
                <a:cubicBezTo>
                  <a:pt x="19009" y="3181824"/>
                  <a:pt x="15841" y="3174176"/>
                  <a:pt x="15841" y="3170351"/>
                </a:cubicBezTo>
                <a:cubicBezTo>
                  <a:pt x="31681" y="3155054"/>
                  <a:pt x="50689" y="3135933"/>
                  <a:pt x="82371" y="3105338"/>
                </a:cubicBezTo>
                <a:cubicBezTo>
                  <a:pt x="47522" y="3109163"/>
                  <a:pt x="28513" y="3109163"/>
                  <a:pt x="0" y="3112986"/>
                </a:cubicBezTo>
                <a:cubicBezTo>
                  <a:pt x="88707" y="3009730"/>
                  <a:pt x="224934" y="3021203"/>
                  <a:pt x="294633" y="2887353"/>
                </a:cubicBezTo>
                <a:cubicBezTo>
                  <a:pt x="351658" y="2776448"/>
                  <a:pt x="510062" y="2822339"/>
                  <a:pt x="576592" y="2684664"/>
                </a:cubicBezTo>
                <a:cubicBezTo>
                  <a:pt x="620946" y="2711435"/>
                  <a:pt x="696979" y="2673191"/>
                  <a:pt x="719156" y="2600529"/>
                </a:cubicBezTo>
                <a:cubicBezTo>
                  <a:pt x="725492" y="2577583"/>
                  <a:pt x="754005" y="2550813"/>
                  <a:pt x="776181" y="2539340"/>
                </a:cubicBezTo>
                <a:cubicBezTo>
                  <a:pt x="861719" y="2497273"/>
                  <a:pt x="953595" y="2459030"/>
                  <a:pt x="1039133" y="2416963"/>
                </a:cubicBezTo>
                <a:cubicBezTo>
                  <a:pt x="1083486" y="2397841"/>
                  <a:pt x="1096158" y="2367246"/>
                  <a:pt x="1077150" y="2317530"/>
                </a:cubicBezTo>
                <a:cubicBezTo>
                  <a:pt x="1058141" y="2263990"/>
                  <a:pt x="1048637" y="2206625"/>
                  <a:pt x="1026461" y="2153085"/>
                </a:cubicBezTo>
                <a:cubicBezTo>
                  <a:pt x="1010620" y="2107193"/>
                  <a:pt x="985275" y="2065126"/>
                  <a:pt x="953595" y="2030708"/>
                </a:cubicBezTo>
                <a:cubicBezTo>
                  <a:pt x="950426" y="1988640"/>
                  <a:pt x="1039133" y="1973343"/>
                  <a:pt x="991612" y="1889209"/>
                </a:cubicBezTo>
                <a:cubicBezTo>
                  <a:pt x="985275" y="1881560"/>
                  <a:pt x="1023292" y="1824195"/>
                  <a:pt x="1048637" y="1808898"/>
                </a:cubicBezTo>
                <a:cubicBezTo>
                  <a:pt x="1181696" y="1747709"/>
                  <a:pt x="1321092" y="1694169"/>
                  <a:pt x="1454152" y="1629155"/>
                </a:cubicBezTo>
                <a:cubicBezTo>
                  <a:pt x="1663246" y="1529724"/>
                  <a:pt x="1869172" y="1426467"/>
                  <a:pt x="2071929" y="1323211"/>
                </a:cubicBezTo>
                <a:cubicBezTo>
                  <a:pt x="2360225" y="1174062"/>
                  <a:pt x="2648521" y="1024914"/>
                  <a:pt x="2933649" y="871943"/>
                </a:cubicBezTo>
                <a:cubicBezTo>
                  <a:pt x="3031860" y="818402"/>
                  <a:pt x="3117398" y="757213"/>
                  <a:pt x="3234617" y="761038"/>
                </a:cubicBezTo>
                <a:cubicBezTo>
                  <a:pt x="3294810" y="764861"/>
                  <a:pt x="3358172" y="699848"/>
                  <a:pt x="3427870" y="684551"/>
                </a:cubicBezTo>
                <a:cubicBezTo>
                  <a:pt x="3320156" y="780159"/>
                  <a:pt x="3209272" y="871943"/>
                  <a:pt x="3101557" y="967550"/>
                </a:cubicBezTo>
                <a:cubicBezTo>
                  <a:pt x="3107893" y="979023"/>
                  <a:pt x="3114230" y="994321"/>
                  <a:pt x="3120566" y="1005793"/>
                </a:cubicBezTo>
                <a:cubicBezTo>
                  <a:pt x="3291643" y="898713"/>
                  <a:pt x="3472224" y="803105"/>
                  <a:pt x="3633796" y="676903"/>
                </a:cubicBezTo>
                <a:cubicBezTo>
                  <a:pt x="3738343" y="592768"/>
                  <a:pt x="3861898" y="508633"/>
                  <a:pt x="3963277" y="527754"/>
                </a:cubicBezTo>
                <a:cubicBezTo>
                  <a:pt x="4096337" y="558349"/>
                  <a:pt x="4169203" y="428323"/>
                  <a:pt x="4280086" y="447444"/>
                </a:cubicBezTo>
                <a:cubicBezTo>
                  <a:pt x="4178706" y="554525"/>
                  <a:pt x="4017135" y="585119"/>
                  <a:pt x="3972781" y="783983"/>
                </a:cubicBezTo>
                <a:cubicBezTo>
                  <a:pt x="4070992" y="718970"/>
                  <a:pt x="4172370" y="661606"/>
                  <a:pt x="4267413" y="592768"/>
                </a:cubicBezTo>
                <a:cubicBezTo>
                  <a:pt x="4368792" y="520106"/>
                  <a:pt x="4457499" y="432146"/>
                  <a:pt x="4562046" y="370958"/>
                </a:cubicBezTo>
                <a:cubicBezTo>
                  <a:pt x="4606399" y="344188"/>
                  <a:pt x="4669761" y="286823"/>
                  <a:pt x="4723618" y="367133"/>
                </a:cubicBezTo>
                <a:cubicBezTo>
                  <a:pt x="4726786" y="374783"/>
                  <a:pt x="4748963" y="359485"/>
                  <a:pt x="4758467" y="363309"/>
                </a:cubicBezTo>
                <a:cubicBezTo>
                  <a:pt x="4790148" y="363309"/>
                  <a:pt x="4828165" y="290648"/>
                  <a:pt x="4844005" y="378606"/>
                </a:cubicBezTo>
                <a:cubicBezTo>
                  <a:pt x="4869350" y="370958"/>
                  <a:pt x="4891526" y="370958"/>
                  <a:pt x="4913703" y="359485"/>
                </a:cubicBezTo>
                <a:cubicBezTo>
                  <a:pt x="4970728" y="328891"/>
                  <a:pt x="5027755" y="298296"/>
                  <a:pt x="5084780" y="263878"/>
                </a:cubicBezTo>
                <a:cubicBezTo>
                  <a:pt x="5087948" y="271526"/>
                  <a:pt x="5091116" y="282999"/>
                  <a:pt x="5094284" y="290648"/>
                </a:cubicBezTo>
                <a:cubicBezTo>
                  <a:pt x="4989737" y="367133"/>
                  <a:pt x="4885190" y="443620"/>
                  <a:pt x="4783811" y="523930"/>
                </a:cubicBezTo>
                <a:cubicBezTo>
                  <a:pt x="4774307" y="531579"/>
                  <a:pt x="4786980" y="581295"/>
                  <a:pt x="4793316" y="627186"/>
                </a:cubicBezTo>
                <a:cubicBezTo>
                  <a:pt x="4983401" y="493336"/>
                  <a:pt x="5160814" y="363309"/>
                  <a:pt x="5341395" y="240931"/>
                </a:cubicBezTo>
                <a:cubicBezTo>
                  <a:pt x="5395252" y="202688"/>
                  <a:pt x="5455446" y="183567"/>
                  <a:pt x="5512472" y="156797"/>
                </a:cubicBezTo>
                <a:cubicBezTo>
                  <a:pt x="5518808" y="152973"/>
                  <a:pt x="5534648" y="152973"/>
                  <a:pt x="5534648" y="156797"/>
                </a:cubicBezTo>
                <a:cubicBezTo>
                  <a:pt x="5572665" y="260053"/>
                  <a:pt x="5626523" y="202688"/>
                  <a:pt x="5674044" y="175918"/>
                </a:cubicBezTo>
                <a:cubicBezTo>
                  <a:pt x="5680381" y="198864"/>
                  <a:pt x="5683548" y="221810"/>
                  <a:pt x="5686717" y="248580"/>
                </a:cubicBezTo>
                <a:cubicBezTo>
                  <a:pt x="5769086" y="202688"/>
                  <a:pt x="5845121" y="160621"/>
                  <a:pt x="5936995" y="107081"/>
                </a:cubicBezTo>
                <a:cubicBezTo>
                  <a:pt x="5845121" y="260053"/>
                  <a:pt x="5661371" y="263878"/>
                  <a:pt x="5610682" y="443620"/>
                </a:cubicBezTo>
                <a:cubicBezTo>
                  <a:pt x="5617018" y="455093"/>
                  <a:pt x="5623354" y="466566"/>
                  <a:pt x="5632859" y="474214"/>
                </a:cubicBezTo>
                <a:cubicBezTo>
                  <a:pt x="5867297" y="317418"/>
                  <a:pt x="6098568" y="156797"/>
                  <a:pt x="6333006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3294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Grp="1"/>
          </p:cNvSpPr>
          <p:nvPr>
            <p:ph type="pic" sz="quarter" idx="10"/>
          </p:nvPr>
        </p:nvSpPr>
        <p:spPr>
          <a:xfrm>
            <a:off x="1968286" y="1197243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3"/>
          <p:cNvSpPr>
            <a:spLocks noGrp="1"/>
          </p:cNvSpPr>
          <p:nvPr>
            <p:ph type="pic" sz="quarter" idx="11"/>
          </p:nvPr>
        </p:nvSpPr>
        <p:spPr>
          <a:xfrm>
            <a:off x="8400082" y="1197243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975673" y="1022352"/>
            <a:ext cx="2200307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37328" y="1022352"/>
            <a:ext cx="2200307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298983" y="1022352"/>
            <a:ext cx="2200307" cy="330167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2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2"/>
          </p:nvPr>
        </p:nvSpPr>
        <p:spPr>
          <a:xfrm>
            <a:off x="6236890" y="2778112"/>
            <a:ext cx="2644263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Freeform 12"/>
          <p:cNvSpPr>
            <a:spLocks noGrp="1"/>
          </p:cNvSpPr>
          <p:nvPr>
            <p:ph type="pic" sz="quarter" idx="11"/>
          </p:nvPr>
        </p:nvSpPr>
        <p:spPr>
          <a:xfrm>
            <a:off x="3310846" y="2745236"/>
            <a:ext cx="2644263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/>
          <p:cNvSpPr>
            <a:spLocks noGrp="1"/>
          </p:cNvSpPr>
          <p:nvPr>
            <p:ph type="pic" sz="quarter" idx="10"/>
          </p:nvPr>
        </p:nvSpPr>
        <p:spPr>
          <a:xfrm>
            <a:off x="4757431" y="1298653"/>
            <a:ext cx="2644263" cy="2644262"/>
          </a:xfrm>
          <a:custGeom>
            <a:avLst/>
            <a:gdLst>
              <a:gd name="connsiteX0" fmla="*/ 1322131 w 2644262"/>
              <a:gd name="connsiteY0" fmla="*/ 0 h 2644262"/>
              <a:gd name="connsiteX1" fmla="*/ 2644262 w 2644262"/>
              <a:gd name="connsiteY1" fmla="*/ 1322131 h 2644262"/>
              <a:gd name="connsiteX2" fmla="*/ 1322131 w 2644262"/>
              <a:gd name="connsiteY2" fmla="*/ 2644262 h 2644262"/>
              <a:gd name="connsiteX3" fmla="*/ 0 w 2644262"/>
              <a:gd name="connsiteY3" fmla="*/ 1322131 h 26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4262" h="2644262">
                <a:moveTo>
                  <a:pt x="1322131" y="0"/>
                </a:moveTo>
                <a:lnTo>
                  <a:pt x="2644262" y="1322131"/>
                </a:lnTo>
                <a:lnTo>
                  <a:pt x="1322131" y="2644262"/>
                </a:lnTo>
                <a:lnTo>
                  <a:pt x="0" y="132213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0417" y="1674060"/>
            <a:ext cx="1936751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0417" y="4215782"/>
            <a:ext cx="1936751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640430" y="1674060"/>
            <a:ext cx="1936751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640430" y="4215782"/>
            <a:ext cx="1936751" cy="1936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87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018652"/>
          </a:xfrm>
          <a:custGeom>
            <a:avLst/>
            <a:gdLst>
              <a:gd name="connsiteX0" fmla="*/ 0 w 12192000"/>
              <a:gd name="connsiteY0" fmla="*/ 0 h 5018652"/>
              <a:gd name="connsiteX1" fmla="*/ 12192000 w 12192000"/>
              <a:gd name="connsiteY1" fmla="*/ 0 h 5018652"/>
              <a:gd name="connsiteX2" fmla="*/ 12192000 w 12192000"/>
              <a:gd name="connsiteY2" fmla="*/ 4076640 h 5018652"/>
              <a:gd name="connsiteX3" fmla="*/ 0 w 12192000"/>
              <a:gd name="connsiteY3" fmla="*/ 4747372 h 501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018652">
                <a:moveTo>
                  <a:pt x="0" y="0"/>
                </a:moveTo>
                <a:lnTo>
                  <a:pt x="12192000" y="0"/>
                </a:lnTo>
                <a:lnTo>
                  <a:pt x="12192000" y="4076640"/>
                </a:lnTo>
                <a:cubicBezTo>
                  <a:pt x="6096000" y="4076640"/>
                  <a:pt x="6096000" y="5629914"/>
                  <a:pt x="0" y="474737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Freeform 6"/>
          <p:cNvSpPr>
            <a:spLocks noGrp="1"/>
          </p:cNvSpPr>
          <p:nvPr>
            <p:ph type="pic" sz="quarter" idx="11"/>
          </p:nvPr>
        </p:nvSpPr>
        <p:spPr>
          <a:xfrm>
            <a:off x="1997990" y="4112002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 noGrp="1"/>
          </p:cNvSpPr>
          <p:nvPr>
            <p:ph type="pic" sz="quarter" idx="12"/>
          </p:nvPr>
        </p:nvSpPr>
        <p:spPr>
          <a:xfrm>
            <a:off x="5189350" y="3817534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 noGrp="1"/>
          </p:cNvSpPr>
          <p:nvPr>
            <p:ph type="pic" sz="quarter" idx="13"/>
          </p:nvPr>
        </p:nvSpPr>
        <p:spPr>
          <a:xfrm>
            <a:off x="8380709" y="3429000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02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4748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>
            <a:spLocks noGrp="1"/>
          </p:cNvSpPr>
          <p:nvPr>
            <p:ph type="pic" sz="quarter" idx="10"/>
          </p:nvPr>
        </p:nvSpPr>
        <p:spPr>
          <a:xfrm>
            <a:off x="867906" y="1119753"/>
            <a:ext cx="1813303" cy="1813302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 noGrp="1"/>
          </p:cNvSpPr>
          <p:nvPr>
            <p:ph type="pic" sz="quarter" idx="11"/>
          </p:nvPr>
        </p:nvSpPr>
        <p:spPr>
          <a:xfrm>
            <a:off x="3440625" y="3150033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Freeform 9"/>
          <p:cNvSpPr>
            <a:spLocks noGrp="1"/>
          </p:cNvSpPr>
          <p:nvPr>
            <p:ph type="pic" sz="quarter" idx="12"/>
          </p:nvPr>
        </p:nvSpPr>
        <p:spPr>
          <a:xfrm>
            <a:off x="5445073" y="3150033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 noGrp="1"/>
          </p:cNvSpPr>
          <p:nvPr>
            <p:ph type="pic" sz="quarter" idx="13"/>
          </p:nvPr>
        </p:nvSpPr>
        <p:spPr>
          <a:xfrm>
            <a:off x="7449520" y="3150033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 noGrp="1"/>
          </p:cNvSpPr>
          <p:nvPr>
            <p:ph type="pic" sz="quarter" idx="14"/>
          </p:nvPr>
        </p:nvSpPr>
        <p:spPr>
          <a:xfrm>
            <a:off x="9448800" y="3150033"/>
            <a:ext cx="1301857" cy="1301857"/>
          </a:xfrm>
          <a:custGeom>
            <a:avLst/>
            <a:gdLst>
              <a:gd name="connsiteX0" fmla="*/ 906651 w 1813302"/>
              <a:gd name="connsiteY0" fmla="*/ 0 h 1813302"/>
              <a:gd name="connsiteX1" fmla="*/ 1813302 w 1813302"/>
              <a:gd name="connsiteY1" fmla="*/ 906651 h 1813302"/>
              <a:gd name="connsiteX2" fmla="*/ 906651 w 1813302"/>
              <a:gd name="connsiteY2" fmla="*/ 1813302 h 1813302"/>
              <a:gd name="connsiteX3" fmla="*/ 0 w 1813302"/>
              <a:gd name="connsiteY3" fmla="*/ 906651 h 1813302"/>
              <a:gd name="connsiteX4" fmla="*/ 906651 w 1813302"/>
              <a:gd name="connsiteY4" fmla="*/ 0 h 1813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3302" h="1813302">
                <a:moveTo>
                  <a:pt x="906651" y="0"/>
                </a:moveTo>
                <a:cubicBezTo>
                  <a:pt x="1407381" y="0"/>
                  <a:pt x="1813302" y="405921"/>
                  <a:pt x="1813302" y="906651"/>
                </a:cubicBezTo>
                <a:cubicBezTo>
                  <a:pt x="1813302" y="1407381"/>
                  <a:pt x="1407381" y="1813302"/>
                  <a:pt x="906651" y="1813302"/>
                </a:cubicBezTo>
                <a:cubicBezTo>
                  <a:pt x="405921" y="1813302"/>
                  <a:pt x="0" y="1407381"/>
                  <a:pt x="0" y="906651"/>
                </a:cubicBezTo>
                <a:cubicBezTo>
                  <a:pt x="0" y="405921"/>
                  <a:pt x="405921" y="0"/>
                  <a:pt x="9066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66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362631" y="798739"/>
            <a:ext cx="2742973" cy="60592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134410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3134410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153607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6153607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172804" y="3840296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9172804" y="798737"/>
            <a:ext cx="3019197" cy="301770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1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14362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91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100764" y="0"/>
            <a:ext cx="6091237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484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15443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96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419851" cy="6858000"/>
          </a:xfrm>
          <a:custGeom>
            <a:avLst/>
            <a:gdLst>
              <a:gd name="connsiteX0" fmla="*/ 0 w 6419850"/>
              <a:gd name="connsiteY0" fmla="*/ 0 h 6858000"/>
              <a:gd name="connsiteX1" fmla="*/ 3295650 w 6419850"/>
              <a:gd name="connsiteY1" fmla="*/ 0 h 6858000"/>
              <a:gd name="connsiteX2" fmla="*/ 6419850 w 6419850"/>
              <a:gd name="connsiteY2" fmla="*/ 3124200 h 6858000"/>
              <a:gd name="connsiteX3" fmla="*/ 2686050 w 6419850"/>
              <a:gd name="connsiteY3" fmla="*/ 6858000 h 6858000"/>
              <a:gd name="connsiteX4" fmla="*/ 0 w 64198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9850" h="6858000">
                <a:moveTo>
                  <a:pt x="0" y="0"/>
                </a:moveTo>
                <a:lnTo>
                  <a:pt x="3295650" y="0"/>
                </a:lnTo>
                <a:lnTo>
                  <a:pt x="6419850" y="3124200"/>
                </a:lnTo>
                <a:lnTo>
                  <a:pt x="26860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25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485901" y="1581150"/>
            <a:ext cx="9201151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4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04951" y="1600200"/>
            <a:ext cx="6438900" cy="1828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07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9720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41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029075" y="1619250"/>
            <a:ext cx="4133851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61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93284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36543" y="1642820"/>
            <a:ext cx="3657600" cy="363403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57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924800" y="685800"/>
            <a:ext cx="3676651" cy="2743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64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76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2076450"/>
            <a:ext cx="3067051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2475" y="2076450"/>
            <a:ext cx="3067051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10549" y="2076450"/>
            <a:ext cx="3067051" cy="228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02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384005" y="0"/>
            <a:ext cx="7229119" cy="5362412"/>
          </a:xfrm>
          <a:custGeom>
            <a:avLst/>
            <a:gdLst>
              <a:gd name="connsiteX0" fmla="*/ 1747853 w 7229118"/>
              <a:gd name="connsiteY0" fmla="*/ 0 h 5362412"/>
              <a:gd name="connsiteX1" fmla="*/ 5481265 w 7229118"/>
              <a:gd name="connsiteY1" fmla="*/ 0 h 5362412"/>
              <a:gd name="connsiteX2" fmla="*/ 7229118 w 7229118"/>
              <a:gd name="connsiteY2" fmla="*/ 1747853 h 5362412"/>
              <a:gd name="connsiteX3" fmla="*/ 3614559 w 7229118"/>
              <a:gd name="connsiteY3" fmla="*/ 5362412 h 5362412"/>
              <a:gd name="connsiteX4" fmla="*/ 0 w 7229118"/>
              <a:gd name="connsiteY4" fmla="*/ 1747853 h 5362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9118" h="5362412">
                <a:moveTo>
                  <a:pt x="1747853" y="0"/>
                </a:moveTo>
                <a:lnTo>
                  <a:pt x="5481265" y="0"/>
                </a:lnTo>
                <a:lnTo>
                  <a:pt x="7229118" y="1747853"/>
                </a:lnTo>
                <a:lnTo>
                  <a:pt x="3614559" y="5362412"/>
                </a:lnTo>
                <a:lnTo>
                  <a:pt x="0" y="174785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15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Grp="1"/>
          </p:cNvSpPr>
          <p:nvPr>
            <p:ph type="pic" sz="quarter" idx="10"/>
          </p:nvPr>
        </p:nvSpPr>
        <p:spPr>
          <a:xfrm>
            <a:off x="1084881" y="1243739"/>
            <a:ext cx="4370523" cy="4370522"/>
          </a:xfrm>
          <a:custGeom>
            <a:avLst/>
            <a:gdLst>
              <a:gd name="connsiteX0" fmla="*/ 2185261 w 4370522"/>
              <a:gd name="connsiteY0" fmla="*/ 0 h 4370522"/>
              <a:gd name="connsiteX1" fmla="*/ 4370522 w 4370522"/>
              <a:gd name="connsiteY1" fmla="*/ 2185261 h 4370522"/>
              <a:gd name="connsiteX2" fmla="*/ 2185261 w 4370522"/>
              <a:gd name="connsiteY2" fmla="*/ 4370522 h 4370522"/>
              <a:gd name="connsiteX3" fmla="*/ 0 w 4370522"/>
              <a:gd name="connsiteY3" fmla="*/ 2185261 h 4370522"/>
              <a:gd name="connsiteX4" fmla="*/ 2185261 w 4370522"/>
              <a:gd name="connsiteY4" fmla="*/ 0 h 4370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0522" h="4370522">
                <a:moveTo>
                  <a:pt x="2185261" y="0"/>
                </a:moveTo>
                <a:cubicBezTo>
                  <a:pt x="3392147" y="0"/>
                  <a:pt x="4370522" y="978375"/>
                  <a:pt x="4370522" y="2185261"/>
                </a:cubicBezTo>
                <a:cubicBezTo>
                  <a:pt x="4370522" y="3392147"/>
                  <a:pt x="3392147" y="4370522"/>
                  <a:pt x="2185261" y="4370522"/>
                </a:cubicBezTo>
                <a:cubicBezTo>
                  <a:pt x="978375" y="4370522"/>
                  <a:pt x="0" y="3392147"/>
                  <a:pt x="0" y="2185261"/>
                </a:cubicBezTo>
                <a:cubicBezTo>
                  <a:pt x="0" y="978375"/>
                  <a:pt x="978375" y="0"/>
                  <a:pt x="218526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9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799308" y="1127920"/>
            <a:ext cx="2593384" cy="46021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46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03365" y="682627"/>
            <a:ext cx="2746375" cy="2746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5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50957" y="1801814"/>
            <a:ext cx="3657600" cy="32543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61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Grp="1"/>
          </p:cNvSpPr>
          <p:nvPr>
            <p:ph type="pic" sz="quarter" idx="11"/>
          </p:nvPr>
        </p:nvSpPr>
        <p:spPr>
          <a:xfrm>
            <a:off x="880119" y="2578093"/>
            <a:ext cx="10431764" cy="4122539"/>
          </a:xfrm>
          <a:custGeom>
            <a:avLst/>
            <a:gdLst>
              <a:gd name="connsiteX0" fmla="*/ 1684870 w 9107476"/>
              <a:gd name="connsiteY0" fmla="*/ 528837 h 3599192"/>
              <a:gd name="connsiteX1" fmla="*/ 1624613 w 9107476"/>
              <a:gd name="connsiteY1" fmla="*/ 540441 h 3599192"/>
              <a:gd name="connsiteX2" fmla="*/ 1633320 w 9107476"/>
              <a:gd name="connsiteY2" fmla="*/ 607833 h 3599192"/>
              <a:gd name="connsiteX3" fmla="*/ 1696368 w 9107476"/>
              <a:gd name="connsiteY3" fmla="*/ 597646 h 3599192"/>
              <a:gd name="connsiteX4" fmla="*/ 1695595 w 9107476"/>
              <a:gd name="connsiteY4" fmla="*/ 596365 h 3599192"/>
              <a:gd name="connsiteX5" fmla="*/ 1684870 w 9107476"/>
              <a:gd name="connsiteY5" fmla="*/ 528837 h 3599192"/>
              <a:gd name="connsiteX6" fmla="*/ 7627715 w 9107476"/>
              <a:gd name="connsiteY6" fmla="*/ 100399 h 3599192"/>
              <a:gd name="connsiteX7" fmla="*/ 7682494 w 9107476"/>
              <a:gd name="connsiteY7" fmla="*/ 115461 h 3599192"/>
              <a:gd name="connsiteX8" fmla="*/ 7545267 w 9107476"/>
              <a:gd name="connsiteY8" fmla="*/ 146350 h 3599192"/>
              <a:gd name="connsiteX9" fmla="*/ 7547921 w 9107476"/>
              <a:gd name="connsiteY9" fmla="*/ 159362 h 3599192"/>
              <a:gd name="connsiteX10" fmla="*/ 7668655 w 9107476"/>
              <a:gd name="connsiteY10" fmla="*/ 167110 h 3599192"/>
              <a:gd name="connsiteX11" fmla="*/ 7669771 w 9107476"/>
              <a:gd name="connsiteY11" fmla="*/ 185861 h 3599192"/>
              <a:gd name="connsiteX12" fmla="*/ 7275700 w 9107476"/>
              <a:gd name="connsiteY12" fmla="*/ 258640 h 3599192"/>
              <a:gd name="connsiteX13" fmla="*/ 7296235 w 9107476"/>
              <a:gd name="connsiteY13" fmla="*/ 319499 h 3599192"/>
              <a:gd name="connsiteX14" fmla="*/ 7148245 w 9107476"/>
              <a:gd name="connsiteY14" fmla="*/ 390558 h 3599192"/>
              <a:gd name="connsiteX15" fmla="*/ 7105486 w 9107476"/>
              <a:gd name="connsiteY15" fmla="*/ 366799 h 3599192"/>
              <a:gd name="connsiteX16" fmla="*/ 6960572 w 9107476"/>
              <a:gd name="connsiteY16" fmla="*/ 426380 h 3599192"/>
              <a:gd name="connsiteX17" fmla="*/ 6828800 w 9107476"/>
              <a:gd name="connsiteY17" fmla="*/ 391072 h 3599192"/>
              <a:gd name="connsiteX18" fmla="*/ 6634133 w 9107476"/>
              <a:gd name="connsiteY18" fmla="*/ 498831 h 3599192"/>
              <a:gd name="connsiteX19" fmla="*/ 6648245 w 9107476"/>
              <a:gd name="connsiteY19" fmla="*/ 514913 h 3599192"/>
              <a:gd name="connsiteX20" fmla="*/ 7012407 w 9107476"/>
              <a:gd name="connsiteY20" fmla="*/ 507928 h 3599192"/>
              <a:gd name="connsiteX21" fmla="*/ 7365953 w 9107476"/>
              <a:gd name="connsiteY21" fmla="*/ 448893 h 3599192"/>
              <a:gd name="connsiteX22" fmla="*/ 7608959 w 9107476"/>
              <a:gd name="connsiteY22" fmla="*/ 458650 h 3599192"/>
              <a:gd name="connsiteX23" fmla="*/ 7890952 w 9107476"/>
              <a:gd name="connsiteY23" fmla="*/ 460401 h 3599192"/>
              <a:gd name="connsiteX24" fmla="*/ 7664143 w 9107476"/>
              <a:gd name="connsiteY24" fmla="*/ 596450 h 3599192"/>
              <a:gd name="connsiteX25" fmla="*/ 7593707 w 9107476"/>
              <a:gd name="connsiteY25" fmla="*/ 675988 h 3599192"/>
              <a:gd name="connsiteX26" fmla="*/ 7454669 w 9107476"/>
              <a:gd name="connsiteY26" fmla="*/ 644884 h 3599192"/>
              <a:gd name="connsiteX27" fmla="*/ 7366351 w 9107476"/>
              <a:gd name="connsiteY27" fmla="*/ 676575 h 3599192"/>
              <a:gd name="connsiteX28" fmla="*/ 7031951 w 9107476"/>
              <a:gd name="connsiteY28" fmla="*/ 709987 h 3599192"/>
              <a:gd name="connsiteX29" fmla="*/ 6648644 w 9107476"/>
              <a:gd name="connsiteY29" fmla="*/ 742595 h 3599192"/>
              <a:gd name="connsiteX30" fmla="*/ 6655066 w 9107476"/>
              <a:gd name="connsiteY30" fmla="*/ 787371 h 3599192"/>
              <a:gd name="connsiteX31" fmla="*/ 7048717 w 9107476"/>
              <a:gd name="connsiteY31" fmla="*/ 739082 h 3599192"/>
              <a:gd name="connsiteX32" fmla="*/ 7182447 w 9107476"/>
              <a:gd name="connsiteY32" fmla="*/ 744162 h 3599192"/>
              <a:gd name="connsiteX33" fmla="*/ 7593707 w 9107476"/>
              <a:gd name="connsiteY33" fmla="*/ 675988 h 3599192"/>
              <a:gd name="connsiteX34" fmla="*/ 8015581 w 9107476"/>
              <a:gd name="connsiteY34" fmla="*/ 659864 h 3599192"/>
              <a:gd name="connsiteX35" fmla="*/ 8015159 w 9107476"/>
              <a:gd name="connsiteY35" fmla="*/ 684354 h 3599192"/>
              <a:gd name="connsiteX36" fmla="*/ 7859208 w 9107476"/>
              <a:gd name="connsiteY36" fmla="*/ 716375 h 3599192"/>
              <a:gd name="connsiteX37" fmla="*/ 7943608 w 9107476"/>
              <a:gd name="connsiteY37" fmla="*/ 745140 h 3599192"/>
              <a:gd name="connsiteX38" fmla="*/ 7948915 w 9107476"/>
              <a:gd name="connsiteY38" fmla="*/ 771166 h 3599192"/>
              <a:gd name="connsiteX39" fmla="*/ 7434382 w 9107476"/>
              <a:gd name="connsiteY39" fmla="*/ 903928 h 3599192"/>
              <a:gd name="connsiteX40" fmla="*/ 7437036 w 9107476"/>
              <a:gd name="connsiteY40" fmla="*/ 916941 h 3599192"/>
              <a:gd name="connsiteX41" fmla="*/ 7651818 w 9107476"/>
              <a:gd name="connsiteY41" fmla="*/ 894532 h 3599192"/>
              <a:gd name="connsiteX42" fmla="*/ 7568658 w 9107476"/>
              <a:gd name="connsiteY42" fmla="*/ 1044470 h 3599192"/>
              <a:gd name="connsiteX43" fmla="*/ 7397204 w 9107476"/>
              <a:gd name="connsiteY43" fmla="*/ 973926 h 3599192"/>
              <a:gd name="connsiteX44" fmla="*/ 6580267 w 9107476"/>
              <a:gd name="connsiteY44" fmla="*/ 1204029 h 3599192"/>
              <a:gd name="connsiteX45" fmla="*/ 6554275 w 9107476"/>
              <a:gd name="connsiteY45" fmla="*/ 1209366 h 3599192"/>
              <a:gd name="connsiteX46" fmla="*/ 6155590 w 9107476"/>
              <a:gd name="connsiteY46" fmla="*/ 1299361 h 3599192"/>
              <a:gd name="connsiteX47" fmla="*/ 6117718 w 9107476"/>
              <a:gd name="connsiteY47" fmla="*/ 1326118 h 3599192"/>
              <a:gd name="connsiteX48" fmla="*/ 5957847 w 9107476"/>
              <a:gd name="connsiteY48" fmla="*/ 1418596 h 3599192"/>
              <a:gd name="connsiteX49" fmla="*/ 6136568 w 9107476"/>
              <a:gd name="connsiteY49" fmla="*/ 1484936 h 3599192"/>
              <a:gd name="connsiteX50" fmla="*/ 6060130 w 9107476"/>
              <a:gd name="connsiteY50" fmla="*/ 1495208 h 3599192"/>
              <a:gd name="connsiteX51" fmla="*/ 6056633 w 9107476"/>
              <a:gd name="connsiteY51" fmla="*/ 1531175 h 3599192"/>
              <a:gd name="connsiteX52" fmla="*/ 6376772 w 9107476"/>
              <a:gd name="connsiteY52" fmla="*/ 1573902 h 3599192"/>
              <a:gd name="connsiteX53" fmla="*/ 6823522 w 9107476"/>
              <a:gd name="connsiteY53" fmla="*/ 1533689 h 3599192"/>
              <a:gd name="connsiteX54" fmla="*/ 6891156 w 9107476"/>
              <a:gd name="connsiteY54" fmla="*/ 1533360 h 3599192"/>
              <a:gd name="connsiteX55" fmla="*/ 7069752 w 9107476"/>
              <a:gd name="connsiteY55" fmla="*/ 1439748 h 3599192"/>
              <a:gd name="connsiteX56" fmla="*/ 7026993 w 9107476"/>
              <a:gd name="connsiteY56" fmla="*/ 1415990 h 3599192"/>
              <a:gd name="connsiteX57" fmla="*/ 7106508 w 9107476"/>
              <a:gd name="connsiteY57" fmla="*/ 1394241 h 3599192"/>
              <a:gd name="connsiteX58" fmla="*/ 8290782 w 9107476"/>
              <a:gd name="connsiteY58" fmla="*/ 1557798 h 3599192"/>
              <a:gd name="connsiteX59" fmla="*/ 8673247 w 9107476"/>
              <a:gd name="connsiteY59" fmla="*/ 1574169 h 3599192"/>
              <a:gd name="connsiteX60" fmla="*/ 8789220 w 9107476"/>
              <a:gd name="connsiteY60" fmla="*/ 1691354 h 3599192"/>
              <a:gd name="connsiteX61" fmla="*/ 8655763 w 9107476"/>
              <a:gd name="connsiteY61" fmla="*/ 1754006 h 3599192"/>
              <a:gd name="connsiteX62" fmla="*/ 8641775 w 9107476"/>
              <a:gd name="connsiteY62" fmla="*/ 1897875 h 3599192"/>
              <a:gd name="connsiteX63" fmla="*/ 8678804 w 9107476"/>
              <a:gd name="connsiteY63" fmla="*/ 1920098 h 3599192"/>
              <a:gd name="connsiteX64" fmla="*/ 8557227 w 9107476"/>
              <a:gd name="connsiteY64" fmla="*/ 1961331 h 3599192"/>
              <a:gd name="connsiteX65" fmla="*/ 9077613 w 9107476"/>
              <a:gd name="connsiteY65" fmla="*/ 1990054 h 3599192"/>
              <a:gd name="connsiteX66" fmla="*/ 8957153 w 9107476"/>
              <a:gd name="connsiteY66" fmla="*/ 2050038 h 3599192"/>
              <a:gd name="connsiteX67" fmla="*/ 9014023 w 9107476"/>
              <a:gd name="connsiteY67" fmla="*/ 2089879 h 3599192"/>
              <a:gd name="connsiteX68" fmla="*/ 8944430 w 9107476"/>
              <a:gd name="connsiteY68" fmla="*/ 2120437 h 3599192"/>
              <a:gd name="connsiteX69" fmla="*/ 8734535 w 9107476"/>
              <a:gd name="connsiteY69" fmla="*/ 2193360 h 3599192"/>
              <a:gd name="connsiteX70" fmla="*/ 8712734 w 9107476"/>
              <a:gd name="connsiteY70" fmla="*/ 2205972 h 3599192"/>
              <a:gd name="connsiteX71" fmla="*/ 8478805 w 9107476"/>
              <a:gd name="connsiteY71" fmla="*/ 2254003 h 3599192"/>
              <a:gd name="connsiteX72" fmla="*/ 8320621 w 9107476"/>
              <a:gd name="connsiteY72" fmla="*/ 2248522 h 3599192"/>
              <a:gd name="connsiteX73" fmla="*/ 8288752 w 9107476"/>
              <a:gd name="connsiteY73" fmla="*/ 2344545 h 3599192"/>
              <a:gd name="connsiteX74" fmla="*/ 8222656 w 9107476"/>
              <a:gd name="connsiteY74" fmla="*/ 2339135 h 3599192"/>
              <a:gd name="connsiteX75" fmla="*/ 8320746 w 9107476"/>
              <a:gd name="connsiteY75" fmla="*/ 2408474 h 3599192"/>
              <a:gd name="connsiteX76" fmla="*/ 8138802 w 9107476"/>
              <a:gd name="connsiteY76" fmla="*/ 2445831 h 3599192"/>
              <a:gd name="connsiteX77" fmla="*/ 8168143 w 9107476"/>
              <a:gd name="connsiteY77" fmla="*/ 2496748 h 3599192"/>
              <a:gd name="connsiteX78" fmla="*/ 9099515 w 9107476"/>
              <a:gd name="connsiteY78" fmla="*/ 2389568 h 3599192"/>
              <a:gd name="connsiteX79" fmla="*/ 9107476 w 9107476"/>
              <a:gd name="connsiteY79" fmla="*/ 2428606 h 3599192"/>
              <a:gd name="connsiteX80" fmla="*/ 8974441 w 9107476"/>
              <a:gd name="connsiteY80" fmla="*/ 2466767 h 3599192"/>
              <a:gd name="connsiteX81" fmla="*/ 9038578 w 9107476"/>
              <a:gd name="connsiteY81" fmla="*/ 2502405 h 3599192"/>
              <a:gd name="connsiteX82" fmla="*/ 8857329 w 9107476"/>
              <a:gd name="connsiteY82" fmla="*/ 2583004 h 3599192"/>
              <a:gd name="connsiteX83" fmla="*/ 8899665 w 9107476"/>
              <a:gd name="connsiteY83" fmla="*/ 2631252 h 3599192"/>
              <a:gd name="connsiteX84" fmla="*/ 8658048 w 9107476"/>
              <a:gd name="connsiteY84" fmla="*/ 2707977 h 3599192"/>
              <a:gd name="connsiteX85" fmla="*/ 8155521 w 9107476"/>
              <a:gd name="connsiteY85" fmla="*/ 2979272 h 3599192"/>
              <a:gd name="connsiteX86" fmla="*/ 7609813 w 9107476"/>
              <a:gd name="connsiteY86" fmla="*/ 3251297 h 3599192"/>
              <a:gd name="connsiteX87" fmla="*/ 7149075 w 9107476"/>
              <a:gd name="connsiteY87" fmla="*/ 3435379 h 3599192"/>
              <a:gd name="connsiteX88" fmla="*/ 6812716 w 9107476"/>
              <a:gd name="connsiteY88" fmla="*/ 3499019 h 3599192"/>
              <a:gd name="connsiteX89" fmla="*/ 5871844 w 9107476"/>
              <a:gd name="connsiteY89" fmla="*/ 3572900 h 3599192"/>
              <a:gd name="connsiteX90" fmla="*/ 5414057 w 9107476"/>
              <a:gd name="connsiteY90" fmla="*/ 3585552 h 3599192"/>
              <a:gd name="connsiteX91" fmla="*/ 5284245 w 9107476"/>
              <a:gd name="connsiteY91" fmla="*/ 3520015 h 3599192"/>
              <a:gd name="connsiteX92" fmla="*/ 5180971 w 9107476"/>
              <a:gd name="connsiteY92" fmla="*/ 3584604 h 3599192"/>
              <a:gd name="connsiteX93" fmla="*/ 4845878 w 9107476"/>
              <a:gd name="connsiteY93" fmla="*/ 3574775 h 3599192"/>
              <a:gd name="connsiteX94" fmla="*/ 4360560 w 9107476"/>
              <a:gd name="connsiteY94" fmla="*/ 3598502 h 3599192"/>
              <a:gd name="connsiteX95" fmla="*/ 3757311 w 9107476"/>
              <a:gd name="connsiteY95" fmla="*/ 3535274 h 3599192"/>
              <a:gd name="connsiteX96" fmla="*/ 3648731 w 9107476"/>
              <a:gd name="connsiteY96" fmla="*/ 3573837 h 3599192"/>
              <a:gd name="connsiteX97" fmla="*/ 3586130 w 9107476"/>
              <a:gd name="connsiteY97" fmla="*/ 3532461 h 3599192"/>
              <a:gd name="connsiteX98" fmla="*/ 3045903 w 9107476"/>
              <a:gd name="connsiteY98" fmla="*/ 3486119 h 3599192"/>
              <a:gd name="connsiteX99" fmla="*/ 1762000 w 9107476"/>
              <a:gd name="connsiteY99" fmla="*/ 3258961 h 3599192"/>
              <a:gd name="connsiteX100" fmla="*/ 1634420 w 9107476"/>
              <a:gd name="connsiteY100" fmla="*/ 3230927 h 3599192"/>
              <a:gd name="connsiteX101" fmla="*/ 1684023 w 9107476"/>
              <a:gd name="connsiteY101" fmla="*/ 3274972 h 3599192"/>
              <a:gd name="connsiteX102" fmla="*/ 1381493 w 9107476"/>
              <a:gd name="connsiteY102" fmla="*/ 3212361 h 3599192"/>
              <a:gd name="connsiteX103" fmla="*/ 1378418 w 9107476"/>
              <a:gd name="connsiteY103" fmla="*/ 3223839 h 3599192"/>
              <a:gd name="connsiteX104" fmla="*/ 1524301 w 9107476"/>
              <a:gd name="connsiteY104" fmla="*/ 3275229 h 3599192"/>
              <a:gd name="connsiteX105" fmla="*/ 1519688 w 9107476"/>
              <a:gd name="connsiteY105" fmla="*/ 3292445 h 3599192"/>
              <a:gd name="connsiteX106" fmla="*/ 1227500 w 9107476"/>
              <a:gd name="connsiteY106" fmla="*/ 3214154 h 3599192"/>
              <a:gd name="connsiteX107" fmla="*/ 758701 w 9107476"/>
              <a:gd name="connsiteY107" fmla="*/ 2947073 h 3599192"/>
              <a:gd name="connsiteX108" fmla="*/ 277450 w 9107476"/>
              <a:gd name="connsiteY108" fmla="*/ 2818122 h 3599192"/>
              <a:gd name="connsiteX109" fmla="*/ 159791 w 9107476"/>
              <a:gd name="connsiteY109" fmla="*/ 2798898 h 3599192"/>
              <a:gd name="connsiteX110" fmla="*/ 279409 w 9107476"/>
              <a:gd name="connsiteY110" fmla="*/ 2787894 h 3599192"/>
              <a:gd name="connsiteX111" fmla="*/ 122068 w 9107476"/>
              <a:gd name="connsiteY111" fmla="*/ 2733433 h 3599192"/>
              <a:gd name="connsiteX112" fmla="*/ 529136 w 9107476"/>
              <a:gd name="connsiteY112" fmla="*/ 2657986 h 3599192"/>
              <a:gd name="connsiteX113" fmla="*/ 460807 w 9107476"/>
              <a:gd name="connsiteY113" fmla="*/ 2615074 h 3599192"/>
              <a:gd name="connsiteX114" fmla="*/ 401705 w 9107476"/>
              <a:gd name="connsiteY114" fmla="*/ 2537731 h 3599192"/>
              <a:gd name="connsiteX115" fmla="*/ 291462 w 9107476"/>
              <a:gd name="connsiteY115" fmla="*/ 2422081 h 3599192"/>
              <a:gd name="connsiteX116" fmla="*/ 197836 w 9107476"/>
              <a:gd name="connsiteY116" fmla="*/ 2427748 h 3599192"/>
              <a:gd name="connsiteX117" fmla="*/ 94289 w 9107476"/>
              <a:gd name="connsiteY117" fmla="*/ 2424605 h 3599192"/>
              <a:gd name="connsiteX118" fmla="*/ 154259 w 9107476"/>
              <a:gd name="connsiteY118" fmla="*/ 2200796 h 3599192"/>
              <a:gd name="connsiteX119" fmla="*/ 310086 w 9107476"/>
              <a:gd name="connsiteY119" fmla="*/ 2008824 h 3599192"/>
              <a:gd name="connsiteX120" fmla="*/ 243295 w 9107476"/>
              <a:gd name="connsiteY120" fmla="*/ 1960173 h 3599192"/>
              <a:gd name="connsiteX121" fmla="*/ 296817 w 9107476"/>
              <a:gd name="connsiteY121" fmla="*/ 1943761 h 3599192"/>
              <a:gd name="connsiteX122" fmla="*/ 249172 w 9107476"/>
              <a:gd name="connsiteY122" fmla="*/ 1869487 h 3599192"/>
              <a:gd name="connsiteX123" fmla="*/ 383746 w 9107476"/>
              <a:gd name="connsiteY123" fmla="*/ 1825588 h 3599192"/>
              <a:gd name="connsiteX124" fmla="*/ 400512 w 9107476"/>
              <a:gd name="connsiteY124" fmla="*/ 1854682 h 3599192"/>
              <a:gd name="connsiteX125" fmla="*/ 534227 w 9107476"/>
              <a:gd name="connsiteY125" fmla="*/ 1839768 h 3599192"/>
              <a:gd name="connsiteX126" fmla="*/ 589790 w 9107476"/>
              <a:gd name="connsiteY126" fmla="*/ 1831891 h 3599192"/>
              <a:gd name="connsiteX127" fmla="*/ 531755 w 9107476"/>
              <a:gd name="connsiteY127" fmla="*/ 1767118 h 3599192"/>
              <a:gd name="connsiteX128" fmla="*/ 442176 w 9107476"/>
              <a:gd name="connsiteY128" fmla="*/ 1548449 h 3599192"/>
              <a:gd name="connsiteX129" fmla="*/ 22345 w 9107476"/>
              <a:gd name="connsiteY129" fmla="*/ 1272751 h 3599192"/>
              <a:gd name="connsiteX130" fmla="*/ 252204 w 9107476"/>
              <a:gd name="connsiteY130" fmla="*/ 1236983 h 3599192"/>
              <a:gd name="connsiteX131" fmla="*/ 246710 w 9107476"/>
              <a:gd name="connsiteY131" fmla="*/ 1218433 h 3599192"/>
              <a:gd name="connsiteX132" fmla="*/ 0 w 9107476"/>
              <a:gd name="connsiteY132" fmla="*/ 1181583 h 3599192"/>
              <a:gd name="connsiteX133" fmla="*/ 511706 w 9107476"/>
              <a:gd name="connsiteY133" fmla="*/ 850820 h 3599192"/>
              <a:gd name="connsiteX134" fmla="*/ 1039883 w 9107476"/>
              <a:gd name="connsiteY134" fmla="*/ 724229 h 3599192"/>
              <a:gd name="connsiteX135" fmla="*/ 1502643 w 9107476"/>
              <a:gd name="connsiteY135" fmla="*/ 631615 h 3599192"/>
              <a:gd name="connsiteX136" fmla="*/ 1502193 w 9107476"/>
              <a:gd name="connsiteY136" fmla="*/ 630654 h 3599192"/>
              <a:gd name="connsiteX137" fmla="*/ 1532525 w 9107476"/>
              <a:gd name="connsiteY137" fmla="*/ 540370 h 3599192"/>
              <a:gd name="connsiteX138" fmla="*/ 1514097 w 9107476"/>
              <a:gd name="connsiteY138" fmla="*/ 357061 h 3599192"/>
              <a:gd name="connsiteX139" fmla="*/ 1788278 w 9107476"/>
              <a:gd name="connsiteY139" fmla="*/ 227555 h 3599192"/>
              <a:gd name="connsiteX140" fmla="*/ 2653555 w 9107476"/>
              <a:gd name="connsiteY140" fmla="*/ 114965 h 3599192"/>
              <a:gd name="connsiteX141" fmla="*/ 3509183 w 9107476"/>
              <a:gd name="connsiteY141" fmla="*/ 61299 h 3599192"/>
              <a:gd name="connsiteX142" fmla="*/ 5741945 w 9107476"/>
              <a:gd name="connsiteY142" fmla="*/ 1439 h 3599192"/>
              <a:gd name="connsiteX143" fmla="*/ 6295590 w 9107476"/>
              <a:gd name="connsiteY143" fmla="*/ 20624 h 3599192"/>
              <a:gd name="connsiteX144" fmla="*/ 6791101 w 9107476"/>
              <a:gd name="connsiteY144" fmla="*/ 73436 h 3599192"/>
              <a:gd name="connsiteX145" fmla="*/ 7462827 w 9107476"/>
              <a:gd name="connsiteY145" fmla="*/ 87356 h 3599192"/>
              <a:gd name="connsiteX146" fmla="*/ 7627715 w 9107476"/>
              <a:gd name="connsiteY146" fmla="*/ 100399 h 359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9107476" h="3599192">
                <a:moveTo>
                  <a:pt x="1684870" y="528837"/>
                </a:moveTo>
                <a:cubicBezTo>
                  <a:pt x="1668502" y="518084"/>
                  <a:pt x="1639898" y="540693"/>
                  <a:pt x="1624613" y="540441"/>
                </a:cubicBezTo>
                <a:lnTo>
                  <a:pt x="1633320" y="607833"/>
                </a:lnTo>
                <a:lnTo>
                  <a:pt x="1696368" y="597646"/>
                </a:lnTo>
                <a:lnTo>
                  <a:pt x="1695595" y="596365"/>
                </a:lnTo>
                <a:cubicBezTo>
                  <a:pt x="1700106" y="553750"/>
                  <a:pt x="1694691" y="535289"/>
                  <a:pt x="1684870" y="528837"/>
                </a:cubicBezTo>
                <a:close/>
                <a:moveTo>
                  <a:pt x="7627715" y="100399"/>
                </a:moveTo>
                <a:cubicBezTo>
                  <a:pt x="7645997" y="104145"/>
                  <a:pt x="7664258" y="109038"/>
                  <a:pt x="7682494" y="115461"/>
                </a:cubicBezTo>
                <a:cubicBezTo>
                  <a:pt x="7637777" y="121932"/>
                  <a:pt x="7591522" y="134141"/>
                  <a:pt x="7545267" y="146350"/>
                </a:cubicBezTo>
                <a:cubicBezTo>
                  <a:pt x="7543729" y="152088"/>
                  <a:pt x="7543729" y="152088"/>
                  <a:pt x="7547921" y="159362"/>
                </a:cubicBezTo>
                <a:cubicBezTo>
                  <a:pt x="7583834" y="162834"/>
                  <a:pt x="7627013" y="162103"/>
                  <a:pt x="7668655" y="167110"/>
                </a:cubicBezTo>
                <a:cubicBezTo>
                  <a:pt x="7667117" y="172849"/>
                  <a:pt x="7665580" y="178588"/>
                  <a:pt x="7669771" y="185861"/>
                </a:cubicBezTo>
                <a:cubicBezTo>
                  <a:pt x="7541349" y="206807"/>
                  <a:pt x="7405659" y="231956"/>
                  <a:pt x="7275700" y="258640"/>
                </a:cubicBezTo>
                <a:cubicBezTo>
                  <a:pt x="7285198" y="291939"/>
                  <a:pt x="7293582" y="306486"/>
                  <a:pt x="7296235" y="319499"/>
                </a:cubicBezTo>
                <a:cubicBezTo>
                  <a:pt x="7248442" y="337447"/>
                  <a:pt x="7212108" y="358465"/>
                  <a:pt x="7148245" y="390558"/>
                </a:cubicBezTo>
                <a:cubicBezTo>
                  <a:pt x="7142515" y="389023"/>
                  <a:pt x="7109678" y="374074"/>
                  <a:pt x="7105486" y="366799"/>
                </a:cubicBezTo>
                <a:cubicBezTo>
                  <a:pt x="7043160" y="393154"/>
                  <a:pt x="7005289" y="419911"/>
                  <a:pt x="6960572" y="426380"/>
                </a:cubicBezTo>
                <a:cubicBezTo>
                  <a:pt x="6917392" y="427113"/>
                  <a:pt x="6874634" y="403354"/>
                  <a:pt x="6828800" y="391072"/>
                </a:cubicBezTo>
                <a:cubicBezTo>
                  <a:pt x="6770665" y="424701"/>
                  <a:pt x="6705264" y="462533"/>
                  <a:pt x="6634133" y="498831"/>
                </a:cubicBezTo>
                <a:cubicBezTo>
                  <a:pt x="6638324" y="506104"/>
                  <a:pt x="6644054" y="507640"/>
                  <a:pt x="6648245" y="514913"/>
                </a:cubicBezTo>
                <a:cubicBezTo>
                  <a:pt x="6772054" y="511183"/>
                  <a:pt x="6892789" y="518932"/>
                  <a:pt x="7012407" y="507928"/>
                </a:cubicBezTo>
                <a:cubicBezTo>
                  <a:pt x="7132025" y="496924"/>
                  <a:pt x="7246335" y="459897"/>
                  <a:pt x="7365953" y="448893"/>
                </a:cubicBezTo>
                <a:cubicBezTo>
                  <a:pt x="7448120" y="440156"/>
                  <a:pt x="7529866" y="455909"/>
                  <a:pt x="7608959" y="458650"/>
                </a:cubicBezTo>
                <a:cubicBezTo>
                  <a:pt x="7706776" y="460257"/>
                  <a:pt x="7798864" y="460329"/>
                  <a:pt x="7890952" y="460401"/>
                </a:cubicBezTo>
                <a:cubicBezTo>
                  <a:pt x="7870120" y="583984"/>
                  <a:pt x="7791722" y="624484"/>
                  <a:pt x="7664143" y="596450"/>
                </a:cubicBezTo>
                <a:cubicBezTo>
                  <a:pt x="7646955" y="591845"/>
                  <a:pt x="7612853" y="650364"/>
                  <a:pt x="7593707" y="675988"/>
                </a:cubicBezTo>
                <a:cubicBezTo>
                  <a:pt x="7554445" y="616262"/>
                  <a:pt x="7502462" y="626936"/>
                  <a:pt x="7454669" y="644884"/>
                </a:cubicBezTo>
                <a:cubicBezTo>
                  <a:pt x="7427139" y="655959"/>
                  <a:pt x="7398072" y="672774"/>
                  <a:pt x="7366351" y="676575"/>
                </a:cubicBezTo>
                <a:cubicBezTo>
                  <a:pt x="7252462" y="689114"/>
                  <a:pt x="7140111" y="695914"/>
                  <a:pt x="7031951" y="709987"/>
                </a:cubicBezTo>
                <a:cubicBezTo>
                  <a:pt x="6898643" y="680418"/>
                  <a:pt x="6772874" y="714376"/>
                  <a:pt x="6648644" y="742595"/>
                </a:cubicBezTo>
                <a:cubicBezTo>
                  <a:pt x="6651297" y="755608"/>
                  <a:pt x="6652413" y="774359"/>
                  <a:pt x="6655066" y="787371"/>
                </a:cubicBezTo>
                <a:cubicBezTo>
                  <a:pt x="6781952" y="772165"/>
                  <a:pt x="6916104" y="752754"/>
                  <a:pt x="7048717" y="739082"/>
                </a:cubicBezTo>
                <a:cubicBezTo>
                  <a:pt x="7091897" y="738351"/>
                  <a:pt x="7137730" y="750632"/>
                  <a:pt x="7182447" y="744162"/>
                </a:cubicBezTo>
                <a:cubicBezTo>
                  <a:pt x="7322328" y="726286"/>
                  <a:pt x="7458017" y="701137"/>
                  <a:pt x="7593707" y="675988"/>
                </a:cubicBezTo>
                <a:cubicBezTo>
                  <a:pt x="7730512" y="669590"/>
                  <a:pt x="7873047" y="664727"/>
                  <a:pt x="8015581" y="659864"/>
                </a:cubicBezTo>
                <a:cubicBezTo>
                  <a:pt x="8014043" y="665603"/>
                  <a:pt x="8016697" y="678616"/>
                  <a:pt x="8015159" y="684354"/>
                </a:cubicBezTo>
                <a:cubicBezTo>
                  <a:pt x="7968904" y="696562"/>
                  <a:pt x="7929917" y="704569"/>
                  <a:pt x="7859208" y="716375"/>
                </a:cubicBezTo>
                <a:cubicBezTo>
                  <a:pt x="7897774" y="732859"/>
                  <a:pt x="7920691" y="739000"/>
                  <a:pt x="7943608" y="745140"/>
                </a:cubicBezTo>
                <a:cubicBezTo>
                  <a:pt x="7940532" y="756618"/>
                  <a:pt x="7944723" y="763892"/>
                  <a:pt x="7948915" y="771166"/>
                </a:cubicBezTo>
                <a:cubicBezTo>
                  <a:pt x="7776891" y="817333"/>
                  <a:pt x="7606405" y="857761"/>
                  <a:pt x="7434382" y="903928"/>
                </a:cubicBezTo>
                <a:cubicBezTo>
                  <a:pt x="7432844" y="909667"/>
                  <a:pt x="7437036" y="916941"/>
                  <a:pt x="7437036" y="916941"/>
                </a:cubicBezTo>
                <a:cubicBezTo>
                  <a:pt x="7506208" y="910872"/>
                  <a:pt x="7569650" y="903269"/>
                  <a:pt x="7651818" y="894532"/>
                </a:cubicBezTo>
                <a:cubicBezTo>
                  <a:pt x="7617716" y="953052"/>
                  <a:pt x="7593956" y="995891"/>
                  <a:pt x="7568658" y="1044470"/>
                </a:cubicBezTo>
                <a:cubicBezTo>
                  <a:pt x="7555117" y="911676"/>
                  <a:pt x="7476719" y="952176"/>
                  <a:pt x="7397204" y="973926"/>
                </a:cubicBezTo>
                <a:cubicBezTo>
                  <a:pt x="7123867" y="1054452"/>
                  <a:pt x="6852067" y="1129241"/>
                  <a:pt x="6580267" y="1204029"/>
                </a:cubicBezTo>
                <a:cubicBezTo>
                  <a:pt x="6573000" y="1208233"/>
                  <a:pt x="6561541" y="1205162"/>
                  <a:pt x="6554275" y="1209366"/>
                </a:cubicBezTo>
                <a:cubicBezTo>
                  <a:pt x="6441775" y="1308387"/>
                  <a:pt x="6293933" y="1287224"/>
                  <a:pt x="6155590" y="1299361"/>
                </a:cubicBezTo>
                <a:cubicBezTo>
                  <a:pt x="6142594" y="1302029"/>
                  <a:pt x="6132252" y="1317711"/>
                  <a:pt x="6117718" y="1326118"/>
                </a:cubicBezTo>
                <a:cubicBezTo>
                  <a:pt x="6066850" y="1355543"/>
                  <a:pt x="6008715" y="1389171"/>
                  <a:pt x="5957847" y="1418596"/>
                </a:cubicBezTo>
                <a:cubicBezTo>
                  <a:pt x="6003680" y="1430877"/>
                  <a:pt x="6059435" y="1451967"/>
                  <a:pt x="6136568" y="1484936"/>
                </a:cubicBezTo>
                <a:cubicBezTo>
                  <a:pt x="6097580" y="1492941"/>
                  <a:pt x="6078854" y="1494075"/>
                  <a:pt x="6060130" y="1495208"/>
                </a:cubicBezTo>
                <a:cubicBezTo>
                  <a:pt x="6062783" y="1508221"/>
                  <a:pt x="6059708" y="1519698"/>
                  <a:pt x="6056633" y="1531175"/>
                </a:cubicBezTo>
                <a:cubicBezTo>
                  <a:pt x="6162833" y="1547330"/>
                  <a:pt x="6271687" y="1576497"/>
                  <a:pt x="6376772" y="1573902"/>
                </a:cubicBezTo>
                <a:cubicBezTo>
                  <a:pt x="6530764" y="1572109"/>
                  <a:pt x="6677913" y="1550029"/>
                  <a:pt x="6823522" y="1533689"/>
                </a:cubicBezTo>
                <a:cubicBezTo>
                  <a:pt x="6849514" y="1528353"/>
                  <a:pt x="6873968" y="1528754"/>
                  <a:pt x="6891156" y="1533360"/>
                </a:cubicBezTo>
                <a:cubicBezTo>
                  <a:pt x="6997356" y="1549515"/>
                  <a:pt x="7048224" y="1520090"/>
                  <a:pt x="7069752" y="1439748"/>
                </a:cubicBezTo>
                <a:cubicBezTo>
                  <a:pt x="7071290" y="1434010"/>
                  <a:pt x="7054102" y="1429404"/>
                  <a:pt x="7026993" y="1415990"/>
                </a:cubicBezTo>
                <a:cubicBezTo>
                  <a:pt x="7060253" y="1406450"/>
                  <a:pt x="7083591" y="1388100"/>
                  <a:pt x="7106508" y="1394241"/>
                </a:cubicBezTo>
                <a:cubicBezTo>
                  <a:pt x="7504201" y="1445446"/>
                  <a:pt x="7898818" y="1508128"/>
                  <a:pt x="8290782" y="1557798"/>
                </a:cubicBezTo>
                <a:cubicBezTo>
                  <a:pt x="8415708" y="1572821"/>
                  <a:pt x="8545246" y="1570626"/>
                  <a:pt x="8673247" y="1574169"/>
                </a:cubicBezTo>
                <a:cubicBezTo>
                  <a:pt x="8784061" y="1573109"/>
                  <a:pt x="8806556" y="1603739"/>
                  <a:pt x="8789220" y="1691354"/>
                </a:cubicBezTo>
                <a:cubicBezTo>
                  <a:pt x="8734160" y="1713506"/>
                  <a:pt x="8676448" y="1722644"/>
                  <a:pt x="8655763" y="1754006"/>
                </a:cubicBezTo>
                <a:cubicBezTo>
                  <a:pt x="8633540" y="1791107"/>
                  <a:pt x="8648348" y="1850431"/>
                  <a:pt x="8641775" y="1897875"/>
                </a:cubicBezTo>
                <a:cubicBezTo>
                  <a:pt x="8651695" y="1906684"/>
                  <a:pt x="8663154" y="1909754"/>
                  <a:pt x="8678804" y="1920098"/>
                </a:cubicBezTo>
                <a:cubicBezTo>
                  <a:pt x="8638279" y="1933843"/>
                  <a:pt x="8599291" y="1941848"/>
                  <a:pt x="8557227" y="1961331"/>
                </a:cubicBezTo>
                <a:cubicBezTo>
                  <a:pt x="8710650" y="2076248"/>
                  <a:pt x="8888130" y="1963886"/>
                  <a:pt x="9077613" y="1990054"/>
                </a:cubicBezTo>
                <a:cubicBezTo>
                  <a:pt x="9021016" y="2017944"/>
                  <a:pt x="8986220" y="2033224"/>
                  <a:pt x="8957153" y="2050038"/>
                </a:cubicBezTo>
                <a:cubicBezTo>
                  <a:pt x="8967073" y="2058846"/>
                  <a:pt x="8988453" y="2070726"/>
                  <a:pt x="9014023" y="2089879"/>
                </a:cubicBezTo>
                <a:cubicBezTo>
                  <a:pt x="8984956" y="2106693"/>
                  <a:pt x="8961617" y="2125043"/>
                  <a:pt x="8944430" y="2120437"/>
                </a:cubicBezTo>
                <a:cubicBezTo>
                  <a:pt x="8856954" y="2103149"/>
                  <a:pt x="8784707" y="2120695"/>
                  <a:pt x="8734535" y="2193360"/>
                </a:cubicBezTo>
                <a:cubicBezTo>
                  <a:pt x="8727267" y="2197564"/>
                  <a:pt x="8712734" y="2205972"/>
                  <a:pt x="8712734" y="2205972"/>
                </a:cubicBezTo>
                <a:cubicBezTo>
                  <a:pt x="8613527" y="2117882"/>
                  <a:pt x="8550358" y="2193216"/>
                  <a:pt x="8478805" y="2254003"/>
                </a:cubicBezTo>
                <a:cubicBezTo>
                  <a:pt x="8448200" y="2276556"/>
                  <a:pt x="8380989" y="2252395"/>
                  <a:pt x="8320621" y="2248522"/>
                </a:cubicBezTo>
                <a:cubicBezTo>
                  <a:pt x="8317546" y="2259999"/>
                  <a:pt x="8308320" y="2294432"/>
                  <a:pt x="8288752" y="2344545"/>
                </a:cubicBezTo>
                <a:cubicBezTo>
                  <a:pt x="8283022" y="2343009"/>
                  <a:pt x="8258569" y="2342608"/>
                  <a:pt x="8222656" y="2339135"/>
                </a:cubicBezTo>
                <a:cubicBezTo>
                  <a:pt x="8258147" y="2367097"/>
                  <a:pt x="8283717" y="2386251"/>
                  <a:pt x="8320746" y="2408474"/>
                </a:cubicBezTo>
                <a:cubicBezTo>
                  <a:pt x="8255767" y="2421816"/>
                  <a:pt x="8203782" y="2432490"/>
                  <a:pt x="8138802" y="2445831"/>
                </a:cubicBezTo>
                <a:cubicBezTo>
                  <a:pt x="8151376" y="2467653"/>
                  <a:pt x="8163951" y="2489474"/>
                  <a:pt x="8168143" y="2496748"/>
                </a:cubicBezTo>
                <a:cubicBezTo>
                  <a:pt x="8485354" y="2458731"/>
                  <a:pt x="8789570" y="2423382"/>
                  <a:pt x="9099515" y="2389568"/>
                </a:cubicBezTo>
                <a:cubicBezTo>
                  <a:pt x="9102168" y="2402581"/>
                  <a:pt x="9104823" y="2415593"/>
                  <a:pt x="9107476" y="2428606"/>
                </a:cubicBezTo>
                <a:cubicBezTo>
                  <a:pt x="9066950" y="2442350"/>
                  <a:pt x="9027963" y="2450355"/>
                  <a:pt x="8974441" y="2466767"/>
                </a:cubicBezTo>
                <a:cubicBezTo>
                  <a:pt x="8995820" y="2478647"/>
                  <a:pt x="9007278" y="2481717"/>
                  <a:pt x="9038578" y="2502405"/>
                </a:cubicBezTo>
                <a:cubicBezTo>
                  <a:pt x="8976251" y="2528760"/>
                  <a:pt x="8919654" y="2556650"/>
                  <a:pt x="8857329" y="2583004"/>
                </a:cubicBezTo>
                <a:cubicBezTo>
                  <a:pt x="8865711" y="2597552"/>
                  <a:pt x="8881361" y="2607896"/>
                  <a:pt x="8899665" y="2631252"/>
                </a:cubicBezTo>
                <a:cubicBezTo>
                  <a:pt x="8812885" y="2657205"/>
                  <a:pt x="8724988" y="2664407"/>
                  <a:pt x="8658048" y="2707977"/>
                </a:cubicBezTo>
                <a:cubicBezTo>
                  <a:pt x="8499294" y="2819207"/>
                  <a:pt x="8322657" y="2882590"/>
                  <a:pt x="8155521" y="2979272"/>
                </a:cubicBezTo>
                <a:cubicBezTo>
                  <a:pt x="7981116" y="3080157"/>
                  <a:pt x="7780025" y="3143138"/>
                  <a:pt x="7609813" y="3251297"/>
                </a:cubicBezTo>
                <a:cubicBezTo>
                  <a:pt x="7468667" y="3342643"/>
                  <a:pt x="7300140" y="3352842"/>
                  <a:pt x="7149075" y="3435379"/>
                </a:cubicBezTo>
                <a:cubicBezTo>
                  <a:pt x="7056143" y="3484286"/>
                  <a:pt x="6930796" y="3493754"/>
                  <a:pt x="6812716" y="3499019"/>
                </a:cubicBezTo>
                <a:cubicBezTo>
                  <a:pt x="6497042" y="3531298"/>
                  <a:pt x="6184442" y="3552099"/>
                  <a:pt x="5871844" y="3572900"/>
                </a:cubicBezTo>
                <a:cubicBezTo>
                  <a:pt x="5716313" y="3580431"/>
                  <a:pt x="5564975" y="3595237"/>
                  <a:pt x="5414057" y="3585552"/>
                </a:cubicBezTo>
                <a:cubicBezTo>
                  <a:pt x="5359418" y="3583213"/>
                  <a:pt x="5312891" y="3527691"/>
                  <a:pt x="5284245" y="3520015"/>
                </a:cubicBezTo>
                <a:cubicBezTo>
                  <a:pt x="5247911" y="3541034"/>
                  <a:pt x="5218422" y="3582338"/>
                  <a:pt x="5180971" y="3584604"/>
                </a:cubicBezTo>
                <a:cubicBezTo>
                  <a:pt x="5070158" y="3585666"/>
                  <a:pt x="4958228" y="3567975"/>
                  <a:pt x="4845878" y="3574775"/>
                </a:cubicBezTo>
                <a:cubicBezTo>
                  <a:pt x="4686156" y="3575033"/>
                  <a:pt x="4518744" y="3603983"/>
                  <a:pt x="4360560" y="3598502"/>
                </a:cubicBezTo>
                <a:cubicBezTo>
                  <a:pt x="4159196" y="3593753"/>
                  <a:pt x="3953219" y="3606219"/>
                  <a:pt x="3757311" y="3535274"/>
                </a:cubicBezTo>
                <a:cubicBezTo>
                  <a:pt x="3728666" y="3527598"/>
                  <a:pt x="3683527" y="3558558"/>
                  <a:pt x="3648731" y="3573837"/>
                </a:cubicBezTo>
                <a:cubicBezTo>
                  <a:pt x="3638809" y="3565028"/>
                  <a:pt x="3616315" y="3534398"/>
                  <a:pt x="3586130" y="3532461"/>
                </a:cubicBezTo>
                <a:cubicBezTo>
                  <a:pt x="3408105" y="3509362"/>
                  <a:pt x="3224350" y="3484728"/>
                  <a:pt x="3045903" y="3486119"/>
                </a:cubicBezTo>
                <a:cubicBezTo>
                  <a:pt x="2604188" y="3484625"/>
                  <a:pt x="2181767" y="3365287"/>
                  <a:pt x="1762000" y="3258961"/>
                </a:cubicBezTo>
                <a:cubicBezTo>
                  <a:pt x="1727624" y="3249750"/>
                  <a:pt x="1685982" y="3244743"/>
                  <a:pt x="1634420" y="3230927"/>
                </a:cubicBezTo>
                <a:cubicBezTo>
                  <a:pt x="1658453" y="3255819"/>
                  <a:pt x="1674103" y="3266163"/>
                  <a:pt x="1684023" y="3274972"/>
                </a:cubicBezTo>
                <a:cubicBezTo>
                  <a:pt x="1579361" y="3253078"/>
                  <a:pt x="1480427" y="3232720"/>
                  <a:pt x="1381493" y="3212361"/>
                </a:cubicBezTo>
                <a:cubicBezTo>
                  <a:pt x="1381493" y="3212361"/>
                  <a:pt x="1379956" y="3218099"/>
                  <a:pt x="1378418" y="3223839"/>
                </a:cubicBezTo>
                <a:cubicBezTo>
                  <a:pt x="1428443" y="3243394"/>
                  <a:pt x="1478468" y="3262948"/>
                  <a:pt x="1524301" y="3275229"/>
                </a:cubicBezTo>
                <a:cubicBezTo>
                  <a:pt x="1522763" y="3280968"/>
                  <a:pt x="1521225" y="3286706"/>
                  <a:pt x="1519688" y="3292445"/>
                </a:cubicBezTo>
                <a:cubicBezTo>
                  <a:pt x="1422292" y="3266348"/>
                  <a:pt x="1324896" y="3240251"/>
                  <a:pt x="1227500" y="3214154"/>
                </a:cubicBezTo>
                <a:cubicBezTo>
                  <a:pt x="1042630" y="3170768"/>
                  <a:pt x="891438" y="3093353"/>
                  <a:pt x="758701" y="2947073"/>
                </a:cubicBezTo>
                <a:cubicBezTo>
                  <a:pt x="634344" y="2815340"/>
                  <a:pt x="454781" y="2797980"/>
                  <a:pt x="277450" y="2818122"/>
                </a:cubicBezTo>
                <a:cubicBezTo>
                  <a:pt x="238462" y="2826128"/>
                  <a:pt x="202550" y="2822656"/>
                  <a:pt x="159791" y="2798898"/>
                </a:cubicBezTo>
                <a:cubicBezTo>
                  <a:pt x="189975" y="2800834"/>
                  <a:pt x="215967" y="2795497"/>
                  <a:pt x="279409" y="2787894"/>
                </a:cubicBezTo>
                <a:cubicBezTo>
                  <a:pt x="217927" y="2765269"/>
                  <a:pt x="183551" y="2756059"/>
                  <a:pt x="122068" y="2733433"/>
                </a:cubicBezTo>
                <a:cubicBezTo>
                  <a:pt x="260833" y="2696807"/>
                  <a:pt x="365223" y="2650969"/>
                  <a:pt x="529136" y="2657986"/>
                </a:cubicBezTo>
                <a:cubicBezTo>
                  <a:pt x="507757" y="2646107"/>
                  <a:pt x="480649" y="2632692"/>
                  <a:pt x="460807" y="2615074"/>
                </a:cubicBezTo>
                <a:cubicBezTo>
                  <a:pt x="436775" y="2590182"/>
                  <a:pt x="412742" y="2565290"/>
                  <a:pt x="401705" y="2537731"/>
                </a:cubicBezTo>
                <a:cubicBezTo>
                  <a:pt x="386477" y="2502896"/>
                  <a:pt x="321645" y="2424018"/>
                  <a:pt x="291462" y="2422081"/>
                </a:cubicBezTo>
                <a:cubicBezTo>
                  <a:pt x="261278" y="2420144"/>
                  <a:pt x="229557" y="2423946"/>
                  <a:pt x="197836" y="2427748"/>
                </a:cubicBezTo>
                <a:cubicBezTo>
                  <a:pt x="167652" y="2425811"/>
                  <a:pt x="137469" y="2423874"/>
                  <a:pt x="94289" y="2424605"/>
                </a:cubicBezTo>
                <a:cubicBezTo>
                  <a:pt x="115817" y="2344264"/>
                  <a:pt x="120156" y="2259317"/>
                  <a:pt x="154259" y="2200796"/>
                </a:cubicBezTo>
                <a:cubicBezTo>
                  <a:pt x="191436" y="2130799"/>
                  <a:pt x="255721" y="2074215"/>
                  <a:pt x="310086" y="2008824"/>
                </a:cubicBezTo>
                <a:cubicBezTo>
                  <a:pt x="304356" y="2007288"/>
                  <a:pt x="280324" y="1982396"/>
                  <a:pt x="243295" y="1960173"/>
                </a:cubicBezTo>
                <a:cubicBezTo>
                  <a:pt x="263558" y="1953302"/>
                  <a:pt x="276555" y="1950633"/>
                  <a:pt x="296817" y="1943761"/>
                </a:cubicBezTo>
                <a:cubicBezTo>
                  <a:pt x="284243" y="1921940"/>
                  <a:pt x="270131" y="1905857"/>
                  <a:pt x="249172" y="1869487"/>
                </a:cubicBezTo>
                <a:cubicBezTo>
                  <a:pt x="296965" y="1851540"/>
                  <a:pt x="337491" y="1837796"/>
                  <a:pt x="383746" y="1825588"/>
                </a:cubicBezTo>
                <a:cubicBezTo>
                  <a:pt x="385284" y="1819849"/>
                  <a:pt x="400512" y="1854682"/>
                  <a:pt x="400512" y="1854682"/>
                </a:cubicBezTo>
                <a:cubicBezTo>
                  <a:pt x="448094" y="1848980"/>
                  <a:pt x="493859" y="1844328"/>
                  <a:pt x="534227" y="1839768"/>
                </a:cubicBezTo>
                <a:lnTo>
                  <a:pt x="589790" y="1831891"/>
                </a:lnTo>
                <a:lnTo>
                  <a:pt x="531755" y="1767118"/>
                </a:lnTo>
                <a:cubicBezTo>
                  <a:pt x="465635" y="1690523"/>
                  <a:pt x="467317" y="1612391"/>
                  <a:pt x="442176" y="1548449"/>
                </a:cubicBezTo>
                <a:cubicBezTo>
                  <a:pt x="268018" y="1494674"/>
                  <a:pt x="115933" y="1442097"/>
                  <a:pt x="22345" y="1272751"/>
                </a:cubicBezTo>
                <a:cubicBezTo>
                  <a:pt x="105143" y="1258991"/>
                  <a:pt x="176113" y="1247196"/>
                  <a:pt x="252204" y="1236983"/>
                </a:cubicBezTo>
                <a:cubicBezTo>
                  <a:pt x="248666" y="1230273"/>
                  <a:pt x="250249" y="1225144"/>
                  <a:pt x="246710" y="1218433"/>
                </a:cubicBezTo>
                <a:cubicBezTo>
                  <a:pt x="165125" y="1210096"/>
                  <a:pt x="80002" y="1195048"/>
                  <a:pt x="0" y="1181583"/>
                </a:cubicBezTo>
                <a:cubicBezTo>
                  <a:pt x="92967" y="935008"/>
                  <a:pt x="310997" y="901206"/>
                  <a:pt x="511706" y="850820"/>
                </a:cubicBezTo>
                <a:cubicBezTo>
                  <a:pt x="687082" y="805252"/>
                  <a:pt x="863167" y="763063"/>
                  <a:pt x="1039883" y="724229"/>
                </a:cubicBezTo>
                <a:lnTo>
                  <a:pt x="1502643" y="631615"/>
                </a:lnTo>
                <a:lnTo>
                  <a:pt x="1502193" y="630654"/>
                </a:lnTo>
                <a:cubicBezTo>
                  <a:pt x="1496885" y="604628"/>
                  <a:pt x="1530565" y="570598"/>
                  <a:pt x="1532525" y="540370"/>
                </a:cubicBezTo>
                <a:cubicBezTo>
                  <a:pt x="1530714" y="478378"/>
                  <a:pt x="1490759" y="375411"/>
                  <a:pt x="1514097" y="357061"/>
                </a:cubicBezTo>
                <a:cubicBezTo>
                  <a:pt x="1592916" y="292071"/>
                  <a:pt x="1693114" y="238960"/>
                  <a:pt x="1788278" y="227555"/>
                </a:cubicBezTo>
                <a:cubicBezTo>
                  <a:pt x="2072652" y="174588"/>
                  <a:pt x="2363872" y="141908"/>
                  <a:pt x="2653555" y="114965"/>
                </a:cubicBezTo>
                <a:cubicBezTo>
                  <a:pt x="2935970" y="92227"/>
                  <a:pt x="3225653" y="65285"/>
                  <a:pt x="3509183" y="61299"/>
                </a:cubicBezTo>
                <a:cubicBezTo>
                  <a:pt x="4253577" y="33182"/>
                  <a:pt x="5000625" y="18078"/>
                  <a:pt x="5741945" y="1439"/>
                </a:cubicBezTo>
                <a:cubicBezTo>
                  <a:pt x="5927659" y="-4155"/>
                  <a:pt x="6108760" y="7467"/>
                  <a:pt x="6295590" y="20624"/>
                </a:cubicBezTo>
                <a:cubicBezTo>
                  <a:pt x="6457966" y="33378"/>
                  <a:pt x="6621458" y="64885"/>
                  <a:pt x="6791101" y="73436"/>
                </a:cubicBezTo>
                <a:cubicBezTo>
                  <a:pt x="7013844" y="90065"/>
                  <a:pt x="7237008" y="82204"/>
                  <a:pt x="7462827" y="87356"/>
                </a:cubicBezTo>
                <a:cubicBezTo>
                  <a:pt x="7517849" y="88259"/>
                  <a:pt x="7572871" y="89164"/>
                  <a:pt x="7627715" y="100399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7117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oleObject" Target="../embeddings/oleObject2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5" Type="http://schemas.openxmlformats.org/officeDocument/2006/relationships/slideLayout" Target="../slideLayouts/slideLayout16.xml"/><Relationship Id="rId61" Type="http://schemas.openxmlformats.org/officeDocument/2006/relationships/vmlDrawing" Target="../drawings/vmlDrawing2.v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112.xml"/><Relationship Id="rId47" Type="http://schemas.openxmlformats.org/officeDocument/2006/relationships/slideLayout" Target="../slideLayouts/slideLayout117.xml"/><Relationship Id="rId63" Type="http://schemas.openxmlformats.org/officeDocument/2006/relationships/slideLayout" Target="../slideLayouts/slideLayout133.xml"/><Relationship Id="rId68" Type="http://schemas.openxmlformats.org/officeDocument/2006/relationships/slideLayout" Target="../slideLayouts/slideLayout138.xml"/><Relationship Id="rId84" Type="http://schemas.openxmlformats.org/officeDocument/2006/relationships/slideLayout" Target="../slideLayouts/slideLayout154.xml"/><Relationship Id="rId89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86.xml"/><Relationship Id="rId107" Type="http://schemas.openxmlformats.org/officeDocument/2006/relationships/tags" Target="../tags/tag5.xml"/><Relationship Id="rId11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07.xml"/><Relationship Id="rId53" Type="http://schemas.openxmlformats.org/officeDocument/2006/relationships/slideLayout" Target="../slideLayouts/slideLayout123.xml"/><Relationship Id="rId58" Type="http://schemas.openxmlformats.org/officeDocument/2006/relationships/slideLayout" Target="../slideLayouts/slideLayout128.xml"/><Relationship Id="rId74" Type="http://schemas.openxmlformats.org/officeDocument/2006/relationships/slideLayout" Target="../slideLayouts/slideLayout144.xml"/><Relationship Id="rId79" Type="http://schemas.openxmlformats.org/officeDocument/2006/relationships/slideLayout" Target="../slideLayouts/slideLayout149.xml"/><Relationship Id="rId102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75.xml"/><Relationship Id="rId90" Type="http://schemas.openxmlformats.org/officeDocument/2006/relationships/slideLayout" Target="../slideLayouts/slideLayout160.xml"/><Relationship Id="rId95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13.xml"/><Relationship Id="rId48" Type="http://schemas.openxmlformats.org/officeDocument/2006/relationships/slideLayout" Target="../slideLayouts/slideLayout118.xml"/><Relationship Id="rId64" Type="http://schemas.openxmlformats.org/officeDocument/2006/relationships/slideLayout" Target="../slideLayouts/slideLayout134.xml"/><Relationship Id="rId6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150.xml"/><Relationship Id="rId85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103.xml"/><Relationship Id="rId38" Type="http://schemas.openxmlformats.org/officeDocument/2006/relationships/slideLayout" Target="../slideLayouts/slideLayout108.xml"/><Relationship Id="rId59" Type="http://schemas.openxmlformats.org/officeDocument/2006/relationships/slideLayout" Target="../slideLayouts/slideLayout129.xml"/><Relationship Id="rId103" Type="http://schemas.openxmlformats.org/officeDocument/2006/relationships/slideLayout" Target="../slideLayouts/slideLayout173.xml"/><Relationship Id="rId108" Type="http://schemas.openxmlformats.org/officeDocument/2006/relationships/oleObject" Target="../embeddings/oleObject3.bin"/><Relationship Id="rId5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140.xml"/><Relationship Id="rId75" Type="http://schemas.openxmlformats.org/officeDocument/2006/relationships/slideLayout" Target="../slideLayouts/slideLayout145.xml"/><Relationship Id="rId91" Type="http://schemas.openxmlformats.org/officeDocument/2006/relationships/slideLayout" Target="../slideLayouts/slideLayout161.xml"/><Relationship Id="rId9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slideLayout" Target="../slideLayouts/slideLayout106.xml"/><Relationship Id="rId49" Type="http://schemas.openxmlformats.org/officeDocument/2006/relationships/slideLayout" Target="../slideLayouts/slideLayout119.xml"/><Relationship Id="rId57" Type="http://schemas.openxmlformats.org/officeDocument/2006/relationships/slideLayout" Target="../slideLayouts/slideLayout127.xml"/><Relationship Id="rId106" Type="http://schemas.openxmlformats.org/officeDocument/2006/relationships/vmlDrawing" Target="../drawings/vmlDrawing3.vml"/><Relationship Id="rId10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101.xml"/><Relationship Id="rId44" Type="http://schemas.openxmlformats.org/officeDocument/2006/relationships/slideLayout" Target="../slideLayouts/slideLayout114.xml"/><Relationship Id="rId52" Type="http://schemas.openxmlformats.org/officeDocument/2006/relationships/slideLayout" Target="../slideLayouts/slideLayout122.xml"/><Relationship Id="rId60" Type="http://schemas.openxmlformats.org/officeDocument/2006/relationships/slideLayout" Target="../slideLayouts/slideLayout130.xml"/><Relationship Id="rId65" Type="http://schemas.openxmlformats.org/officeDocument/2006/relationships/slideLayout" Target="../slideLayouts/slideLayout135.xml"/><Relationship Id="rId73" Type="http://schemas.openxmlformats.org/officeDocument/2006/relationships/slideLayout" Target="../slideLayouts/slideLayout143.xml"/><Relationship Id="rId78" Type="http://schemas.openxmlformats.org/officeDocument/2006/relationships/slideLayout" Target="../slideLayouts/slideLayout148.xml"/><Relationship Id="rId81" Type="http://schemas.openxmlformats.org/officeDocument/2006/relationships/slideLayout" Target="../slideLayouts/slideLayout151.xml"/><Relationship Id="rId86" Type="http://schemas.openxmlformats.org/officeDocument/2006/relationships/slideLayout" Target="../slideLayouts/slideLayout156.xml"/><Relationship Id="rId94" Type="http://schemas.openxmlformats.org/officeDocument/2006/relationships/slideLayout" Target="../slideLayouts/slideLayout164.xml"/><Relationship Id="rId99" Type="http://schemas.openxmlformats.org/officeDocument/2006/relationships/slideLayout" Target="../slideLayouts/slideLayout169.xml"/><Relationship Id="rId101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9.xml"/><Relationship Id="rId109" Type="http://schemas.openxmlformats.org/officeDocument/2006/relationships/image" Target="../media/image1.emf"/><Relationship Id="rId34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20.xml"/><Relationship Id="rId55" Type="http://schemas.openxmlformats.org/officeDocument/2006/relationships/slideLayout" Target="../slideLayouts/slideLayout125.xml"/><Relationship Id="rId76" Type="http://schemas.openxmlformats.org/officeDocument/2006/relationships/slideLayout" Target="../slideLayouts/slideLayout146.xml"/><Relationship Id="rId97" Type="http://schemas.openxmlformats.org/officeDocument/2006/relationships/slideLayout" Target="../slideLayouts/slideLayout167.xml"/><Relationship Id="rId104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77.xml"/><Relationship Id="rId71" Type="http://schemas.openxmlformats.org/officeDocument/2006/relationships/slideLayout" Target="../slideLayouts/slideLayout141.xml"/><Relationship Id="rId9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110.xml"/><Relationship Id="rId45" Type="http://schemas.openxmlformats.org/officeDocument/2006/relationships/slideLayout" Target="../slideLayouts/slideLayout115.xml"/><Relationship Id="rId66" Type="http://schemas.openxmlformats.org/officeDocument/2006/relationships/slideLayout" Target="../slideLayouts/slideLayout136.xml"/><Relationship Id="rId8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131.xml"/><Relationship Id="rId8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26.xml"/><Relationship Id="rId77" Type="http://schemas.openxmlformats.org/officeDocument/2006/relationships/slideLayout" Target="../slideLayouts/slideLayout147.xml"/><Relationship Id="rId100" Type="http://schemas.openxmlformats.org/officeDocument/2006/relationships/slideLayout" Target="../slideLayouts/slideLayout170.xml"/><Relationship Id="rId105" Type="http://schemas.openxmlformats.org/officeDocument/2006/relationships/theme" Target="../theme/theme3.xml"/><Relationship Id="rId8" Type="http://schemas.openxmlformats.org/officeDocument/2006/relationships/slideLayout" Target="../slideLayouts/slideLayout78.xml"/><Relationship Id="rId51" Type="http://schemas.openxmlformats.org/officeDocument/2006/relationships/slideLayout" Target="../slideLayouts/slideLayout121.xml"/><Relationship Id="rId72" Type="http://schemas.openxmlformats.org/officeDocument/2006/relationships/slideLayout" Target="../slideLayouts/slideLayout142.xml"/><Relationship Id="rId93" Type="http://schemas.openxmlformats.org/officeDocument/2006/relationships/slideLayout" Target="../slideLayouts/slideLayout163.xml"/><Relationship Id="rId9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16.xml"/><Relationship Id="rId6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11.xml"/><Relationship Id="rId62" Type="http://schemas.openxmlformats.org/officeDocument/2006/relationships/slideLayout" Target="../slideLayouts/slideLayout132.xml"/><Relationship Id="rId83" Type="http://schemas.openxmlformats.org/officeDocument/2006/relationships/slideLayout" Target="../slideLayouts/slideLayout153.xml"/><Relationship Id="rId88" Type="http://schemas.openxmlformats.org/officeDocument/2006/relationships/slideLayout" Target="../slideLayouts/slideLayout1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4800F-9829-409A-990B-EB2F018DF488}" type="datetimeFigureOut">
              <a:rPr lang="ru-RU" smtClean="0"/>
              <a:t>29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164AD9-72A7-4F30-B4CC-5B673DA786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56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Слайд think-cell" r:id="rId63" imgW="425" imgH="426" progId="TCLayout.ActiveDocument.1">
                  <p:embed/>
                </p:oleObj>
              </mc:Choice>
              <mc:Fallback>
                <p:oleObj name="Слайд think-cell" r:id="rId63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403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3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7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Слайд think-cell" r:id="rId108" imgW="425" imgH="426" progId="TCLayout.ActiveDocument.1">
                  <p:embed/>
                </p:oleObj>
              </mc:Choice>
              <mc:Fallback>
                <p:oleObj name="Слайд think-cell" r:id="rId108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81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  <p:sldLayoutId id="2147483772" r:id="rId40"/>
    <p:sldLayoutId id="2147483773" r:id="rId41"/>
    <p:sldLayoutId id="2147483774" r:id="rId42"/>
    <p:sldLayoutId id="2147483775" r:id="rId43"/>
    <p:sldLayoutId id="2147483776" r:id="rId44"/>
    <p:sldLayoutId id="2147483777" r:id="rId45"/>
    <p:sldLayoutId id="2147483778" r:id="rId46"/>
    <p:sldLayoutId id="2147483779" r:id="rId47"/>
    <p:sldLayoutId id="2147483780" r:id="rId48"/>
    <p:sldLayoutId id="2147483781" r:id="rId49"/>
    <p:sldLayoutId id="2147483782" r:id="rId50"/>
    <p:sldLayoutId id="2147483783" r:id="rId51"/>
    <p:sldLayoutId id="2147483784" r:id="rId52"/>
    <p:sldLayoutId id="2147483785" r:id="rId53"/>
    <p:sldLayoutId id="2147483786" r:id="rId54"/>
    <p:sldLayoutId id="2147483787" r:id="rId55"/>
    <p:sldLayoutId id="2147483788" r:id="rId56"/>
    <p:sldLayoutId id="2147483789" r:id="rId57"/>
    <p:sldLayoutId id="2147483790" r:id="rId58"/>
    <p:sldLayoutId id="2147483791" r:id="rId59"/>
    <p:sldLayoutId id="2147483792" r:id="rId60"/>
    <p:sldLayoutId id="2147483793" r:id="rId61"/>
    <p:sldLayoutId id="2147483794" r:id="rId62"/>
    <p:sldLayoutId id="2147483795" r:id="rId63"/>
    <p:sldLayoutId id="2147483796" r:id="rId64"/>
    <p:sldLayoutId id="2147483797" r:id="rId65"/>
    <p:sldLayoutId id="2147483798" r:id="rId66"/>
    <p:sldLayoutId id="2147483799" r:id="rId67"/>
    <p:sldLayoutId id="2147483800" r:id="rId68"/>
    <p:sldLayoutId id="2147483801" r:id="rId69"/>
    <p:sldLayoutId id="2147483802" r:id="rId70"/>
    <p:sldLayoutId id="2147483803" r:id="rId71"/>
    <p:sldLayoutId id="2147483804" r:id="rId72"/>
    <p:sldLayoutId id="2147483805" r:id="rId73"/>
    <p:sldLayoutId id="2147483806" r:id="rId74"/>
    <p:sldLayoutId id="2147483807" r:id="rId75"/>
    <p:sldLayoutId id="2147483808" r:id="rId76"/>
    <p:sldLayoutId id="2147483809" r:id="rId77"/>
    <p:sldLayoutId id="2147483810" r:id="rId78"/>
    <p:sldLayoutId id="2147483811" r:id="rId79"/>
    <p:sldLayoutId id="2147483812" r:id="rId80"/>
    <p:sldLayoutId id="2147483813" r:id="rId81"/>
    <p:sldLayoutId id="2147483814" r:id="rId82"/>
    <p:sldLayoutId id="2147483815" r:id="rId83"/>
    <p:sldLayoutId id="2147483816" r:id="rId84"/>
    <p:sldLayoutId id="2147483817" r:id="rId85"/>
    <p:sldLayoutId id="2147483818" r:id="rId86"/>
    <p:sldLayoutId id="2147483819" r:id="rId87"/>
    <p:sldLayoutId id="2147483820" r:id="rId88"/>
    <p:sldLayoutId id="2147483821" r:id="rId89"/>
    <p:sldLayoutId id="2147483822" r:id="rId90"/>
    <p:sldLayoutId id="2147483823" r:id="rId91"/>
    <p:sldLayoutId id="2147483824" r:id="rId92"/>
    <p:sldLayoutId id="2147483825" r:id="rId93"/>
    <p:sldLayoutId id="2147483826" r:id="rId94"/>
    <p:sldLayoutId id="2147483827" r:id="rId95"/>
    <p:sldLayoutId id="2147483828" r:id="rId96"/>
    <p:sldLayoutId id="2147483829" r:id="rId97"/>
    <p:sldLayoutId id="2147483830" r:id="rId98"/>
    <p:sldLayoutId id="2147483831" r:id="rId99"/>
    <p:sldLayoutId id="2147483832" r:id="rId100"/>
    <p:sldLayoutId id="2147483833" r:id="rId101"/>
    <p:sldLayoutId id="2147483834" r:id="rId102"/>
    <p:sldLayoutId id="2147483835" r:id="rId103"/>
    <p:sldLayoutId id="2147483836" r:id="rId10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66.xml"/><Relationship Id="rId4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image" Target="../media/image1.emf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chart" Target="../charts/chart9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chart" Target="../charts/chart8.xml"/><Relationship Id="rId10" Type="http://schemas.openxmlformats.org/officeDocument/2006/relationships/tags" Target="../tags/tag35.xml"/><Relationship Id="rId19" Type="http://schemas.openxmlformats.org/officeDocument/2006/relationships/slideLayout" Target="../slideLayouts/slideLayout66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66.xml"/><Relationship Id="rId11" Type="http://schemas.openxmlformats.org/officeDocument/2006/relationships/chart" Target="../charts/chart11.xml"/><Relationship Id="rId5" Type="http://schemas.openxmlformats.org/officeDocument/2006/relationships/tags" Target="../tags/tag47.xml"/><Relationship Id="rId10" Type="http://schemas.openxmlformats.org/officeDocument/2006/relationships/chart" Target="../charts/chart10.xml"/><Relationship Id="rId4" Type="http://schemas.openxmlformats.org/officeDocument/2006/relationships/tags" Target="../tags/tag46.xml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chart" Target="../charts/chart1.xml"/><Relationship Id="rId3" Type="http://schemas.openxmlformats.org/officeDocument/2006/relationships/tags" Target="../tags/tag9.xml"/><Relationship Id="rId21" Type="http://schemas.openxmlformats.org/officeDocument/2006/relationships/chart" Target="../charts/chart4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1.emf"/><Relationship Id="rId2" Type="http://schemas.openxmlformats.org/officeDocument/2006/relationships/tags" Target="../tags/tag8.xml"/><Relationship Id="rId16" Type="http://schemas.openxmlformats.org/officeDocument/2006/relationships/oleObject" Target="../embeddings/oleObject6.bin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66.xml"/><Relationship Id="rId10" Type="http://schemas.openxmlformats.org/officeDocument/2006/relationships/tags" Target="../tags/tag16.xml"/><Relationship Id="rId19" Type="http://schemas.openxmlformats.org/officeDocument/2006/relationships/chart" Target="../charts/chart2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4239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Рисунок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010144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-1" y="0"/>
            <a:ext cx="12535073" cy="8606931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0" y="-543504"/>
            <a:ext cx="12192000" cy="45719"/>
            <a:chOff x="0" y="455955"/>
            <a:chExt cx="12192000" cy="45719"/>
          </a:xfrm>
        </p:grpSpPr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20F714E2-700D-4035-979E-A04B36A85CE0}"/>
                </a:ext>
              </a:extLst>
            </p:cNvPr>
            <p:cNvSpPr/>
            <p:nvPr/>
          </p:nvSpPr>
          <p:spPr>
            <a:xfrm>
              <a:off x="0" y="455955"/>
              <a:ext cx="1767840" cy="4571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20F714E2-700D-4035-979E-A04B36A85CE0}"/>
                </a:ext>
              </a:extLst>
            </p:cNvPr>
            <p:cNvSpPr/>
            <p:nvPr/>
          </p:nvSpPr>
          <p:spPr>
            <a:xfrm>
              <a:off x="1767840" y="455955"/>
              <a:ext cx="10424160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74006C0-FF18-4228-9423-62746AAA73FA}"/>
              </a:ext>
            </a:extLst>
          </p:cNvPr>
          <p:cNvSpPr txBox="1"/>
          <p:nvPr/>
        </p:nvSpPr>
        <p:spPr>
          <a:xfrm>
            <a:off x="1310111" y="444922"/>
            <a:ext cx="991484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Министерство науки и высшего образования Российской Федерации</a:t>
            </a:r>
          </a:p>
          <a:p>
            <a:pPr algn="ctr"/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Федеральное государственное бюджетное образовательное учреждение высшего образования</a:t>
            </a:r>
          </a:p>
          <a:p>
            <a:pPr algn="ctr"/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«Российский экономический университет имени Г.В. Плеханова»</a:t>
            </a:r>
          </a:p>
          <a:p>
            <a:pPr algn="ctr"/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­­­­­­­­­­­Факультет бизнеса «КАПИТАНЫ»</a:t>
            </a:r>
          </a:p>
          <a:p>
            <a:pPr algn="ctr"/>
            <a:r>
              <a:rPr lang="ru-RU" sz="1200" dirty="0">
                <a:solidFill>
                  <a:schemeClr val="bg1">
                    <a:lumMod val="65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Базовая кафедра благотворительного фонда поддержки образовательных программ «КАПИТАНЫ» «Инновационный менеджмент и социальное предпринимательство» 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617028" y="4854508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Выполнил: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rgbClr val="E81D30"/>
                </a:solidFill>
              </a:rPr>
              <a:t>Щекочихин И.А</a:t>
            </a:r>
            <a:endParaRPr lang="ru-RU" dirty="0">
              <a:solidFill>
                <a:srgbClr val="E81D30"/>
              </a:solidFill>
            </a:endParaRPr>
          </a:p>
          <a:p>
            <a:pPr algn="r"/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студент 4 курса </a:t>
            </a:r>
          </a:p>
          <a:p>
            <a:pPr algn="r"/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группы 02/2016-ГиМУ</a:t>
            </a:r>
          </a:p>
          <a:p>
            <a:pPr algn="r"/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очной формы обучения</a:t>
            </a:r>
          </a:p>
          <a:p>
            <a:pPr algn="r"/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Факультета бизнеса «КАПИТАНЫ»</a:t>
            </a:r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pPr algn="r"/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Научный руководитель:</a:t>
            </a:r>
          </a:p>
          <a:p>
            <a:pPr algn="r"/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к.э.н</a:t>
            </a:r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., </a:t>
            </a:r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доцент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rgbClr val="E81D30"/>
                </a:solidFill>
              </a:rPr>
              <a:t>Захарова Т. И. </a:t>
            </a:r>
            <a:endParaRPr lang="ru-RU" dirty="0">
              <a:solidFill>
                <a:srgbClr val="E81D3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340068" y="3105835"/>
            <a:ext cx="75118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latin typeface="Tw Cen MT" panose="020B0602020104020603" pitchFamily="34" charset="0"/>
              </a:rPr>
              <a:t>Оценка эффективности </a:t>
            </a:r>
            <a:r>
              <a:rPr lang="ru-RU" sz="3600" b="1" dirty="0">
                <a:solidFill>
                  <a:srgbClr val="E81D30"/>
                </a:solidFill>
                <a:latin typeface="Tw Cen MT" panose="020B0602020104020603" pitchFamily="34" charset="0"/>
              </a:rPr>
              <a:t>сделок </a:t>
            </a:r>
            <a:r>
              <a:rPr lang="en-US" sz="3600" b="1" dirty="0">
                <a:solidFill>
                  <a:srgbClr val="E81D30"/>
                </a:solidFill>
                <a:latin typeface="Tw Cen MT" panose="020B0602020104020603" pitchFamily="34" charset="0"/>
              </a:rPr>
              <a:t>M&amp;A</a:t>
            </a:r>
          </a:p>
        </p:txBody>
      </p:sp>
    </p:spTree>
    <p:extLst>
      <p:ext uri="{BB962C8B-B14F-4D97-AF65-F5344CB8AC3E}">
        <p14:creationId xmlns:p14="http://schemas.microsoft.com/office/powerpoint/2010/main" val="856849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E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6176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Слайд think-cell" r:id="rId6" imgW="425" imgH="426" progId="TCLayout.ActiveDocument.1">
                  <p:embed/>
                </p:oleObj>
              </mc:Choice>
              <mc:Fallback>
                <p:oleObj name="Слайд think-cell" r:id="rId6" imgW="425" imgH="426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5712573" y="3429000"/>
            <a:ext cx="836023" cy="594360"/>
          </a:xfrm>
          <a:prstGeom prst="rect">
            <a:avLst/>
          </a:prstGeom>
          <a:solidFill>
            <a:srgbClr val="E81D30"/>
          </a:solidFill>
          <a:ln>
            <a:solidFill>
              <a:srgbClr val="E81D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10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51290865"/>
              </p:ext>
            </p:extLst>
          </p:nvPr>
        </p:nvGraphicFramePr>
        <p:xfrm>
          <a:off x="4200525" y="1851025"/>
          <a:ext cx="3792538" cy="3792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1" name="TextBox 11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035729" y="4270375"/>
            <a:ext cx="2120541" cy="400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3F3F3"/>
                </a:solidFill>
                <a:latin typeface="Agency FB" panose="020B0503020202020204" pitchFamily="34" charset="0"/>
              </a:rPr>
              <a:t>BIG </a:t>
            </a:r>
            <a:r>
              <a:rPr lang="en-US" sz="2000" b="1" dirty="0" smtClean="0">
                <a:solidFill>
                  <a:srgbClr val="F3F3F3"/>
                </a:solidFill>
                <a:latin typeface="Agency FB" panose="020B0503020202020204" pitchFamily="34" charset="0"/>
              </a:rPr>
              <a:t>FARMA</a:t>
            </a:r>
            <a:endParaRPr lang="ru-RU" sz="2000" b="1" dirty="0">
              <a:solidFill>
                <a:srgbClr val="F3F3F3"/>
              </a:solidFill>
              <a:latin typeface="Agency FB" panose="020B0503020202020204" pitchFamily="34" charset="0"/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1219200" y="2092325"/>
            <a:ext cx="4313148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2967479" y="2687638"/>
            <a:ext cx="2100504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1702676" y="3940560"/>
            <a:ext cx="2788199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7611632" y="3678238"/>
            <a:ext cx="3761861" cy="0"/>
          </a:xfrm>
          <a:prstGeom prst="straightConnector1">
            <a:avLst/>
          </a:prstGeom>
          <a:ln w="9525">
            <a:solidFill>
              <a:srgbClr val="E81D3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70491" y="2085975"/>
            <a:ext cx="1629285" cy="64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3600" b="1" dirty="0" smtClean="0">
                <a:solidFill>
                  <a:srgbClr val="F3F3F3"/>
                </a:solidFill>
                <a:latin typeface="Agency FB" panose="020B0503020202020204" pitchFamily="34" charset="0"/>
              </a:rPr>
              <a:t>6%</a:t>
            </a:r>
            <a:endParaRPr lang="en-US" sz="3600" b="1" dirty="0">
              <a:solidFill>
                <a:srgbClr val="F3F3F3"/>
              </a:solidFill>
              <a:latin typeface="Agency FB" panose="020B0503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483344" y="2636838"/>
            <a:ext cx="1629285" cy="708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40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8%</a:t>
            </a:r>
            <a:endParaRPr lang="en-US" sz="40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391942" y="3850073"/>
            <a:ext cx="1629285" cy="1016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60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14%</a:t>
            </a:r>
            <a:endParaRPr lang="en-US" sz="60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cxnSp>
        <p:nvCxnSpPr>
          <p:cNvPr id="62" name="Прямая со стрелкой 61"/>
          <p:cNvCxnSpPr/>
          <p:nvPr/>
        </p:nvCxnSpPr>
        <p:spPr>
          <a:xfrm>
            <a:off x="879350" y="1148791"/>
            <a:ext cx="8649230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reeform 74"/>
          <p:cNvSpPr>
            <a:spLocks noEditPoints="1"/>
          </p:cNvSpPr>
          <p:nvPr/>
        </p:nvSpPr>
        <p:spPr bwMode="auto">
          <a:xfrm>
            <a:off x="5431929" y="3009900"/>
            <a:ext cx="1328142" cy="1185863"/>
          </a:xfrm>
          <a:custGeom>
            <a:avLst/>
            <a:gdLst/>
            <a:ahLst/>
            <a:cxnLst>
              <a:cxn ang="0">
                <a:pos x="176" y="29"/>
              </a:cxn>
              <a:cxn ang="0">
                <a:pos x="120" y="29"/>
              </a:cxn>
              <a:cxn ang="0">
                <a:pos x="120" y="0"/>
              </a:cxn>
              <a:cxn ang="0">
                <a:pos x="114" y="0"/>
              </a:cxn>
              <a:cxn ang="0">
                <a:pos x="110" y="0"/>
              </a:cxn>
              <a:cxn ang="0">
                <a:pos x="81" y="0"/>
              </a:cxn>
              <a:cxn ang="0">
                <a:pos x="71" y="0"/>
              </a:cxn>
              <a:cxn ang="0">
                <a:pos x="71" y="10"/>
              </a:cxn>
              <a:cxn ang="0">
                <a:pos x="71" y="29"/>
              </a:cxn>
              <a:cxn ang="0">
                <a:pos x="15" y="29"/>
              </a:cxn>
              <a:cxn ang="0">
                <a:pos x="0" y="44"/>
              </a:cxn>
              <a:cxn ang="0">
                <a:pos x="0" y="156"/>
              </a:cxn>
              <a:cxn ang="0">
                <a:pos x="15" y="171"/>
              </a:cxn>
              <a:cxn ang="0">
                <a:pos x="176" y="171"/>
              </a:cxn>
              <a:cxn ang="0">
                <a:pos x="192" y="156"/>
              </a:cxn>
              <a:cxn ang="0">
                <a:pos x="192" y="44"/>
              </a:cxn>
              <a:cxn ang="0">
                <a:pos x="176" y="29"/>
              </a:cxn>
              <a:cxn ang="0">
                <a:pos x="81" y="10"/>
              </a:cxn>
              <a:cxn ang="0">
                <a:pos x="110" y="10"/>
              </a:cxn>
              <a:cxn ang="0">
                <a:pos x="110" y="29"/>
              </a:cxn>
              <a:cxn ang="0">
                <a:pos x="81" y="29"/>
              </a:cxn>
              <a:cxn ang="0">
                <a:pos x="81" y="10"/>
              </a:cxn>
              <a:cxn ang="0">
                <a:pos x="134" y="107"/>
              </a:cxn>
              <a:cxn ang="0">
                <a:pos x="127" y="115"/>
              </a:cxn>
              <a:cxn ang="0">
                <a:pos x="111" y="115"/>
              </a:cxn>
              <a:cxn ang="0">
                <a:pos x="111" y="130"/>
              </a:cxn>
              <a:cxn ang="0">
                <a:pos x="103" y="138"/>
              </a:cxn>
              <a:cxn ang="0">
                <a:pos x="88" y="138"/>
              </a:cxn>
              <a:cxn ang="0">
                <a:pos x="80" y="130"/>
              </a:cxn>
              <a:cxn ang="0">
                <a:pos x="80" y="115"/>
              </a:cxn>
              <a:cxn ang="0">
                <a:pos x="65" y="115"/>
              </a:cxn>
              <a:cxn ang="0">
                <a:pos x="57" y="107"/>
              </a:cxn>
              <a:cxn ang="0">
                <a:pos x="57" y="92"/>
              </a:cxn>
              <a:cxn ang="0">
                <a:pos x="65" y="84"/>
              </a:cxn>
              <a:cxn ang="0">
                <a:pos x="80" y="84"/>
              </a:cxn>
              <a:cxn ang="0">
                <a:pos x="80" y="68"/>
              </a:cxn>
              <a:cxn ang="0">
                <a:pos x="88" y="61"/>
              </a:cxn>
              <a:cxn ang="0">
                <a:pos x="103" y="61"/>
              </a:cxn>
              <a:cxn ang="0">
                <a:pos x="111" y="68"/>
              </a:cxn>
              <a:cxn ang="0">
                <a:pos x="111" y="84"/>
              </a:cxn>
              <a:cxn ang="0">
                <a:pos x="127" y="84"/>
              </a:cxn>
              <a:cxn ang="0">
                <a:pos x="134" y="92"/>
              </a:cxn>
              <a:cxn ang="0">
                <a:pos x="134" y="107"/>
              </a:cxn>
            </a:cxnLst>
            <a:rect l="0" t="0" r="r" b="b"/>
            <a:pathLst>
              <a:path w="192" h="171">
                <a:moveTo>
                  <a:pt x="176" y="29"/>
                </a:moveTo>
                <a:cubicBezTo>
                  <a:pt x="120" y="29"/>
                  <a:pt x="120" y="29"/>
                  <a:pt x="120" y="29"/>
                </a:cubicBezTo>
                <a:cubicBezTo>
                  <a:pt x="120" y="0"/>
                  <a:pt x="120" y="0"/>
                  <a:pt x="120" y="0"/>
                </a:cubicBezTo>
                <a:cubicBezTo>
                  <a:pt x="114" y="0"/>
                  <a:pt x="114" y="0"/>
                  <a:pt x="114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10"/>
                  <a:pt x="71" y="10"/>
                  <a:pt x="71" y="10"/>
                </a:cubicBezTo>
                <a:cubicBezTo>
                  <a:pt x="71" y="29"/>
                  <a:pt x="71" y="29"/>
                  <a:pt x="71" y="29"/>
                </a:cubicBezTo>
                <a:cubicBezTo>
                  <a:pt x="15" y="29"/>
                  <a:pt x="15" y="29"/>
                  <a:pt x="15" y="29"/>
                </a:cubicBezTo>
                <a:cubicBezTo>
                  <a:pt x="7" y="29"/>
                  <a:pt x="0" y="36"/>
                  <a:pt x="0" y="44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64"/>
                  <a:pt x="7" y="171"/>
                  <a:pt x="15" y="171"/>
                </a:cubicBezTo>
                <a:cubicBezTo>
                  <a:pt x="176" y="171"/>
                  <a:pt x="176" y="171"/>
                  <a:pt x="176" y="171"/>
                </a:cubicBezTo>
                <a:cubicBezTo>
                  <a:pt x="185" y="171"/>
                  <a:pt x="192" y="164"/>
                  <a:pt x="192" y="156"/>
                </a:cubicBezTo>
                <a:cubicBezTo>
                  <a:pt x="192" y="44"/>
                  <a:pt x="192" y="44"/>
                  <a:pt x="192" y="44"/>
                </a:cubicBezTo>
                <a:cubicBezTo>
                  <a:pt x="192" y="36"/>
                  <a:pt x="185" y="29"/>
                  <a:pt x="176" y="29"/>
                </a:cubicBezTo>
                <a:moveTo>
                  <a:pt x="81" y="10"/>
                </a:moveTo>
                <a:cubicBezTo>
                  <a:pt x="110" y="10"/>
                  <a:pt x="110" y="10"/>
                  <a:pt x="110" y="10"/>
                </a:cubicBezTo>
                <a:cubicBezTo>
                  <a:pt x="110" y="29"/>
                  <a:pt x="110" y="29"/>
                  <a:pt x="110" y="29"/>
                </a:cubicBezTo>
                <a:cubicBezTo>
                  <a:pt x="81" y="29"/>
                  <a:pt x="81" y="29"/>
                  <a:pt x="81" y="29"/>
                </a:cubicBezTo>
                <a:lnTo>
                  <a:pt x="81" y="10"/>
                </a:lnTo>
                <a:close/>
                <a:moveTo>
                  <a:pt x="134" y="107"/>
                </a:moveTo>
                <a:cubicBezTo>
                  <a:pt x="134" y="111"/>
                  <a:pt x="131" y="115"/>
                  <a:pt x="127" y="115"/>
                </a:cubicBezTo>
                <a:cubicBezTo>
                  <a:pt x="111" y="115"/>
                  <a:pt x="111" y="115"/>
                  <a:pt x="111" y="115"/>
                </a:cubicBezTo>
                <a:cubicBezTo>
                  <a:pt x="111" y="130"/>
                  <a:pt x="111" y="130"/>
                  <a:pt x="111" y="130"/>
                </a:cubicBezTo>
                <a:cubicBezTo>
                  <a:pt x="111" y="135"/>
                  <a:pt x="108" y="138"/>
                  <a:pt x="103" y="138"/>
                </a:cubicBezTo>
                <a:cubicBezTo>
                  <a:pt x="88" y="138"/>
                  <a:pt x="88" y="138"/>
                  <a:pt x="88" y="138"/>
                </a:cubicBezTo>
                <a:cubicBezTo>
                  <a:pt x="84" y="138"/>
                  <a:pt x="80" y="135"/>
                  <a:pt x="80" y="130"/>
                </a:cubicBezTo>
                <a:cubicBezTo>
                  <a:pt x="80" y="115"/>
                  <a:pt x="80" y="115"/>
                  <a:pt x="80" y="115"/>
                </a:cubicBezTo>
                <a:cubicBezTo>
                  <a:pt x="65" y="115"/>
                  <a:pt x="65" y="115"/>
                  <a:pt x="65" y="115"/>
                </a:cubicBezTo>
                <a:cubicBezTo>
                  <a:pt x="60" y="115"/>
                  <a:pt x="57" y="111"/>
                  <a:pt x="57" y="107"/>
                </a:cubicBezTo>
                <a:cubicBezTo>
                  <a:pt x="57" y="92"/>
                  <a:pt x="57" y="92"/>
                  <a:pt x="57" y="92"/>
                </a:cubicBezTo>
                <a:cubicBezTo>
                  <a:pt x="57" y="88"/>
                  <a:pt x="60" y="84"/>
                  <a:pt x="65" y="84"/>
                </a:cubicBezTo>
                <a:cubicBezTo>
                  <a:pt x="80" y="84"/>
                  <a:pt x="80" y="84"/>
                  <a:pt x="80" y="84"/>
                </a:cubicBezTo>
                <a:cubicBezTo>
                  <a:pt x="80" y="68"/>
                  <a:pt x="80" y="68"/>
                  <a:pt x="80" y="68"/>
                </a:cubicBezTo>
                <a:cubicBezTo>
                  <a:pt x="80" y="64"/>
                  <a:pt x="84" y="61"/>
                  <a:pt x="88" y="61"/>
                </a:cubicBezTo>
                <a:cubicBezTo>
                  <a:pt x="103" y="61"/>
                  <a:pt x="103" y="61"/>
                  <a:pt x="103" y="61"/>
                </a:cubicBezTo>
                <a:cubicBezTo>
                  <a:pt x="108" y="61"/>
                  <a:pt x="111" y="64"/>
                  <a:pt x="111" y="68"/>
                </a:cubicBezTo>
                <a:cubicBezTo>
                  <a:pt x="111" y="84"/>
                  <a:pt x="111" y="84"/>
                  <a:pt x="111" y="84"/>
                </a:cubicBezTo>
                <a:cubicBezTo>
                  <a:pt x="127" y="84"/>
                  <a:pt x="127" y="84"/>
                  <a:pt x="127" y="84"/>
                </a:cubicBezTo>
                <a:cubicBezTo>
                  <a:pt x="131" y="84"/>
                  <a:pt x="134" y="88"/>
                  <a:pt x="134" y="92"/>
                </a:cubicBezTo>
                <a:lnTo>
                  <a:pt x="134" y="107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1138033" y="1778198"/>
            <a:ext cx="2404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Tw Cen MT" panose="020B0602020104020603" pitchFamily="34" charset="0"/>
              </a:rPr>
              <a:t>Монополизация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2906404" y="2413198"/>
            <a:ext cx="2404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Tw Cen MT" panose="020B0602020104020603" pitchFamily="34" charset="0"/>
              </a:rPr>
              <a:t>Поглощение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1612592" y="3603806"/>
            <a:ext cx="36078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Tw Cen MT" panose="020B0602020104020603" pitchFamily="34" charset="0"/>
              </a:rPr>
              <a:t>Географическое присутствие</a:t>
            </a: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2600033" y="5222081"/>
            <a:ext cx="2580950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340322" y="5090319"/>
            <a:ext cx="1950106" cy="1447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88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31%</a:t>
            </a:r>
            <a:endParaRPr lang="en-US" sz="8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2538904" y="4882554"/>
            <a:ext cx="36078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Tw Cen MT" panose="020B0602020104020603" pitchFamily="34" charset="0"/>
              </a:rPr>
              <a:t>Диверсификация</a:t>
            </a: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8982890" y="3569383"/>
            <a:ext cx="2687254" cy="1861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15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41%</a:t>
            </a:r>
            <a:endParaRPr lang="en-US" sz="11500" b="1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7856365" y="3383160"/>
            <a:ext cx="36078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w Cen MT" panose="020B0602020104020603" pitchFamily="34" charset="0"/>
              </a:rPr>
              <a:t>ИННОВАЦИИ</a:t>
            </a:r>
            <a:endParaRPr lang="ru-RU" sz="1400" b="1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93890" y="800619"/>
            <a:ext cx="6362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ource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: </a:t>
            </a:r>
            <a:r>
              <a:rPr lang="en-US" sz="16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Global Pharma &amp; Biotech 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«M&amp;A </a:t>
            </a:r>
            <a:r>
              <a:rPr lang="en-US" sz="16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Report 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13» </a:t>
            </a: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  <a:p>
            <a:pPr algn="ctr" defTabSz="914377">
              <a:defRPr/>
            </a:pP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793890" y="528743"/>
            <a:ext cx="33625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E81D30"/>
                </a:solidFill>
                <a:latin typeface="Agency FB" panose="020B0503020202020204" pitchFamily="34" charset="0"/>
              </a:rPr>
              <a:t>Motives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For M&amp;A </a:t>
            </a:r>
            <a:r>
              <a:rPr lang="en-US" sz="1600" b="1" dirty="0">
                <a:solidFill>
                  <a:srgbClr val="E81D30"/>
                </a:solidFill>
                <a:latin typeface="Agency FB" panose="020B0503020202020204" pitchFamily="34" charset="0"/>
              </a:rPr>
              <a:t>T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ransactions</a:t>
            </a:r>
            <a:endParaRPr lang="en-US" sz="1600" b="1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8990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E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124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Слайд think-cell" r:id="rId20" imgW="425" imgH="426" progId="TCLayout.ActiveDocument.1">
                  <p:embed/>
                </p:oleObj>
              </mc:Choice>
              <mc:Fallback>
                <p:oleObj name="Слайд think-cell" r:id="rId20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75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4914801"/>
              </p:ext>
            </p:extLst>
          </p:nvPr>
        </p:nvGraphicFramePr>
        <p:xfrm>
          <a:off x="1335088" y="10198100"/>
          <a:ext cx="862012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556" name="Прямая соединительная линия 555"/>
          <p:cNvCxnSpPr/>
          <p:nvPr>
            <p:custDataLst>
              <p:tags r:id="rId5"/>
            </p:custDataLst>
          </p:nvPr>
        </p:nvCxnSpPr>
        <p:spPr bwMode="white">
          <a:xfrm>
            <a:off x="3146425" y="11118850"/>
            <a:ext cx="1154113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Прямая соединительная линия 554"/>
          <p:cNvCxnSpPr/>
          <p:nvPr>
            <p:custDataLst>
              <p:tags r:id="rId6"/>
            </p:custDataLst>
          </p:nvPr>
        </p:nvCxnSpPr>
        <p:spPr bwMode="white">
          <a:xfrm flipV="1">
            <a:off x="3146425" y="11118850"/>
            <a:ext cx="0" cy="78105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Прямая соединительная линия 556"/>
          <p:cNvCxnSpPr/>
          <p:nvPr>
            <p:custDataLst>
              <p:tags r:id="rId7"/>
            </p:custDataLst>
          </p:nvPr>
        </p:nvCxnSpPr>
        <p:spPr bwMode="white">
          <a:xfrm>
            <a:off x="4300538" y="11118850"/>
            <a:ext cx="0" cy="15240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4" name="Овал 553"/>
          <p:cNvSpPr/>
          <p:nvPr>
            <p:custDataLst>
              <p:tags r:id="rId8"/>
            </p:custDataLst>
          </p:nvPr>
        </p:nvSpPr>
        <p:spPr bwMode="auto">
          <a:xfrm>
            <a:off x="3360738" y="10925175"/>
            <a:ext cx="725488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E064BF-70EE-487E-8AE3-38EECDD634B5}" type="datetime'+5''''''''''2''''''''''''''''''''''''%'''''''''''''''''''">
              <a:rPr lang="ru-RU" altLang="en-US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52%</a:t>
            </a:fld>
            <a:endParaRPr lang="ru-RU" sz="1400" b="1" dirty="0">
              <a:solidFill>
                <a:srgbClr val="C00000"/>
              </a:solidFill>
              <a:sym typeface="+mn-lt"/>
            </a:endParaRP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71525" y="806392"/>
            <a:ext cx="6362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ource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: 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Bain &amp; Company  </a:t>
            </a:r>
            <a:r>
              <a:rPr lang="en-US" sz="16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«M&amp;A Report 2020» </a:t>
            </a:r>
          </a:p>
          <a:p>
            <a:pPr algn="ctr" defTabSz="914377">
              <a:defRPr/>
            </a:pP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cxnSp>
        <p:nvCxnSpPr>
          <p:cNvPr id="280" name="Прямая со стрелкой 279"/>
          <p:cNvCxnSpPr/>
          <p:nvPr/>
        </p:nvCxnSpPr>
        <p:spPr>
          <a:xfrm>
            <a:off x="861847" y="1148791"/>
            <a:ext cx="6105104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TextBox 280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771525" y="534516"/>
            <a:ext cx="33625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E81D30"/>
                </a:solidFill>
                <a:latin typeface="Agency FB" panose="020B0503020202020204" pitchFamily="34" charset="0"/>
              </a:rPr>
              <a:t>Historical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Data On The</a:t>
            </a:r>
            <a:r>
              <a:rPr lang="ru-RU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Global M&amp;A Market</a:t>
            </a:r>
            <a:endParaRPr lang="en-US" sz="1600" b="1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  <p:grpSp>
        <p:nvGrpSpPr>
          <p:cNvPr id="748" name="Группа 747"/>
          <p:cNvGrpSpPr/>
          <p:nvPr/>
        </p:nvGrpSpPr>
        <p:grpSpPr>
          <a:xfrm>
            <a:off x="762000" y="9575800"/>
            <a:ext cx="9990337" cy="3390900"/>
            <a:chOff x="982663" y="2011363"/>
            <a:chExt cx="9990337" cy="3390900"/>
          </a:xfrm>
        </p:grpSpPr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982663" y="5126038"/>
              <a:ext cx="1103313" cy="276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1998</a:t>
              </a:r>
              <a:endParaRPr lang="en-US" sz="12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grpSp>
          <p:nvGrpSpPr>
            <p:cNvPr id="592" name="Группа 591"/>
            <p:cNvGrpSpPr/>
            <p:nvPr/>
          </p:nvGrpSpPr>
          <p:grpSpPr>
            <a:xfrm>
              <a:off x="992188" y="2011363"/>
              <a:ext cx="9980812" cy="3390900"/>
              <a:chOff x="992188" y="2011363"/>
              <a:chExt cx="10279067" cy="3390900"/>
            </a:xfrm>
          </p:grpSpPr>
          <p:sp>
            <p:nvSpPr>
              <p:cNvPr id="327" name="TextBox 326">
                <a:extLst>
                  <a:ext uri="{FF2B5EF4-FFF2-40B4-BE49-F238E27FC236}">
                    <a16:creationId xmlns:a16="http://schemas.microsoft.com/office/drawing/2014/main" id="{B84F05E5-66E5-451A-922E-237FDE35085A}"/>
                  </a:ext>
                </a:extLst>
              </p:cNvPr>
              <p:cNvSpPr txBox="1"/>
              <p:nvPr/>
            </p:nvSpPr>
            <p:spPr>
              <a:xfrm>
                <a:off x="992188" y="3140075"/>
                <a:ext cx="1101725" cy="2762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sz="1200" dirty="0" smtClean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rPr>
                  <a:t>$2,2</a:t>
                </a:r>
                <a:endParaRPr lang="en-US" sz="1200" dirty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endParaRPr>
              </a:p>
            </p:txBody>
          </p:sp>
          <p:grpSp>
            <p:nvGrpSpPr>
              <p:cNvPr id="539" name="Группа 538"/>
              <p:cNvGrpSpPr/>
              <p:nvPr/>
            </p:nvGrpSpPr>
            <p:grpSpPr>
              <a:xfrm>
                <a:off x="1258888" y="2011363"/>
                <a:ext cx="10012367" cy="3390900"/>
                <a:chOff x="488573" y="1803122"/>
                <a:chExt cx="6960115" cy="3391565"/>
              </a:xfrm>
            </p:grpSpPr>
            <p:sp>
              <p:nvSpPr>
                <p:cNvPr id="288" name="TextBox 287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28210" y="1894959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50,00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294" name="TextBox 293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28210" y="245013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40,00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28210" y="303656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3</a:t>
                  </a: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0,00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296" name="TextBox 295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45792" y="3526418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20,00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297" name="TextBox 296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28211" y="417956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1</a:t>
                  </a: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0,00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298" name="TextBox 297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6328211" y="475106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2" name="TextBox 301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5961857" y="4917688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2019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5" name="TextBox 304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488573" y="2274816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1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6" name="TextBox 305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733079" y="2297972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2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7" name="TextBox 306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1047439" y="3183640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1,8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1324715" y="3650057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1,2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09" name="TextBox 308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1598887" y="3569657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1,3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0" name="TextBox 309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1857698" y="327351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1,7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2378190" y="2342260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3" name="TextBox 312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2663750" y="1876628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7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4" name="TextBox 313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2946817" y="2405872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9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3215198" y="303440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1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6" name="TextBox 315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3459837" y="2801059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4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7" name="TextBox 316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3736897" y="2774084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4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8" name="TextBox 317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4039811" y="2825366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4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19" name="TextBox 318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4333713" y="2797877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4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20" name="TextBox 319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4557626" y="2315005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0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21" name="TextBox 320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5120618" y="2198352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2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22" name="TextBox 321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5401444" y="2439752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9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23" name="TextBox 322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5680151" y="2100397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4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24" name="TextBox 323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5953973" y="2038041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5T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31" name="TextBox 330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4845153" y="1803122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3,8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35" name="TextBox 334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1047439" y="4917688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2001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336" name="TextBox 335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2701783" y="4917688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2007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  <p:sp>
              <p:nvSpPr>
                <p:cNvPr id="566" name="TextBox 565">
                  <a:extLst>
                    <a:ext uri="{FF2B5EF4-FFF2-40B4-BE49-F238E27FC236}">
                      <a16:creationId xmlns:a16="http://schemas.microsoft.com/office/drawing/2014/main" id="{B84F05E5-66E5-451A-922E-237FDE35085A}"/>
                    </a:ext>
                  </a:extLst>
                </p:cNvPr>
                <p:cNvSpPr txBox="1"/>
                <p:nvPr/>
              </p:nvSpPr>
              <p:spPr>
                <a:xfrm>
                  <a:off x="2100294" y="2603137"/>
                  <a:ext cx="110289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77">
                    <a:defRPr/>
                  </a:pPr>
                  <a:r>
                    <a:rPr lang="en-US" sz="1200" dirty="0" smtClean="0">
                      <a:solidFill>
                        <a:schemeClr val="bg1">
                          <a:lumMod val="90000"/>
                        </a:schemeClr>
                      </a:solidFill>
                      <a:latin typeface="Agency FB" panose="020B0503020202020204" pitchFamily="34" charset="0"/>
                    </a:rPr>
                    <a:t>$2,5</a:t>
                  </a:r>
                  <a:endParaRPr lang="en-US" sz="1200" dirty="0">
                    <a:solidFill>
                      <a:schemeClr val="bg1">
                        <a:lumMod val="90000"/>
                      </a:schemeClr>
                    </a:solidFill>
                    <a:latin typeface="Agency FB" panose="020B0503020202020204" pitchFamily="34" charset="0"/>
                  </a:endParaRPr>
                </a:p>
              </p:txBody>
            </p:sp>
          </p:grpSp>
        </p:grpSp>
      </p:grpSp>
      <p:graphicFrame>
        <p:nvGraphicFramePr>
          <p:cNvPr id="795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07690633"/>
              </p:ext>
            </p:extLst>
          </p:nvPr>
        </p:nvGraphicFramePr>
        <p:xfrm>
          <a:off x="762000" y="2070100"/>
          <a:ext cx="5870575" cy="341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677" name="Прямая соединительная линия 676"/>
          <p:cNvCxnSpPr/>
          <p:nvPr>
            <p:custDataLst>
              <p:tags r:id="rId10"/>
            </p:custDataLst>
          </p:nvPr>
        </p:nvCxnSpPr>
        <p:spPr bwMode="white">
          <a:xfrm flipV="1">
            <a:off x="2011363" y="2936874"/>
            <a:ext cx="0" cy="1062038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Прямая соединительная линия 678"/>
          <p:cNvCxnSpPr/>
          <p:nvPr>
            <p:custDataLst>
              <p:tags r:id="rId11"/>
            </p:custDataLst>
          </p:nvPr>
        </p:nvCxnSpPr>
        <p:spPr bwMode="white">
          <a:xfrm>
            <a:off x="2011363" y="2936875"/>
            <a:ext cx="777875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8" name="Прямая соединительная линия 677"/>
          <p:cNvCxnSpPr/>
          <p:nvPr>
            <p:custDataLst>
              <p:tags r:id="rId12"/>
            </p:custDataLst>
          </p:nvPr>
        </p:nvCxnSpPr>
        <p:spPr bwMode="white">
          <a:xfrm>
            <a:off x="2789238" y="2936875"/>
            <a:ext cx="0" cy="347663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0" name="Овал 679"/>
          <p:cNvSpPr/>
          <p:nvPr>
            <p:custDataLst>
              <p:tags r:id="rId13"/>
            </p:custDataLst>
          </p:nvPr>
        </p:nvSpPr>
        <p:spPr bwMode="auto">
          <a:xfrm>
            <a:off x="2038350" y="2743200"/>
            <a:ext cx="725488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643843-D2C0-4433-A0D9-D406F3232AEC}" type="datetime'''+''''''''''''''''''''''''''''''''52''''''''%'''''">
              <a:rPr lang="ru-RU" altLang="en-US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52%</a:t>
            </a:fld>
            <a:endParaRPr lang="ru-RU" sz="1400" b="1" dirty="0">
              <a:solidFill>
                <a:srgbClr val="C00000"/>
              </a:solidFill>
              <a:sym typeface="+mn-lt"/>
            </a:endParaRPr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982663" y="9086850"/>
            <a:ext cx="1103313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998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683" name="TextBox 68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77426" y="3329999"/>
            <a:ext cx="763295" cy="31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2,2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44027" y="2016612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C00000"/>
                </a:solidFill>
                <a:latin typeface="Agency FB" panose="020B0503020202020204" pitchFamily="34" charset="0"/>
              </a:rPr>
              <a:t>50,00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44027" y="2642449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rgbClr val="C00000"/>
                </a:solidFill>
                <a:latin typeface="Agency FB" panose="020B0503020202020204" pitchFamily="34" charset="0"/>
              </a:rPr>
              <a:t>40,00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44027" y="3303522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C00000"/>
                </a:solidFill>
                <a:latin typeface="Agency FB" panose="020B0503020202020204" pitchFamily="34" charset="0"/>
              </a:rPr>
              <a:t>3</a:t>
            </a:r>
            <a:r>
              <a:rPr lang="en-US" sz="1200" dirty="0" smtClean="0">
                <a:solidFill>
                  <a:srgbClr val="C00000"/>
                </a:solidFill>
                <a:latin typeface="Agency FB" panose="020B0503020202020204" pitchFamily="34" charset="0"/>
              </a:rPr>
              <a:t>0,00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61550" y="3855731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rgbClr val="C00000"/>
                </a:solidFill>
                <a:latin typeface="Agency FB" panose="020B0503020202020204" pitchFamily="34" charset="0"/>
              </a:rPr>
              <a:t>20,00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44028" y="4592008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C00000"/>
                </a:solidFill>
                <a:latin typeface="Agency FB" panose="020B0503020202020204" pitchFamily="34" charset="0"/>
              </a:rPr>
              <a:t>1</a:t>
            </a:r>
            <a:r>
              <a:rPr lang="en-US" sz="1200" dirty="0" smtClean="0">
                <a:solidFill>
                  <a:srgbClr val="C00000"/>
                </a:solidFill>
                <a:latin typeface="Agency FB" panose="020B0503020202020204" pitchFamily="34" charset="0"/>
              </a:rPr>
              <a:t>0,00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44028" y="5236251"/>
            <a:ext cx="1099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rgbClr val="C00000"/>
                </a:solidFill>
                <a:latin typeface="Agency FB" panose="020B0503020202020204" pitchFamily="34" charset="0"/>
              </a:rPr>
              <a:t>0</a:t>
            </a:r>
            <a:endParaRPr lang="en-US" sz="1200" dirty="0">
              <a:solidFill>
                <a:srgbClr val="C00000"/>
              </a:solidFill>
              <a:latin typeface="Agency FB" panose="020B0503020202020204" pitchFamily="34" charset="0"/>
            </a:endParaRPr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857845" y="5462008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19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160865" y="3432103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1,8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968404" y="3739054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1,7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742100" y="2140522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3,7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536629" y="3195962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2,4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05" name="TextBox 70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281109" y="3159665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2,4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07" name="TextBox 70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076378" y="2534304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3,2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10" name="TextBox 709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867757" y="2328869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$3,5T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12" name="TextBox 71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177925" y="5462008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01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713" name="TextBox 71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742100" y="5462008"/>
            <a:ext cx="1099194" cy="312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07</a:t>
            </a:r>
            <a:endParaRPr lang="en-US" sz="12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graphicFrame>
        <p:nvGraphicFramePr>
          <p:cNvPr id="844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41881310"/>
              </p:ext>
            </p:extLst>
          </p:nvPr>
        </p:nvGraphicFramePr>
        <p:xfrm>
          <a:off x="7618413" y="1658938"/>
          <a:ext cx="3163887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717" name="Прямая соединительная линия 716"/>
          <p:cNvCxnSpPr/>
          <p:nvPr>
            <p:custDataLst>
              <p:tags r:id="rId15"/>
            </p:custDataLst>
          </p:nvPr>
        </p:nvCxnSpPr>
        <p:spPr bwMode="white">
          <a:xfrm flipV="1">
            <a:off x="8772525" y="2239963"/>
            <a:ext cx="0" cy="998538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" name="Прямая соединительная линия 717"/>
          <p:cNvCxnSpPr/>
          <p:nvPr>
            <p:custDataLst>
              <p:tags r:id="rId16"/>
            </p:custDataLst>
          </p:nvPr>
        </p:nvCxnSpPr>
        <p:spPr bwMode="white">
          <a:xfrm>
            <a:off x="8772525" y="2239963"/>
            <a:ext cx="1284288" cy="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Прямая соединительная линия 718"/>
          <p:cNvCxnSpPr/>
          <p:nvPr>
            <p:custDataLst>
              <p:tags r:id="rId17"/>
            </p:custDataLst>
          </p:nvPr>
        </p:nvCxnSpPr>
        <p:spPr bwMode="white">
          <a:xfrm>
            <a:off x="10056813" y="2239963"/>
            <a:ext cx="0" cy="152400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0" name="Овал 719"/>
          <p:cNvSpPr/>
          <p:nvPr>
            <p:custDataLst>
              <p:tags r:id="rId18"/>
            </p:custDataLst>
          </p:nvPr>
        </p:nvSpPr>
        <p:spPr bwMode="auto">
          <a:xfrm>
            <a:off x="9051924" y="2046287"/>
            <a:ext cx="725488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E2DA27-4D93-47BA-9CCC-CF8B83738C89}" type="datetime'''''''''+''''''''''''3''''''''''9''%'''''''">
              <a:rPr lang="ru-RU" altLang="en-US" b="1" smtClean="0">
                <a:solidFill>
                  <a:srgbClr val="C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39%</a:t>
            </a:fld>
            <a:endParaRPr lang="ru-RU" sz="1400" b="1" dirty="0">
              <a:solidFill>
                <a:srgbClr val="C00000"/>
              </a:solidFill>
              <a:sym typeface="+mn-lt"/>
            </a:endParaRPr>
          </a:p>
        </p:txBody>
      </p:sp>
      <p:cxnSp>
        <p:nvCxnSpPr>
          <p:cNvPr id="743" name="Прямая со стрелкой 742"/>
          <p:cNvCxnSpPr/>
          <p:nvPr/>
        </p:nvCxnSpPr>
        <p:spPr>
          <a:xfrm>
            <a:off x="7766613" y="1148791"/>
            <a:ext cx="3401512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4" name="TextBox 74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7873768" y="534516"/>
            <a:ext cx="33625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1600" b="1" dirty="0">
                <a:solidFill>
                  <a:srgbClr val="E81D30"/>
                </a:solidFill>
                <a:latin typeface="Agency FB" panose="020B0503020202020204" pitchFamily="34" charset="0"/>
              </a:rPr>
              <a:t>Historical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Data On The</a:t>
            </a:r>
            <a:r>
              <a:rPr lang="ru-RU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Russian M&amp;A Market</a:t>
            </a:r>
            <a:endParaRPr lang="en-US" sz="1600" b="1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  <p:sp>
        <p:nvSpPr>
          <p:cNvPr id="775" name="TextBox 77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873946" y="806392"/>
            <a:ext cx="6362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ource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: KPMG. «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Russian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 M&amp;A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 Market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 2019»</a:t>
            </a:r>
          </a:p>
          <a:p>
            <a:pPr algn="r" defTabSz="914377">
              <a:defRPr/>
            </a:pP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grpSp>
        <p:nvGrpSpPr>
          <p:cNvPr id="845" name="Группа 844"/>
          <p:cNvGrpSpPr/>
          <p:nvPr/>
        </p:nvGrpSpPr>
        <p:grpSpPr>
          <a:xfrm>
            <a:off x="4058468" y="5976629"/>
            <a:ext cx="4220694" cy="337160"/>
            <a:chOff x="3682171" y="5976629"/>
            <a:chExt cx="4220694" cy="337160"/>
          </a:xfrm>
        </p:grpSpPr>
        <p:sp>
          <p:nvSpPr>
            <p:cNvPr id="797" name="Прямоугольник 796"/>
            <p:cNvSpPr/>
            <p:nvPr/>
          </p:nvSpPr>
          <p:spPr>
            <a:xfrm>
              <a:off x="7070905" y="6037797"/>
              <a:ext cx="148484" cy="192087"/>
            </a:xfrm>
            <a:prstGeom prst="rect">
              <a:avLst/>
            </a:prstGeom>
            <a:solidFill>
              <a:srgbClr val="F3F3F5"/>
            </a:solidFill>
            <a:ln>
              <a:solidFill>
                <a:srgbClr val="F3F3F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b="1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799" name="TextBox 79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3682171" y="5976629"/>
              <a:ext cx="10664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ru-RU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Количество </a:t>
              </a:r>
              <a:endPara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00" name="TextBox 799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199080" y="5996484"/>
              <a:ext cx="703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ru-RU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Объем</a:t>
              </a:r>
              <a:endPara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18" name="Прямоугольник 817"/>
            <p:cNvSpPr/>
            <p:nvPr/>
          </p:nvSpPr>
          <p:spPr>
            <a:xfrm>
              <a:off x="4917447" y="6037797"/>
              <a:ext cx="148484" cy="192087"/>
            </a:xfrm>
            <a:prstGeom prst="rect">
              <a:avLst/>
            </a:prstGeom>
            <a:solidFill>
              <a:srgbClr val="969696"/>
            </a:solidFill>
            <a:ln>
              <a:solidFill>
                <a:srgbClr val="9696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b="1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819" name="TextBox 81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5045622" y="6006012"/>
              <a:ext cx="19529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ru-RU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Мега-сделки </a:t>
              </a:r>
              <a:r>
                <a:rPr lang="en-US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&gt; 10 </a:t>
              </a:r>
              <a:r>
                <a:rPr lang="ru-RU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млрд </a:t>
              </a:r>
              <a:r>
                <a:rPr lang="en-US" sz="14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$</a:t>
              </a:r>
              <a:endPara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820" name="Группа 819"/>
          <p:cNvGrpSpPr/>
          <p:nvPr/>
        </p:nvGrpSpPr>
        <p:grpSpPr>
          <a:xfrm>
            <a:off x="7126143" y="1682080"/>
            <a:ext cx="4531456" cy="4132360"/>
            <a:chOff x="4937126" y="1437621"/>
            <a:chExt cx="4530991" cy="4133637"/>
          </a:xfrm>
        </p:grpSpPr>
        <p:sp>
          <p:nvSpPr>
            <p:cNvPr id="821" name="TextBox 820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5359401" y="5294313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2014</a:t>
              </a:r>
              <a:endParaRPr lang="en-US" sz="12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2" name="TextBox 821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5784851" y="5294313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2015</a:t>
              </a:r>
              <a:endParaRPr lang="en-US" sz="12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3" name="TextBox 822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500939" y="5294313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90000"/>
                    </a:schemeClr>
                  </a:solidFill>
                  <a:latin typeface="Agency FB" panose="020B0503020202020204" pitchFamily="34" charset="0"/>
                </a:rPr>
                <a:t>2019</a:t>
              </a:r>
              <a:endParaRPr lang="en-US" sz="12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4" name="TextBox 823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4937126" y="1803892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14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5" name="TextBox 824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4937126" y="2332471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101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6" name="TextBox 825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5359401" y="2987862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79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7" name="TextBox 826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5784851" y="3759836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52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8" name="TextBox 827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6219825" y="3291871"/>
              <a:ext cx="1587500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65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29" name="TextBox 82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6219825" y="2924456"/>
              <a:ext cx="1587500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11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0" name="TextBox 829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6650038" y="3610611"/>
              <a:ext cx="1587500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55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1" name="TextBox 830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080251" y="3768075"/>
              <a:ext cx="1585913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52</a:t>
              </a:r>
              <a:endParaRPr lang="en-US" sz="120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2" name="TextBox 831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500939" y="3347505"/>
              <a:ext cx="1585913" cy="261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050" dirty="0" smtClean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$63B</a:t>
              </a:r>
              <a:endParaRPr lang="en-US" sz="1050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3" name="TextBox 832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3" y="3729213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3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4" name="TextBox 833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81563" y="4185156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2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5" name="TextBox 834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3" y="5087754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6" name="TextBox 835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2" y="2358752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6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7" name="TextBox 836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2" y="1437621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>
                  <a:solidFill>
                    <a:srgbClr val="C00000"/>
                  </a:solidFill>
                  <a:latin typeface="Agency FB" panose="020B0503020202020204" pitchFamily="34" charset="0"/>
                </a:rPr>
                <a:t>8</a:t>
              </a: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8" name="TextBox 837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3" y="4652548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1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39" name="TextBox 83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3" y="3273776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>
                  <a:solidFill>
                    <a:srgbClr val="C00000"/>
                  </a:solidFill>
                  <a:latin typeface="Agency FB" panose="020B0503020202020204" pitchFamily="34" charset="0"/>
                </a:rPr>
                <a:t>4</a:t>
              </a: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40" name="TextBox 839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3" y="2816554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5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841" name="TextBox 840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7876802" y="1911245"/>
              <a:ext cx="1586554" cy="2769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dirty="0">
                  <a:solidFill>
                    <a:srgbClr val="C00000"/>
                  </a:solidFill>
                  <a:latin typeface="Agency FB" panose="020B0503020202020204" pitchFamily="34" charset="0"/>
                </a:rPr>
                <a:t>7</a:t>
              </a:r>
              <a:r>
                <a:rPr lang="en-US" sz="1200" dirty="0" smtClean="0">
                  <a:solidFill>
                    <a:srgbClr val="C00000"/>
                  </a:solidFill>
                  <a:latin typeface="Agency FB" panose="020B0503020202020204" pitchFamily="34" charset="0"/>
                </a:rPr>
                <a:t>00</a:t>
              </a:r>
              <a:endParaRPr lang="en-US" sz="1200" dirty="0">
                <a:solidFill>
                  <a:srgbClr val="C00000"/>
                </a:solidFill>
                <a:latin typeface="Agency FB" panose="020B0503020202020204" pitchFamily="34" charset="0"/>
              </a:endParaRPr>
            </a:p>
          </p:txBody>
        </p:sp>
      </p:grpSp>
      <p:cxnSp>
        <p:nvCxnSpPr>
          <p:cNvPr id="847" name="Прямая соединительная линия 846"/>
          <p:cNvCxnSpPr/>
          <p:nvPr/>
        </p:nvCxnSpPr>
        <p:spPr>
          <a:xfrm>
            <a:off x="3491783" y="6129276"/>
            <a:ext cx="56668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907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275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Слайд think-cell" r:id="rId7" imgW="425" imgH="426" progId="TCLayout.ActiveDocument.1">
                  <p:embed/>
                </p:oleObj>
              </mc:Choice>
              <mc:Fallback>
                <p:oleObj name="Слайд think-cell" r:id="rId7" imgW="425" imgH="426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4898226" y="863601"/>
            <a:ext cx="24665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Эффективность сделок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M&amp;A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Lato Bold" panose="020F0502020204030203" pitchFamily="34" charset="0"/>
              <a:ea typeface="Lato Bold" panose="020F0502020204030203" pitchFamily="34" charset="0"/>
              <a:cs typeface="Lato Bold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4206181" y="304800"/>
            <a:ext cx="3850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АКТУАЛИЗАЦ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26" y="2664995"/>
            <a:ext cx="5264527" cy="2581275"/>
          </a:xfrm>
          <a:prstGeom prst="rect">
            <a:avLst/>
          </a:prstGeom>
        </p:spPr>
      </p:pic>
      <p:graphicFrame>
        <p:nvGraphicFramePr>
          <p:cNvPr id="10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58686645"/>
              </p:ext>
            </p:extLst>
          </p:nvPr>
        </p:nvGraphicFramePr>
        <p:xfrm>
          <a:off x="6238877" y="2343151"/>
          <a:ext cx="2746375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0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06695064"/>
              </p:ext>
            </p:extLst>
          </p:nvPr>
        </p:nvGraphicFramePr>
        <p:xfrm>
          <a:off x="9288465" y="2343151"/>
          <a:ext cx="2746375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2" name="TextBox 9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9877424" y="3362325"/>
            <a:ext cx="15684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BUY</a:t>
            </a:r>
            <a:endParaRPr lang="en-US" sz="4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827837" y="3362325"/>
            <a:ext cx="15684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SELL</a:t>
            </a:r>
            <a:endParaRPr lang="en-US" sz="4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238877" y="1647796"/>
            <a:ext cx="5617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Эффективность корпоративных </a:t>
            </a:r>
            <a:r>
              <a:rPr 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M&amp;A</a:t>
            </a:r>
            <a:endParaRPr lang="en-US" sz="2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39417" y="1647796"/>
            <a:ext cx="5617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Среднегодовой </a:t>
            </a:r>
            <a:r>
              <a:rPr 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ROI PE </a:t>
            </a: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фондов</a:t>
            </a:r>
            <a:endParaRPr lang="en-US" sz="2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672661" y="2047905"/>
            <a:ext cx="4866291" cy="0"/>
          </a:xfrm>
          <a:prstGeom prst="straightConnector1">
            <a:avLst/>
          </a:prstGeom>
          <a:ln w="9525">
            <a:solidFill>
              <a:srgbClr val="7F7F7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106"/>
          <p:cNvCxnSpPr/>
          <p:nvPr/>
        </p:nvCxnSpPr>
        <p:spPr>
          <a:xfrm>
            <a:off x="6614501" y="2047905"/>
            <a:ext cx="4866291" cy="0"/>
          </a:xfrm>
          <a:prstGeom prst="straightConnector1">
            <a:avLst/>
          </a:prstGeom>
          <a:ln w="9525">
            <a:solidFill>
              <a:srgbClr val="7F7F7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/>
          <p:cNvSpPr/>
          <p:nvPr/>
        </p:nvSpPr>
        <p:spPr>
          <a:xfrm>
            <a:off x="6614501" y="5790296"/>
            <a:ext cx="52299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Составлено автором на основании результатов исследования Роберта Ф. </a:t>
            </a:r>
            <a:r>
              <a:rPr lang="ru-RU" sz="1200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Брунер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11" name="Straight Connector 101"/>
          <p:cNvCxnSpPr/>
          <p:nvPr/>
        </p:nvCxnSpPr>
        <p:spPr>
          <a:xfrm flipH="1">
            <a:off x="6655637" y="5414491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01"/>
          <p:cNvCxnSpPr/>
          <p:nvPr/>
        </p:nvCxnSpPr>
        <p:spPr>
          <a:xfrm flipH="1">
            <a:off x="9770661" y="5414517"/>
            <a:ext cx="527683" cy="0"/>
          </a:xfrm>
          <a:prstGeom prst="line">
            <a:avLst/>
          </a:prstGeom>
          <a:ln w="19050">
            <a:solidFill>
              <a:srgbClr val="0070C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183321" y="5246270"/>
            <a:ext cx="1665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% успешных сделок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0298345" y="5246270"/>
            <a:ext cx="1665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% неуспешных сделок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683849" y="5790293"/>
            <a:ext cx="47286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just" defTabSz="1375432"/>
            <a:r>
              <a:rPr lang="ru-RU" sz="1200" b="1" dirty="0">
                <a:solidFill>
                  <a:schemeClr val="bg1">
                    <a:lumMod val="10000"/>
                  </a:schemeClr>
                </a:solidFill>
                <a:latin typeface="Century Gothic" panose="020B0502020202020204" pitchFamily="34" charset="0"/>
              </a:rPr>
              <a:t>Вывод: </a:t>
            </a:r>
            <a:r>
              <a:rPr lang="ru-RU" sz="1200" b="1" dirty="0">
                <a:solidFill>
                  <a:srgbClr val="7F7F7F"/>
                </a:solidFill>
                <a:latin typeface="Century Gothic" panose="020B0502020202020204" pitchFamily="34" charset="0"/>
              </a:rPr>
              <a:t>эффективность </a:t>
            </a:r>
            <a:r>
              <a:rPr lang="en-US" sz="1200" b="1" dirty="0">
                <a:solidFill>
                  <a:srgbClr val="7F7F7F"/>
                </a:solidFill>
                <a:latin typeface="Century Gothic" panose="020B0502020202020204" pitchFamily="34" charset="0"/>
              </a:rPr>
              <a:t>PE </a:t>
            </a:r>
            <a:r>
              <a:rPr lang="ru-RU" sz="1200" b="1" dirty="0">
                <a:solidFill>
                  <a:srgbClr val="7F7F7F"/>
                </a:solidFill>
                <a:latin typeface="Century Gothic" panose="020B0502020202020204" pitchFamily="34" charset="0"/>
              </a:rPr>
              <a:t>фондов на рубеже 10 лет становятся очевидной. Напротив, эффективность корпоративных </a:t>
            </a:r>
            <a:r>
              <a:rPr lang="en-US" sz="1200" b="1" dirty="0">
                <a:solidFill>
                  <a:srgbClr val="7F7F7F"/>
                </a:solidFill>
                <a:latin typeface="Century Gothic" panose="020B0502020202020204" pitchFamily="34" charset="0"/>
              </a:rPr>
              <a:t>M&amp;A </a:t>
            </a:r>
            <a:r>
              <a:rPr lang="ru-RU" sz="1200" b="1" dirty="0">
                <a:solidFill>
                  <a:srgbClr val="7F7F7F"/>
                </a:solidFill>
                <a:latin typeface="Century Gothic" panose="020B0502020202020204" pitchFamily="34" charset="0"/>
              </a:rPr>
              <a:t>остается под сомнением. </a:t>
            </a:r>
          </a:p>
          <a:p>
            <a:pPr algn="just" defTabSz="1375432"/>
            <a:endParaRPr lang="ru-RU" sz="1200" b="1" dirty="0">
              <a:solidFill>
                <a:schemeClr val="bg1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5713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>
            <a:extLst>
              <a:ext uri="{FF2B5EF4-FFF2-40B4-BE49-F238E27FC236}">
                <a16:creationId xmlns:a16="http://schemas.microsoft.com/office/drawing/2014/main" id="{980F8D25-918D-4F55-96A0-7E92276F2000}"/>
              </a:ext>
            </a:extLst>
          </p:cNvPr>
          <p:cNvCxnSpPr>
            <a:cxnSpLocks/>
            <a:stCxn id="16" idx="4"/>
          </p:cNvCxnSpPr>
          <p:nvPr/>
        </p:nvCxnSpPr>
        <p:spPr>
          <a:xfrm>
            <a:off x="6109253" y="3838634"/>
            <a:ext cx="0" cy="3019367"/>
          </a:xfrm>
          <a:prstGeom prst="line">
            <a:avLst/>
          </a:prstGeom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993139" y="2093517"/>
            <a:ext cx="16292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9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0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2CA95-8F78-4DA7-96E0-55BC9C6209EF}"/>
              </a:ext>
            </a:extLst>
          </p:cNvPr>
          <p:cNvSpPr txBox="1"/>
          <p:nvPr/>
        </p:nvSpPr>
        <p:spPr>
          <a:xfrm>
            <a:off x="4157722" y="4356657"/>
            <a:ext cx="16292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9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0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D428FF-BA9C-4CEB-97BF-A5BFFD1D3087}"/>
              </a:ext>
            </a:extLst>
          </p:cNvPr>
          <p:cNvSpPr txBox="1"/>
          <p:nvPr/>
        </p:nvSpPr>
        <p:spPr>
          <a:xfrm>
            <a:off x="997906" y="2524405"/>
            <a:ext cx="42274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Пополнение и диверсификация ассортимента </a:t>
            </a: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продукции </a:t>
            </a:r>
            <a:endParaRPr lang="ru-RU" sz="2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E0B3B8-DB6A-42A7-A855-D3EF1097FD4A}"/>
              </a:ext>
            </a:extLst>
          </p:cNvPr>
          <p:cNvSpPr txBox="1"/>
          <p:nvPr/>
        </p:nvSpPr>
        <p:spPr>
          <a:xfrm>
            <a:off x="7672079" y="4848720"/>
            <a:ext cx="3797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Дополнительные» </a:t>
            </a: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ьги </a:t>
            </a:r>
            <a:endParaRPr lang="ru-RU" sz="20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Oval 30">
            <a:extLst>
              <a:ext uri="{FF2B5EF4-FFF2-40B4-BE49-F238E27FC236}">
                <a16:creationId xmlns:a16="http://schemas.microsoft.com/office/drawing/2014/main" id="{7CDAF89F-2924-4946-8EC0-7379D366E6F8}"/>
              </a:ext>
            </a:extLst>
          </p:cNvPr>
          <p:cNvSpPr/>
          <p:nvPr/>
        </p:nvSpPr>
        <p:spPr>
          <a:xfrm>
            <a:off x="6735327" y="4678684"/>
            <a:ext cx="838200" cy="838200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black">
                  <a:lumMod val="95000"/>
                  <a:lumOff val="5000"/>
                </a:prstClr>
              </a:solidFill>
              <a:latin typeface="Calibri" panose="020F0502020204030204"/>
            </a:endParaRPr>
          </a:p>
        </p:txBody>
      </p:sp>
      <p:grpSp>
        <p:nvGrpSpPr>
          <p:cNvPr id="10" name="Group 38">
            <a:extLst>
              <a:ext uri="{FF2B5EF4-FFF2-40B4-BE49-F238E27FC236}">
                <a16:creationId xmlns:a16="http://schemas.microsoft.com/office/drawing/2014/main" id="{46775051-3FD2-4DE4-AC5E-12046C8F07C3}"/>
              </a:ext>
            </a:extLst>
          </p:cNvPr>
          <p:cNvGrpSpPr/>
          <p:nvPr/>
        </p:nvGrpSpPr>
        <p:grpSpPr>
          <a:xfrm>
            <a:off x="4422221" y="5632201"/>
            <a:ext cx="5935595" cy="336551"/>
            <a:chOff x="4422221" y="3127375"/>
            <a:chExt cx="5935594" cy="336550"/>
          </a:xfrm>
          <a:solidFill>
            <a:schemeClr val="tx1">
              <a:lumMod val="95000"/>
              <a:lumOff val="5000"/>
            </a:schemeClr>
          </a:solidFill>
        </p:grpSpPr>
        <p:cxnSp>
          <p:nvCxnSpPr>
            <p:cNvPr id="11" name="Straight Connector 39">
              <a:extLst>
                <a:ext uri="{FF2B5EF4-FFF2-40B4-BE49-F238E27FC236}">
                  <a16:creationId xmlns:a16="http://schemas.microsoft.com/office/drawing/2014/main" id="{3F041CC7-1F56-4C6D-A25A-C99C8EFF5D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22221" y="3295567"/>
              <a:ext cx="5935594" cy="0"/>
            </a:xfrm>
            <a:prstGeom prst="line">
              <a:avLst/>
            </a:prstGeom>
            <a:grpFill/>
            <a:ln w="31750" cap="rnd">
              <a:solidFill>
                <a:schemeClr val="tx1">
                  <a:lumMod val="95000"/>
                  <a:lumOff val="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40">
              <a:extLst>
                <a:ext uri="{FF2B5EF4-FFF2-40B4-BE49-F238E27FC236}">
                  <a16:creationId xmlns:a16="http://schemas.microsoft.com/office/drawing/2014/main" id="{3B59BE55-F4B4-4499-96C2-6EA566E0C188}"/>
                </a:ext>
              </a:extLst>
            </p:cNvPr>
            <p:cNvSpPr/>
            <p:nvPr/>
          </p:nvSpPr>
          <p:spPr>
            <a:xfrm>
              <a:off x="5967483" y="3153880"/>
              <a:ext cx="283540" cy="283540"/>
            </a:xfrm>
            <a:prstGeom prst="ellipse">
              <a:avLst/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3" name="Circle: Hollow 41">
              <a:extLst>
                <a:ext uri="{FF2B5EF4-FFF2-40B4-BE49-F238E27FC236}">
                  <a16:creationId xmlns:a16="http://schemas.microsoft.com/office/drawing/2014/main" id="{30E7CB3C-05C8-4C5C-8963-25EEBA43DE31}"/>
                </a:ext>
              </a:extLst>
            </p:cNvPr>
            <p:cNvSpPr/>
            <p:nvPr/>
          </p:nvSpPr>
          <p:spPr>
            <a:xfrm>
              <a:off x="5940978" y="3127375"/>
              <a:ext cx="336550" cy="336550"/>
            </a:xfrm>
            <a:prstGeom prst="donut">
              <a:avLst>
                <a:gd name="adj" fmla="val 7064"/>
              </a:avLst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4" name="Oval 42">
              <a:extLst>
                <a:ext uri="{FF2B5EF4-FFF2-40B4-BE49-F238E27FC236}">
                  <a16:creationId xmlns:a16="http://schemas.microsoft.com/office/drawing/2014/main" id="{6057FD50-0E04-4F15-9A94-3EFFC274C394}"/>
                </a:ext>
              </a:extLst>
            </p:cNvPr>
            <p:cNvSpPr/>
            <p:nvPr/>
          </p:nvSpPr>
          <p:spPr>
            <a:xfrm>
              <a:off x="6033053" y="3219450"/>
              <a:ext cx="152400" cy="152400"/>
            </a:xfrm>
            <a:prstGeom prst="ellipse">
              <a:avLst/>
            </a:prstGeom>
            <a:solidFill>
              <a:srgbClr val="EE9524"/>
            </a:solidFill>
            <a:ln>
              <a:solidFill>
                <a:srgbClr val="EE95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15" name="Group 29">
            <a:extLst>
              <a:ext uri="{FF2B5EF4-FFF2-40B4-BE49-F238E27FC236}">
                <a16:creationId xmlns:a16="http://schemas.microsoft.com/office/drawing/2014/main" id="{B1A8385B-AF30-4C21-9A65-1FA0032AB909}"/>
              </a:ext>
            </a:extLst>
          </p:cNvPr>
          <p:cNvGrpSpPr/>
          <p:nvPr/>
        </p:nvGrpSpPr>
        <p:grpSpPr>
          <a:xfrm>
            <a:off x="5179613" y="1979355"/>
            <a:ext cx="1859280" cy="1859280"/>
            <a:chOff x="5022574" y="2992647"/>
            <a:chExt cx="2146852" cy="2146852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16" name="Circle: Hollow 31">
              <a:extLst>
                <a:ext uri="{FF2B5EF4-FFF2-40B4-BE49-F238E27FC236}">
                  <a16:creationId xmlns:a16="http://schemas.microsoft.com/office/drawing/2014/main" id="{811DEDE6-D1FA-4671-9525-0725657FC967}"/>
                </a:ext>
              </a:extLst>
            </p:cNvPr>
            <p:cNvSpPr/>
            <p:nvPr/>
          </p:nvSpPr>
          <p:spPr>
            <a:xfrm>
              <a:off x="5022574" y="2992647"/>
              <a:ext cx="2146852" cy="2146852"/>
            </a:xfrm>
            <a:prstGeom prst="donut">
              <a:avLst>
                <a:gd name="adj" fmla="val 2866"/>
              </a:avLst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D8F611D4-4DB1-43B5-AE6D-359399872DBD}"/>
                </a:ext>
              </a:extLst>
            </p:cNvPr>
            <p:cNvSpPr/>
            <p:nvPr/>
          </p:nvSpPr>
          <p:spPr>
            <a:xfrm>
              <a:off x="5194300" y="3164373"/>
              <a:ext cx="1803400" cy="1803400"/>
            </a:xfrm>
            <a:prstGeom prst="ellipse">
              <a:avLst/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5190132" y="1166958"/>
            <a:ext cx="183825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Мотивы сделок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M&amp;A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Lato Bold" panose="020F0502020204030203" pitchFamily="34" charset="0"/>
              <a:ea typeface="Lato Bold" panose="020F0502020204030203" pitchFamily="34" charset="0"/>
              <a:cs typeface="Lato Bold" panose="020F050202020403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4183962" y="608157"/>
            <a:ext cx="3850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АКТУАЛИЗАЦ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22" name="Shape 2799"/>
          <p:cNvSpPr/>
          <p:nvPr/>
        </p:nvSpPr>
        <p:spPr>
          <a:xfrm>
            <a:off x="6880198" y="4854142"/>
            <a:ext cx="548460" cy="4411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rgbClr val="EE9524"/>
          </a:solidFill>
          <a:ln w="12700">
            <a:solidFill>
              <a:srgbClr val="EE9524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sym typeface="Gill Sans"/>
            </a:endParaRPr>
          </a:p>
        </p:txBody>
      </p:sp>
      <p:sp>
        <p:nvSpPr>
          <p:cNvPr id="23" name="AutoShape 18"/>
          <p:cNvSpPr>
            <a:spLocks/>
          </p:cNvSpPr>
          <p:nvPr/>
        </p:nvSpPr>
        <p:spPr bwMode="auto">
          <a:xfrm>
            <a:off x="5669574" y="2455883"/>
            <a:ext cx="879359" cy="77640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11152"/>
                </a:moveTo>
                <a:lnTo>
                  <a:pt x="0" y="5936"/>
                </a:lnTo>
                <a:cubicBezTo>
                  <a:pt x="0" y="5498"/>
                  <a:pt x="132" y="5116"/>
                  <a:pt x="396" y="4796"/>
                </a:cubicBezTo>
                <a:cubicBezTo>
                  <a:pt x="663" y="4479"/>
                  <a:pt x="979" y="4317"/>
                  <a:pt x="1346" y="4317"/>
                </a:cubicBezTo>
                <a:lnTo>
                  <a:pt x="6316" y="4317"/>
                </a:lnTo>
                <a:lnTo>
                  <a:pt x="6316" y="1072"/>
                </a:lnTo>
                <a:cubicBezTo>
                  <a:pt x="6316" y="781"/>
                  <a:pt x="6399" y="528"/>
                  <a:pt x="6568" y="320"/>
                </a:cubicBezTo>
                <a:cubicBezTo>
                  <a:pt x="6737" y="108"/>
                  <a:pt x="6945" y="0"/>
                  <a:pt x="7195" y="0"/>
                </a:cubicBezTo>
                <a:lnTo>
                  <a:pt x="14402" y="0"/>
                </a:lnTo>
                <a:cubicBezTo>
                  <a:pt x="14661" y="0"/>
                  <a:pt x="14877" y="108"/>
                  <a:pt x="15053" y="320"/>
                </a:cubicBezTo>
                <a:cubicBezTo>
                  <a:pt x="15227" y="528"/>
                  <a:pt x="15318" y="781"/>
                  <a:pt x="15318" y="1072"/>
                </a:cubicBezTo>
                <a:lnTo>
                  <a:pt x="15318" y="4317"/>
                </a:lnTo>
                <a:lnTo>
                  <a:pt x="20263" y="4317"/>
                </a:lnTo>
                <a:cubicBezTo>
                  <a:pt x="20630" y="4317"/>
                  <a:pt x="20943" y="4479"/>
                  <a:pt x="21205" y="4796"/>
                </a:cubicBezTo>
                <a:cubicBezTo>
                  <a:pt x="21467" y="5116"/>
                  <a:pt x="21599" y="5498"/>
                  <a:pt x="21599" y="5936"/>
                </a:cubicBezTo>
                <a:lnTo>
                  <a:pt x="21599" y="11152"/>
                </a:lnTo>
                <a:lnTo>
                  <a:pt x="0" y="11152"/>
                </a:lnTo>
                <a:close/>
                <a:moveTo>
                  <a:pt x="21599" y="12782"/>
                </a:moveTo>
                <a:lnTo>
                  <a:pt x="21599" y="19981"/>
                </a:lnTo>
                <a:cubicBezTo>
                  <a:pt x="21599" y="20425"/>
                  <a:pt x="21467" y="20801"/>
                  <a:pt x="21205" y="21121"/>
                </a:cubicBezTo>
                <a:cubicBezTo>
                  <a:pt x="20943" y="21438"/>
                  <a:pt x="20630" y="21599"/>
                  <a:pt x="20263" y="21599"/>
                </a:cubicBezTo>
                <a:lnTo>
                  <a:pt x="1346" y="21599"/>
                </a:lnTo>
                <a:cubicBezTo>
                  <a:pt x="979" y="21599"/>
                  <a:pt x="663" y="21438"/>
                  <a:pt x="396" y="21121"/>
                </a:cubicBezTo>
                <a:cubicBezTo>
                  <a:pt x="132" y="20801"/>
                  <a:pt x="0" y="20425"/>
                  <a:pt x="0" y="19981"/>
                </a:cubicBezTo>
                <a:lnTo>
                  <a:pt x="0" y="12782"/>
                </a:lnTo>
                <a:lnTo>
                  <a:pt x="8355" y="12782"/>
                </a:lnTo>
                <a:cubicBezTo>
                  <a:pt x="8340" y="12841"/>
                  <a:pt x="8333" y="12929"/>
                  <a:pt x="8333" y="13052"/>
                </a:cubicBezTo>
                <a:lnTo>
                  <a:pt x="8333" y="15199"/>
                </a:lnTo>
                <a:cubicBezTo>
                  <a:pt x="8333" y="15713"/>
                  <a:pt x="8482" y="16160"/>
                  <a:pt x="8783" y="16542"/>
                </a:cubicBezTo>
                <a:cubicBezTo>
                  <a:pt x="9085" y="16921"/>
                  <a:pt x="9462" y="17112"/>
                  <a:pt x="9914" y="17112"/>
                </a:cubicBezTo>
                <a:lnTo>
                  <a:pt x="11707" y="17112"/>
                </a:lnTo>
                <a:cubicBezTo>
                  <a:pt x="12137" y="17112"/>
                  <a:pt x="12507" y="16924"/>
                  <a:pt x="12816" y="16548"/>
                </a:cubicBezTo>
                <a:cubicBezTo>
                  <a:pt x="13124" y="16175"/>
                  <a:pt x="13278" y="15725"/>
                  <a:pt x="13278" y="15199"/>
                </a:cubicBezTo>
                <a:lnTo>
                  <a:pt x="13278" y="13052"/>
                </a:lnTo>
                <a:cubicBezTo>
                  <a:pt x="13278" y="12938"/>
                  <a:pt x="13266" y="12847"/>
                  <a:pt x="13242" y="12782"/>
                </a:cubicBezTo>
                <a:lnTo>
                  <a:pt x="21599" y="12782"/>
                </a:lnTo>
                <a:close/>
                <a:moveTo>
                  <a:pt x="8108" y="4320"/>
                </a:moveTo>
                <a:lnTo>
                  <a:pt x="13511" y="4320"/>
                </a:lnTo>
                <a:lnTo>
                  <a:pt x="13511" y="2170"/>
                </a:lnTo>
                <a:lnTo>
                  <a:pt x="8108" y="2170"/>
                </a:lnTo>
                <a:lnTo>
                  <a:pt x="8108" y="4320"/>
                </a:lnTo>
                <a:close/>
                <a:moveTo>
                  <a:pt x="11707" y="12782"/>
                </a:moveTo>
                <a:cubicBezTo>
                  <a:pt x="11849" y="12782"/>
                  <a:pt x="11922" y="12873"/>
                  <a:pt x="11929" y="13052"/>
                </a:cubicBezTo>
                <a:lnTo>
                  <a:pt x="11929" y="15199"/>
                </a:lnTo>
                <a:cubicBezTo>
                  <a:pt x="11929" y="15367"/>
                  <a:pt x="11856" y="15455"/>
                  <a:pt x="11707" y="15467"/>
                </a:cubicBezTo>
                <a:lnTo>
                  <a:pt x="9914" y="15467"/>
                </a:lnTo>
                <a:cubicBezTo>
                  <a:pt x="9758" y="15467"/>
                  <a:pt x="9675" y="15379"/>
                  <a:pt x="9667" y="15199"/>
                </a:cubicBezTo>
                <a:lnTo>
                  <a:pt x="9667" y="13052"/>
                </a:lnTo>
                <a:cubicBezTo>
                  <a:pt x="9667" y="12882"/>
                  <a:pt x="9750" y="12794"/>
                  <a:pt x="9914" y="12782"/>
                </a:cubicBezTo>
                <a:lnTo>
                  <a:pt x="11707" y="12782"/>
                </a:lnTo>
                <a:close/>
              </a:path>
            </a:pathLst>
          </a:custGeom>
          <a:solidFill>
            <a:srgbClr val="EE9524"/>
          </a:solidFill>
          <a:ln>
            <a:solidFill>
              <a:srgbClr val="EE9524"/>
            </a:solidFill>
          </a:ln>
          <a:effectLst/>
          <a:extLst/>
        </p:spPr>
        <p:txBody>
          <a:bodyPr lIns="38100" tIns="38100" rIns="38100" bIns="38100" anchor="ctr"/>
          <a:lstStyle/>
          <a:p>
            <a:pPr defTabSz="342519">
              <a:defRPr/>
            </a:pPr>
            <a:endParaRPr lang="es-ES" sz="210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069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CF28EE-A360-46B6-9D76-D2CA1E8777C8}"/>
              </a:ext>
            </a:extLst>
          </p:cNvPr>
          <p:cNvCxnSpPr>
            <a:cxnSpLocks/>
          </p:cNvCxnSpPr>
          <p:nvPr/>
        </p:nvCxnSpPr>
        <p:spPr>
          <a:xfrm>
            <a:off x="6105679" y="0"/>
            <a:ext cx="0" cy="6858000"/>
          </a:xfrm>
          <a:prstGeom prst="line">
            <a:avLst/>
          </a:prstGeom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457136F-E886-4646-B8A2-BD6F5A7BCC5E}"/>
              </a:ext>
            </a:extLst>
          </p:cNvPr>
          <p:cNvSpPr txBox="1"/>
          <p:nvPr/>
        </p:nvSpPr>
        <p:spPr>
          <a:xfrm>
            <a:off x="4194298" y="2406927"/>
            <a:ext cx="16292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9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0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585C00-05E0-4883-9190-5990845EE348}"/>
              </a:ext>
            </a:extLst>
          </p:cNvPr>
          <p:cNvSpPr txBox="1"/>
          <p:nvPr/>
        </p:nvSpPr>
        <p:spPr>
          <a:xfrm>
            <a:off x="7964235" y="2764154"/>
            <a:ext cx="3834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ступ к новым </a:t>
            </a: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м </a:t>
            </a:r>
            <a:endParaRPr lang="ru-RU" sz="20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377">
              <a:defRPr/>
            </a:pPr>
            <a:endParaRPr lang="ru-RU" sz="20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2F30479-59C3-4007-9D72-45C1977815ED}"/>
              </a:ext>
            </a:extLst>
          </p:cNvPr>
          <p:cNvGrpSpPr/>
          <p:nvPr/>
        </p:nvGrpSpPr>
        <p:grpSpPr>
          <a:xfrm>
            <a:off x="4418647" y="3682470"/>
            <a:ext cx="5935595" cy="336551"/>
            <a:chOff x="4422221" y="3127375"/>
            <a:chExt cx="5935594" cy="336550"/>
          </a:xfrm>
          <a:solidFill>
            <a:schemeClr val="tx1">
              <a:lumMod val="95000"/>
              <a:lumOff val="5000"/>
            </a:schemeClr>
          </a:solidFill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8A0193E-C41C-46B0-9C39-BB9B95D912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22221" y="3295567"/>
              <a:ext cx="5935594" cy="0"/>
            </a:xfrm>
            <a:prstGeom prst="line">
              <a:avLst/>
            </a:prstGeom>
            <a:grpFill/>
            <a:ln w="31750" cap="rnd">
              <a:solidFill>
                <a:schemeClr val="tx1">
                  <a:lumMod val="95000"/>
                  <a:lumOff val="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1BD03F9-C5A7-4EA7-A8F9-E5EA204140FE}"/>
                </a:ext>
              </a:extLst>
            </p:cNvPr>
            <p:cNvSpPr/>
            <p:nvPr/>
          </p:nvSpPr>
          <p:spPr>
            <a:xfrm>
              <a:off x="5967483" y="3153880"/>
              <a:ext cx="283540" cy="283540"/>
            </a:xfrm>
            <a:prstGeom prst="ellipse">
              <a:avLst/>
            </a:prstGeom>
            <a:solidFill>
              <a:srgbClr val="EE9524"/>
            </a:solidFill>
            <a:ln>
              <a:solidFill>
                <a:srgbClr val="EE95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27" name="Circle: Hollow 26">
              <a:extLst>
                <a:ext uri="{FF2B5EF4-FFF2-40B4-BE49-F238E27FC236}">
                  <a16:creationId xmlns:a16="http://schemas.microsoft.com/office/drawing/2014/main" id="{A976E9F3-FF31-4223-A98B-FE04C2010639}"/>
                </a:ext>
              </a:extLst>
            </p:cNvPr>
            <p:cNvSpPr/>
            <p:nvPr/>
          </p:nvSpPr>
          <p:spPr>
            <a:xfrm>
              <a:off x="5940978" y="3127375"/>
              <a:ext cx="336550" cy="336550"/>
            </a:xfrm>
            <a:prstGeom prst="donut">
              <a:avLst>
                <a:gd name="adj" fmla="val 7064"/>
              </a:avLst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31A9D28-1400-44DE-90B0-B91A38328D3B}"/>
                </a:ext>
              </a:extLst>
            </p:cNvPr>
            <p:cNvSpPr/>
            <p:nvPr/>
          </p:nvSpPr>
          <p:spPr>
            <a:xfrm>
              <a:off x="6033053" y="3219450"/>
              <a:ext cx="152400" cy="152400"/>
            </a:xfrm>
            <a:prstGeom prst="ellipse">
              <a:avLst/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97D3E2F-487F-4E91-A855-5F21A52081E1}"/>
              </a:ext>
            </a:extLst>
          </p:cNvPr>
          <p:cNvGrpSpPr/>
          <p:nvPr/>
        </p:nvGrpSpPr>
        <p:grpSpPr>
          <a:xfrm>
            <a:off x="878238" y="192676"/>
            <a:ext cx="7085997" cy="1604585"/>
            <a:chOff x="894511" y="233740"/>
            <a:chExt cx="7085997" cy="160458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446595E-D72E-4DD1-947B-6689D008485A}"/>
                </a:ext>
              </a:extLst>
            </p:cNvPr>
            <p:cNvGrpSpPr/>
            <p:nvPr/>
          </p:nvGrpSpPr>
          <p:grpSpPr>
            <a:xfrm>
              <a:off x="1858584" y="1501775"/>
              <a:ext cx="5824916" cy="336550"/>
              <a:chOff x="1796261" y="3127375"/>
              <a:chExt cx="5914711" cy="336550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AB778996-AD30-4FBF-A783-1332ACBC832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96261" y="3295567"/>
                <a:ext cx="5914711" cy="0"/>
              </a:xfrm>
              <a:prstGeom prst="line">
                <a:avLst/>
              </a:prstGeom>
              <a:ln w="31750" cap="rnd">
                <a:solidFill>
                  <a:schemeClr val="tx1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C3F866E-413D-401C-AD9F-F8C2AEA5119B}"/>
                  </a:ext>
                </a:extLst>
              </p:cNvPr>
              <p:cNvSpPr/>
              <p:nvPr/>
            </p:nvSpPr>
            <p:spPr>
              <a:xfrm>
                <a:off x="5967483" y="3153880"/>
                <a:ext cx="283540" cy="283540"/>
              </a:xfrm>
              <a:prstGeom prst="ellipse">
                <a:avLst/>
              </a:prstGeom>
              <a:solidFill>
                <a:srgbClr val="EE9524"/>
              </a:solidFill>
              <a:ln>
                <a:solidFill>
                  <a:srgbClr val="EE952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Circle: Hollow 12">
                <a:extLst>
                  <a:ext uri="{FF2B5EF4-FFF2-40B4-BE49-F238E27FC236}">
                    <a16:creationId xmlns:a16="http://schemas.microsoft.com/office/drawing/2014/main" id="{A443766E-CCA8-406C-ACC0-5D2E9F077FE8}"/>
                  </a:ext>
                </a:extLst>
              </p:cNvPr>
              <p:cNvSpPr/>
              <p:nvPr/>
            </p:nvSpPr>
            <p:spPr>
              <a:xfrm>
                <a:off x="5940978" y="3127375"/>
                <a:ext cx="336550" cy="336550"/>
              </a:xfrm>
              <a:prstGeom prst="donut">
                <a:avLst>
                  <a:gd name="adj" fmla="val 7064"/>
                </a:avLst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0DB6A4C-91D6-407D-91BF-A87FED17C39F}"/>
                  </a:ext>
                </a:extLst>
              </p:cNvPr>
              <p:cNvSpPr/>
              <p:nvPr/>
            </p:nvSpPr>
            <p:spPr>
              <a:xfrm>
                <a:off x="6033053" y="3219450"/>
                <a:ext cx="152400" cy="152400"/>
              </a:xfrm>
              <a:prstGeom prst="ellips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01181C0-CF60-423E-837F-F4EB8CEDDE04}"/>
                </a:ext>
              </a:extLst>
            </p:cNvPr>
            <p:cNvSpPr txBox="1"/>
            <p:nvPr/>
          </p:nvSpPr>
          <p:spPr>
            <a:xfrm>
              <a:off x="6351223" y="233740"/>
              <a:ext cx="162928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96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gency FB" panose="020B0503020202020204" pitchFamily="34" charset="0"/>
                </a:rPr>
                <a:t>03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7DCDC61-A70B-43BA-A3BC-6F2EB8110427}"/>
                </a:ext>
              </a:extLst>
            </p:cNvPr>
            <p:cNvSpPr txBox="1"/>
            <p:nvPr/>
          </p:nvSpPr>
          <p:spPr>
            <a:xfrm>
              <a:off x="894511" y="475137"/>
              <a:ext cx="390385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странение неэффективности </a:t>
              </a: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правления </a:t>
              </a:r>
              <a:endPara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F213348-5BAD-42BB-9340-354673EBF8F2}"/>
                </a:ext>
              </a:extLst>
            </p:cNvPr>
            <p:cNvSpPr/>
            <p:nvPr/>
          </p:nvSpPr>
          <p:spPr>
            <a:xfrm>
              <a:off x="4654073" y="572966"/>
              <a:ext cx="838200" cy="83820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41D4A034-A8E6-484F-9042-245CDC567591}"/>
              </a:ext>
            </a:extLst>
          </p:cNvPr>
          <p:cNvSpPr/>
          <p:nvPr/>
        </p:nvSpPr>
        <p:spPr>
          <a:xfrm>
            <a:off x="6771903" y="2728953"/>
            <a:ext cx="838200" cy="838200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black">
                  <a:lumMod val="95000"/>
                  <a:lumOff val="5000"/>
                </a:prstClr>
              </a:solidFill>
              <a:latin typeface="Calibri" panose="020F0502020204030204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BE78EC2-2387-4D3A-9CAD-2A27506E5AE4}"/>
              </a:ext>
            </a:extLst>
          </p:cNvPr>
          <p:cNvGrpSpPr/>
          <p:nvPr/>
        </p:nvGrpSpPr>
        <p:grpSpPr>
          <a:xfrm>
            <a:off x="1709574" y="4618028"/>
            <a:ext cx="6254661" cy="1604585"/>
            <a:chOff x="1713147" y="233740"/>
            <a:chExt cx="6254661" cy="1604585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8BA2771-C9E3-44F3-BD77-D657DE156F8C}"/>
                </a:ext>
              </a:extLst>
            </p:cNvPr>
            <p:cNvGrpSpPr/>
            <p:nvPr/>
          </p:nvGrpSpPr>
          <p:grpSpPr>
            <a:xfrm>
              <a:off x="1858583" y="1501775"/>
              <a:ext cx="5824917" cy="336550"/>
              <a:chOff x="1796260" y="3127375"/>
              <a:chExt cx="5914713" cy="336550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985DC68-6AF1-4498-911F-A92816E066A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96260" y="3295567"/>
                <a:ext cx="5914713" cy="0"/>
              </a:xfrm>
              <a:prstGeom prst="line">
                <a:avLst/>
              </a:prstGeom>
              <a:ln w="31750" cap="rnd">
                <a:solidFill>
                  <a:schemeClr val="tx1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4D9C89A5-98C5-42D9-9023-A70CB8909CF4}"/>
                  </a:ext>
                </a:extLst>
              </p:cNvPr>
              <p:cNvSpPr/>
              <p:nvPr/>
            </p:nvSpPr>
            <p:spPr>
              <a:xfrm>
                <a:off x="5967483" y="3153880"/>
                <a:ext cx="283540" cy="283540"/>
              </a:xfrm>
              <a:prstGeom prst="ellipse">
                <a:avLst/>
              </a:prstGeom>
              <a:solidFill>
                <a:srgbClr val="EE9524"/>
              </a:solidFill>
              <a:ln>
                <a:solidFill>
                  <a:srgbClr val="EE952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Circle: Hollow 52">
                <a:extLst>
                  <a:ext uri="{FF2B5EF4-FFF2-40B4-BE49-F238E27FC236}">
                    <a16:creationId xmlns:a16="http://schemas.microsoft.com/office/drawing/2014/main" id="{8A117738-5A9B-49A2-91BF-766758E4D870}"/>
                  </a:ext>
                </a:extLst>
              </p:cNvPr>
              <p:cNvSpPr/>
              <p:nvPr/>
            </p:nvSpPr>
            <p:spPr>
              <a:xfrm>
                <a:off x="5940978" y="3127375"/>
                <a:ext cx="336550" cy="336550"/>
              </a:xfrm>
              <a:prstGeom prst="donut">
                <a:avLst>
                  <a:gd name="adj" fmla="val 7064"/>
                </a:avLst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8028B8DE-057A-4F37-B4A0-CFB5171B2CFC}"/>
                  </a:ext>
                </a:extLst>
              </p:cNvPr>
              <p:cNvSpPr/>
              <p:nvPr/>
            </p:nvSpPr>
            <p:spPr>
              <a:xfrm>
                <a:off x="6033053" y="3219450"/>
                <a:ext cx="152400" cy="152400"/>
              </a:xfrm>
              <a:prstGeom prst="ellips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600B5E1-8239-47C1-9DC8-A00A94693569}"/>
                </a:ext>
              </a:extLst>
            </p:cNvPr>
            <p:cNvSpPr txBox="1"/>
            <p:nvPr/>
          </p:nvSpPr>
          <p:spPr>
            <a:xfrm>
              <a:off x="6338523" y="233740"/>
              <a:ext cx="162928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96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gency FB" panose="020B0503020202020204" pitchFamily="34" charset="0"/>
                </a:rPr>
                <a:t>05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A61BB4C-96A2-4D00-9112-5BFC98F25CEE}"/>
                </a:ext>
              </a:extLst>
            </p:cNvPr>
            <p:cNvSpPr txBox="1"/>
            <p:nvPr/>
          </p:nvSpPr>
          <p:spPr>
            <a:xfrm>
              <a:off x="1713147" y="616865"/>
              <a:ext cx="280020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инансовая </a:t>
              </a: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инергия </a:t>
              </a:r>
              <a:endPara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6D499F0-3920-4527-8086-8260E495F9C6}"/>
                </a:ext>
              </a:extLst>
            </p:cNvPr>
            <p:cNvSpPr/>
            <p:nvPr/>
          </p:nvSpPr>
          <p:spPr>
            <a:xfrm>
              <a:off x="4654073" y="572966"/>
              <a:ext cx="838200" cy="83820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32" name="Shape 2538"/>
          <p:cNvSpPr/>
          <p:nvPr/>
        </p:nvSpPr>
        <p:spPr>
          <a:xfrm>
            <a:off x="4869297" y="682907"/>
            <a:ext cx="374035" cy="4885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rgbClr val="EE9524"/>
          </a:solidFill>
          <a:ln w="12700">
            <a:solidFill>
              <a:srgbClr val="EE9524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3" name="Shape 2787"/>
          <p:cNvSpPr/>
          <p:nvPr/>
        </p:nvSpPr>
        <p:spPr>
          <a:xfrm>
            <a:off x="6964779" y="2939969"/>
            <a:ext cx="454592" cy="4417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6" h="21600" extrusionOk="0">
                <a:moveTo>
                  <a:pt x="11502" y="10309"/>
                </a:moveTo>
                <a:cubicBezTo>
                  <a:pt x="11767" y="10309"/>
                  <a:pt x="11981" y="10090"/>
                  <a:pt x="11981" y="9818"/>
                </a:cubicBezTo>
                <a:cubicBezTo>
                  <a:pt x="11981" y="9547"/>
                  <a:pt x="11767" y="9327"/>
                  <a:pt x="11502" y="9327"/>
                </a:cubicBezTo>
                <a:cubicBezTo>
                  <a:pt x="11237" y="9327"/>
                  <a:pt x="11022" y="9547"/>
                  <a:pt x="11022" y="9818"/>
                </a:cubicBezTo>
                <a:cubicBezTo>
                  <a:pt x="11022" y="10090"/>
                  <a:pt x="11237" y="10309"/>
                  <a:pt x="11502" y="10309"/>
                </a:cubicBezTo>
                <a:moveTo>
                  <a:pt x="15818" y="4909"/>
                </a:moveTo>
                <a:cubicBezTo>
                  <a:pt x="16083" y="4909"/>
                  <a:pt x="16297" y="5129"/>
                  <a:pt x="16297" y="5400"/>
                </a:cubicBezTo>
                <a:cubicBezTo>
                  <a:pt x="16297" y="5672"/>
                  <a:pt x="16083" y="5891"/>
                  <a:pt x="15818" y="5891"/>
                </a:cubicBezTo>
                <a:cubicBezTo>
                  <a:pt x="15553" y="5891"/>
                  <a:pt x="15338" y="5672"/>
                  <a:pt x="15338" y="5400"/>
                </a:cubicBezTo>
                <a:cubicBezTo>
                  <a:pt x="15338" y="5129"/>
                  <a:pt x="15553" y="4909"/>
                  <a:pt x="15818" y="4909"/>
                </a:cubicBezTo>
                <a:moveTo>
                  <a:pt x="15818" y="6873"/>
                </a:moveTo>
                <a:cubicBezTo>
                  <a:pt x="16612" y="6873"/>
                  <a:pt x="17256" y="6213"/>
                  <a:pt x="17256" y="5400"/>
                </a:cubicBezTo>
                <a:cubicBezTo>
                  <a:pt x="17256" y="4587"/>
                  <a:pt x="16612" y="3928"/>
                  <a:pt x="15818" y="3928"/>
                </a:cubicBezTo>
                <a:cubicBezTo>
                  <a:pt x="15023" y="3928"/>
                  <a:pt x="14379" y="4587"/>
                  <a:pt x="14379" y="5400"/>
                </a:cubicBezTo>
                <a:cubicBezTo>
                  <a:pt x="14379" y="6213"/>
                  <a:pt x="15023" y="6873"/>
                  <a:pt x="15818" y="6873"/>
                </a:cubicBezTo>
                <a:moveTo>
                  <a:pt x="12941" y="11782"/>
                </a:moveTo>
                <a:cubicBezTo>
                  <a:pt x="13206" y="11782"/>
                  <a:pt x="13420" y="11562"/>
                  <a:pt x="13420" y="11291"/>
                </a:cubicBezTo>
                <a:cubicBezTo>
                  <a:pt x="13420" y="11020"/>
                  <a:pt x="13206" y="10800"/>
                  <a:pt x="12941" y="10800"/>
                </a:cubicBezTo>
                <a:cubicBezTo>
                  <a:pt x="12675" y="10800"/>
                  <a:pt x="12461" y="11020"/>
                  <a:pt x="12461" y="11291"/>
                </a:cubicBezTo>
                <a:cubicBezTo>
                  <a:pt x="12461" y="11562"/>
                  <a:pt x="12675" y="11782"/>
                  <a:pt x="12941" y="11782"/>
                </a:cubicBezTo>
                <a:moveTo>
                  <a:pt x="10063" y="7855"/>
                </a:moveTo>
                <a:cubicBezTo>
                  <a:pt x="9798" y="7855"/>
                  <a:pt x="9584" y="8074"/>
                  <a:pt x="9584" y="8346"/>
                </a:cubicBezTo>
                <a:cubicBezTo>
                  <a:pt x="9584" y="8617"/>
                  <a:pt x="9798" y="8836"/>
                  <a:pt x="10063" y="8836"/>
                </a:cubicBezTo>
                <a:cubicBezTo>
                  <a:pt x="10328" y="8836"/>
                  <a:pt x="10543" y="8617"/>
                  <a:pt x="10543" y="8346"/>
                </a:cubicBezTo>
                <a:cubicBezTo>
                  <a:pt x="10543" y="8074"/>
                  <a:pt x="10328" y="7855"/>
                  <a:pt x="10063" y="7855"/>
                </a:cubicBezTo>
                <a:moveTo>
                  <a:pt x="1718" y="19842"/>
                </a:moveTo>
                <a:lnTo>
                  <a:pt x="3451" y="15392"/>
                </a:lnTo>
                <a:cubicBezTo>
                  <a:pt x="3684" y="15834"/>
                  <a:pt x="3973" y="16253"/>
                  <a:pt x="4312" y="16642"/>
                </a:cubicBezTo>
                <a:cubicBezTo>
                  <a:pt x="4824" y="17230"/>
                  <a:pt x="5418" y="17711"/>
                  <a:pt x="6061" y="18068"/>
                </a:cubicBezTo>
                <a:cubicBezTo>
                  <a:pt x="6061" y="18068"/>
                  <a:pt x="1718" y="19842"/>
                  <a:pt x="1718" y="19842"/>
                </a:cubicBezTo>
                <a:close/>
                <a:moveTo>
                  <a:pt x="3717" y="12060"/>
                </a:moveTo>
                <a:lnTo>
                  <a:pt x="0" y="21600"/>
                </a:lnTo>
                <a:lnTo>
                  <a:pt x="9319" y="17795"/>
                </a:lnTo>
                <a:cubicBezTo>
                  <a:pt x="9153" y="17815"/>
                  <a:pt x="8987" y="17824"/>
                  <a:pt x="8822" y="17824"/>
                </a:cubicBezTo>
                <a:cubicBezTo>
                  <a:pt x="5971" y="17824"/>
                  <a:pt x="3389" y="15002"/>
                  <a:pt x="3717" y="12060"/>
                </a:cubicBezTo>
                <a:moveTo>
                  <a:pt x="16115" y="10657"/>
                </a:moveTo>
                <a:cubicBezTo>
                  <a:pt x="15925" y="10851"/>
                  <a:pt x="15627" y="11171"/>
                  <a:pt x="15280" y="11542"/>
                </a:cubicBezTo>
                <a:cubicBezTo>
                  <a:pt x="14662" y="12204"/>
                  <a:pt x="13712" y="13221"/>
                  <a:pt x="13147" y="13753"/>
                </a:cubicBezTo>
                <a:lnTo>
                  <a:pt x="7665" y="8141"/>
                </a:lnTo>
                <a:cubicBezTo>
                  <a:pt x="8185" y="7563"/>
                  <a:pt x="9179" y="6590"/>
                  <a:pt x="9825" y="5958"/>
                </a:cubicBezTo>
                <a:cubicBezTo>
                  <a:pt x="10188" y="5603"/>
                  <a:pt x="10500" y="5298"/>
                  <a:pt x="10690" y="5103"/>
                </a:cubicBezTo>
                <a:cubicBezTo>
                  <a:pt x="13284" y="2447"/>
                  <a:pt x="18271" y="993"/>
                  <a:pt x="20136" y="982"/>
                </a:cubicBezTo>
                <a:cubicBezTo>
                  <a:pt x="20132" y="2572"/>
                  <a:pt x="18824" y="7884"/>
                  <a:pt x="16115" y="10657"/>
                </a:cubicBezTo>
                <a:moveTo>
                  <a:pt x="12477" y="14563"/>
                </a:moveTo>
                <a:cubicBezTo>
                  <a:pt x="12127" y="15873"/>
                  <a:pt x="11665" y="17072"/>
                  <a:pt x="11154" y="18035"/>
                </a:cubicBezTo>
                <a:cubicBezTo>
                  <a:pt x="10943" y="17454"/>
                  <a:pt x="10642" y="16798"/>
                  <a:pt x="10214" y="16110"/>
                </a:cubicBezTo>
                <a:cubicBezTo>
                  <a:pt x="10035" y="15823"/>
                  <a:pt x="9728" y="15656"/>
                  <a:pt x="9405" y="15656"/>
                </a:cubicBezTo>
                <a:cubicBezTo>
                  <a:pt x="9329" y="15656"/>
                  <a:pt x="9252" y="15665"/>
                  <a:pt x="9176" y="15684"/>
                </a:cubicBezTo>
                <a:cubicBezTo>
                  <a:pt x="8990" y="15731"/>
                  <a:pt x="8799" y="15755"/>
                  <a:pt x="8610" y="15755"/>
                </a:cubicBezTo>
                <a:cubicBezTo>
                  <a:pt x="7905" y="15755"/>
                  <a:pt x="7217" y="15432"/>
                  <a:pt x="6621" y="14822"/>
                </a:cubicBezTo>
                <a:cubicBezTo>
                  <a:pt x="5861" y="14044"/>
                  <a:pt x="5561" y="13114"/>
                  <a:pt x="5779" y="12206"/>
                </a:cubicBezTo>
                <a:cubicBezTo>
                  <a:pt x="5877" y="11797"/>
                  <a:pt x="5709" y="11370"/>
                  <a:pt x="5363" y="11144"/>
                </a:cubicBezTo>
                <a:cubicBezTo>
                  <a:pt x="4690" y="10706"/>
                  <a:pt x="4050" y="10398"/>
                  <a:pt x="3482" y="10183"/>
                </a:cubicBezTo>
                <a:cubicBezTo>
                  <a:pt x="4423" y="9658"/>
                  <a:pt x="5594" y="9186"/>
                  <a:pt x="6874" y="8827"/>
                </a:cubicBezTo>
                <a:cubicBezTo>
                  <a:pt x="6900" y="8820"/>
                  <a:pt x="6921" y="8803"/>
                  <a:pt x="6946" y="8793"/>
                </a:cubicBezTo>
                <a:lnTo>
                  <a:pt x="12510" y="14490"/>
                </a:lnTo>
                <a:cubicBezTo>
                  <a:pt x="12501" y="14515"/>
                  <a:pt x="12484" y="14536"/>
                  <a:pt x="12477" y="14563"/>
                </a:cubicBezTo>
                <a:moveTo>
                  <a:pt x="20922" y="167"/>
                </a:moveTo>
                <a:cubicBezTo>
                  <a:pt x="20813" y="55"/>
                  <a:pt x="20545" y="0"/>
                  <a:pt x="20157" y="0"/>
                </a:cubicBezTo>
                <a:cubicBezTo>
                  <a:pt x="18131" y="0"/>
                  <a:pt x="12842" y="1511"/>
                  <a:pt x="10012" y="4409"/>
                </a:cubicBezTo>
                <a:cubicBezTo>
                  <a:pt x="9345" y="5092"/>
                  <a:pt x="7134" y="7175"/>
                  <a:pt x="6621" y="7880"/>
                </a:cubicBezTo>
                <a:cubicBezTo>
                  <a:pt x="4961" y="8346"/>
                  <a:pt x="2544" y="9277"/>
                  <a:pt x="1196" y="10657"/>
                </a:cubicBezTo>
                <a:cubicBezTo>
                  <a:pt x="1196" y="10657"/>
                  <a:pt x="2841" y="10663"/>
                  <a:pt x="4848" y="11972"/>
                </a:cubicBezTo>
                <a:cubicBezTo>
                  <a:pt x="4556" y="13190"/>
                  <a:pt x="4926" y="14475"/>
                  <a:pt x="5943" y="15516"/>
                </a:cubicBezTo>
                <a:cubicBezTo>
                  <a:pt x="6735" y="16327"/>
                  <a:pt x="7672" y="16737"/>
                  <a:pt x="8610" y="16737"/>
                </a:cubicBezTo>
                <a:cubicBezTo>
                  <a:pt x="8876" y="16737"/>
                  <a:pt x="9142" y="16704"/>
                  <a:pt x="9405" y="16637"/>
                </a:cubicBezTo>
                <a:cubicBezTo>
                  <a:pt x="10683" y="18692"/>
                  <a:pt x="10690" y="20376"/>
                  <a:pt x="10690" y="20376"/>
                </a:cubicBezTo>
                <a:cubicBezTo>
                  <a:pt x="12038" y="18996"/>
                  <a:pt x="12948" y="16521"/>
                  <a:pt x="13402" y="14822"/>
                </a:cubicBezTo>
                <a:cubicBezTo>
                  <a:pt x="14091" y="14297"/>
                  <a:pt x="16126" y="12034"/>
                  <a:pt x="16793" y="11351"/>
                </a:cubicBezTo>
                <a:cubicBezTo>
                  <a:pt x="20164" y="7900"/>
                  <a:pt x="21600" y="861"/>
                  <a:pt x="20922" y="167"/>
                </a:cubicBezTo>
              </a:path>
            </a:pathLst>
          </a:custGeom>
          <a:solidFill>
            <a:srgbClr val="EE9524"/>
          </a:solidFill>
          <a:ln w="12700">
            <a:solidFill>
              <a:srgbClr val="EE9524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7" name="Freeform 35"/>
          <p:cNvSpPr>
            <a:spLocks noEditPoints="1"/>
          </p:cNvSpPr>
          <p:nvPr/>
        </p:nvSpPr>
        <p:spPr bwMode="auto">
          <a:xfrm>
            <a:off x="4865809" y="5110398"/>
            <a:ext cx="407583" cy="489399"/>
          </a:xfrm>
          <a:custGeom>
            <a:avLst/>
            <a:gdLst/>
            <a:ahLst/>
            <a:cxnLst>
              <a:cxn ang="0">
                <a:pos x="37" y="23"/>
              </a:cxn>
              <a:cxn ang="0">
                <a:pos x="37" y="3"/>
              </a:cxn>
              <a:cxn ang="0">
                <a:pos x="40" y="3"/>
              </a:cxn>
              <a:cxn ang="0">
                <a:pos x="40" y="0"/>
              </a:cxn>
              <a:cxn ang="0">
                <a:pos x="17" y="0"/>
              </a:cxn>
              <a:cxn ang="0">
                <a:pos x="17" y="3"/>
              </a:cxn>
              <a:cxn ang="0">
                <a:pos x="20" y="3"/>
              </a:cxn>
              <a:cxn ang="0">
                <a:pos x="20" y="23"/>
              </a:cxn>
              <a:cxn ang="0">
                <a:pos x="0" y="60"/>
              </a:cxn>
              <a:cxn ang="0">
                <a:pos x="9" y="69"/>
              </a:cxn>
              <a:cxn ang="0">
                <a:pos x="49" y="69"/>
              </a:cxn>
              <a:cxn ang="0">
                <a:pos x="57" y="60"/>
              </a:cxn>
              <a:cxn ang="0">
                <a:pos x="37" y="23"/>
              </a:cxn>
              <a:cxn ang="0">
                <a:pos x="49" y="66"/>
              </a:cxn>
              <a:cxn ang="0">
                <a:pos x="9" y="66"/>
              </a:cxn>
              <a:cxn ang="0">
                <a:pos x="3" y="60"/>
              </a:cxn>
              <a:cxn ang="0">
                <a:pos x="22" y="24"/>
              </a:cxn>
              <a:cxn ang="0">
                <a:pos x="23" y="24"/>
              </a:cxn>
              <a:cxn ang="0">
                <a:pos x="23" y="3"/>
              </a:cxn>
              <a:cxn ang="0">
                <a:pos x="34" y="3"/>
              </a:cxn>
              <a:cxn ang="0">
                <a:pos x="34" y="24"/>
              </a:cxn>
              <a:cxn ang="0">
                <a:pos x="35" y="24"/>
              </a:cxn>
              <a:cxn ang="0">
                <a:pos x="54" y="60"/>
              </a:cxn>
              <a:cxn ang="0">
                <a:pos x="49" y="66"/>
              </a:cxn>
              <a:cxn ang="0">
                <a:pos x="20" y="55"/>
              </a:cxn>
              <a:cxn ang="0">
                <a:pos x="17" y="58"/>
              </a:cxn>
              <a:cxn ang="0">
                <a:pos x="14" y="55"/>
              </a:cxn>
              <a:cxn ang="0">
                <a:pos x="17" y="52"/>
              </a:cxn>
              <a:cxn ang="0">
                <a:pos x="20" y="55"/>
              </a:cxn>
              <a:cxn ang="0">
                <a:pos x="37" y="59"/>
              </a:cxn>
              <a:cxn ang="0">
                <a:pos x="33" y="63"/>
              </a:cxn>
              <a:cxn ang="0">
                <a:pos x="29" y="59"/>
              </a:cxn>
              <a:cxn ang="0">
                <a:pos x="33" y="55"/>
              </a:cxn>
              <a:cxn ang="0">
                <a:pos x="37" y="59"/>
              </a:cxn>
              <a:cxn ang="0">
                <a:pos x="30" y="54"/>
              </a:cxn>
              <a:cxn ang="0">
                <a:pos x="27" y="57"/>
              </a:cxn>
              <a:cxn ang="0">
                <a:pos x="23" y="54"/>
              </a:cxn>
              <a:cxn ang="0">
                <a:pos x="27" y="50"/>
              </a:cxn>
              <a:cxn ang="0">
                <a:pos x="30" y="54"/>
              </a:cxn>
              <a:cxn ang="0">
                <a:pos x="26" y="49"/>
              </a:cxn>
              <a:cxn ang="0">
                <a:pos x="21" y="44"/>
              </a:cxn>
              <a:cxn ang="0">
                <a:pos x="26" y="39"/>
              </a:cxn>
              <a:cxn ang="0">
                <a:pos x="31" y="44"/>
              </a:cxn>
              <a:cxn ang="0">
                <a:pos x="26" y="49"/>
              </a:cxn>
              <a:cxn ang="0">
                <a:pos x="34" y="44"/>
              </a:cxn>
              <a:cxn ang="0">
                <a:pos x="37" y="41"/>
              </a:cxn>
              <a:cxn ang="0">
                <a:pos x="40" y="44"/>
              </a:cxn>
              <a:cxn ang="0">
                <a:pos x="37" y="47"/>
              </a:cxn>
              <a:cxn ang="0">
                <a:pos x="34" y="44"/>
              </a:cxn>
              <a:cxn ang="0">
                <a:pos x="37" y="51"/>
              </a:cxn>
              <a:cxn ang="0">
                <a:pos x="35" y="53"/>
              </a:cxn>
              <a:cxn ang="0">
                <a:pos x="33" y="51"/>
              </a:cxn>
              <a:cxn ang="0">
                <a:pos x="35" y="49"/>
              </a:cxn>
              <a:cxn ang="0">
                <a:pos x="37" y="51"/>
              </a:cxn>
              <a:cxn ang="0">
                <a:pos x="37" y="51"/>
              </a:cxn>
              <a:cxn ang="0">
                <a:pos x="37" y="51"/>
              </a:cxn>
            </a:cxnLst>
            <a:rect l="0" t="0" r="r" b="b"/>
            <a:pathLst>
              <a:path w="57" h="69">
                <a:moveTo>
                  <a:pt x="37" y="23"/>
                </a:moveTo>
                <a:cubicBezTo>
                  <a:pt x="37" y="3"/>
                  <a:pt x="37" y="3"/>
                  <a:pt x="37" y="3"/>
                </a:cubicBezTo>
                <a:cubicBezTo>
                  <a:pt x="40" y="3"/>
                  <a:pt x="40" y="3"/>
                  <a:pt x="40" y="3"/>
                </a:cubicBezTo>
                <a:cubicBezTo>
                  <a:pt x="40" y="0"/>
                  <a:pt x="40" y="0"/>
                  <a:pt x="40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20" y="3"/>
                  <a:pt x="20" y="3"/>
                  <a:pt x="20" y="3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0" y="51"/>
                  <a:pt x="0" y="60"/>
                </a:cubicBezTo>
                <a:cubicBezTo>
                  <a:pt x="0" y="69"/>
                  <a:pt x="9" y="69"/>
                  <a:pt x="9" y="69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69"/>
                  <a:pt x="57" y="69"/>
                  <a:pt x="57" y="60"/>
                </a:cubicBezTo>
                <a:cubicBezTo>
                  <a:pt x="57" y="51"/>
                  <a:pt x="37" y="23"/>
                  <a:pt x="37" y="23"/>
                </a:cubicBezTo>
                <a:close/>
                <a:moveTo>
                  <a:pt x="49" y="66"/>
                </a:moveTo>
                <a:cubicBezTo>
                  <a:pt x="9" y="66"/>
                  <a:pt x="9" y="66"/>
                  <a:pt x="9" y="66"/>
                </a:cubicBezTo>
                <a:cubicBezTo>
                  <a:pt x="8" y="66"/>
                  <a:pt x="3" y="65"/>
                  <a:pt x="3" y="60"/>
                </a:cubicBezTo>
                <a:cubicBezTo>
                  <a:pt x="3" y="54"/>
                  <a:pt x="15" y="35"/>
                  <a:pt x="22" y="24"/>
                </a:cubicBezTo>
                <a:cubicBezTo>
                  <a:pt x="23" y="24"/>
                  <a:pt x="23" y="24"/>
                  <a:pt x="23" y="24"/>
                </a:cubicBezTo>
                <a:cubicBezTo>
                  <a:pt x="23" y="3"/>
                  <a:pt x="23" y="3"/>
                  <a:pt x="23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24"/>
                  <a:pt x="34" y="24"/>
                  <a:pt x="34" y="24"/>
                </a:cubicBezTo>
                <a:cubicBezTo>
                  <a:pt x="35" y="24"/>
                  <a:pt x="35" y="24"/>
                  <a:pt x="35" y="24"/>
                </a:cubicBezTo>
                <a:cubicBezTo>
                  <a:pt x="42" y="35"/>
                  <a:pt x="54" y="54"/>
                  <a:pt x="54" y="60"/>
                </a:cubicBezTo>
                <a:cubicBezTo>
                  <a:pt x="54" y="65"/>
                  <a:pt x="50" y="66"/>
                  <a:pt x="49" y="66"/>
                </a:cubicBezTo>
                <a:close/>
                <a:moveTo>
                  <a:pt x="20" y="55"/>
                </a:moveTo>
                <a:cubicBezTo>
                  <a:pt x="20" y="56"/>
                  <a:pt x="19" y="58"/>
                  <a:pt x="17" y="58"/>
                </a:cubicBezTo>
                <a:cubicBezTo>
                  <a:pt x="16" y="58"/>
                  <a:pt x="14" y="56"/>
                  <a:pt x="14" y="55"/>
                </a:cubicBezTo>
                <a:cubicBezTo>
                  <a:pt x="14" y="53"/>
                  <a:pt x="16" y="52"/>
                  <a:pt x="17" y="52"/>
                </a:cubicBezTo>
                <a:cubicBezTo>
                  <a:pt x="19" y="52"/>
                  <a:pt x="20" y="53"/>
                  <a:pt x="20" y="55"/>
                </a:cubicBezTo>
                <a:close/>
                <a:moveTo>
                  <a:pt x="37" y="59"/>
                </a:moveTo>
                <a:cubicBezTo>
                  <a:pt x="37" y="61"/>
                  <a:pt x="35" y="63"/>
                  <a:pt x="33" y="63"/>
                </a:cubicBezTo>
                <a:cubicBezTo>
                  <a:pt x="31" y="63"/>
                  <a:pt x="29" y="61"/>
                  <a:pt x="29" y="59"/>
                </a:cubicBezTo>
                <a:cubicBezTo>
                  <a:pt x="29" y="57"/>
                  <a:pt x="31" y="55"/>
                  <a:pt x="33" y="55"/>
                </a:cubicBezTo>
                <a:cubicBezTo>
                  <a:pt x="35" y="55"/>
                  <a:pt x="37" y="57"/>
                  <a:pt x="37" y="59"/>
                </a:cubicBezTo>
                <a:close/>
                <a:moveTo>
                  <a:pt x="30" y="54"/>
                </a:moveTo>
                <a:cubicBezTo>
                  <a:pt x="30" y="56"/>
                  <a:pt x="29" y="57"/>
                  <a:pt x="27" y="57"/>
                </a:cubicBezTo>
                <a:cubicBezTo>
                  <a:pt x="25" y="57"/>
                  <a:pt x="23" y="56"/>
                  <a:pt x="23" y="54"/>
                </a:cubicBezTo>
                <a:cubicBezTo>
                  <a:pt x="23" y="52"/>
                  <a:pt x="25" y="50"/>
                  <a:pt x="27" y="50"/>
                </a:cubicBezTo>
                <a:cubicBezTo>
                  <a:pt x="29" y="50"/>
                  <a:pt x="30" y="52"/>
                  <a:pt x="30" y="54"/>
                </a:cubicBezTo>
                <a:close/>
                <a:moveTo>
                  <a:pt x="26" y="49"/>
                </a:moveTo>
                <a:cubicBezTo>
                  <a:pt x="23" y="49"/>
                  <a:pt x="21" y="47"/>
                  <a:pt x="21" y="44"/>
                </a:cubicBezTo>
                <a:cubicBezTo>
                  <a:pt x="21" y="41"/>
                  <a:pt x="23" y="39"/>
                  <a:pt x="26" y="39"/>
                </a:cubicBezTo>
                <a:cubicBezTo>
                  <a:pt x="29" y="39"/>
                  <a:pt x="31" y="41"/>
                  <a:pt x="31" y="44"/>
                </a:cubicBezTo>
                <a:cubicBezTo>
                  <a:pt x="31" y="47"/>
                  <a:pt x="29" y="49"/>
                  <a:pt x="26" y="49"/>
                </a:cubicBezTo>
                <a:close/>
                <a:moveTo>
                  <a:pt x="34" y="44"/>
                </a:moveTo>
                <a:cubicBezTo>
                  <a:pt x="34" y="43"/>
                  <a:pt x="35" y="41"/>
                  <a:pt x="37" y="41"/>
                </a:cubicBezTo>
                <a:cubicBezTo>
                  <a:pt x="38" y="41"/>
                  <a:pt x="40" y="43"/>
                  <a:pt x="40" y="44"/>
                </a:cubicBezTo>
                <a:cubicBezTo>
                  <a:pt x="40" y="46"/>
                  <a:pt x="38" y="47"/>
                  <a:pt x="37" y="47"/>
                </a:cubicBezTo>
                <a:cubicBezTo>
                  <a:pt x="35" y="47"/>
                  <a:pt x="34" y="46"/>
                  <a:pt x="34" y="44"/>
                </a:cubicBezTo>
                <a:close/>
                <a:moveTo>
                  <a:pt x="37" y="51"/>
                </a:moveTo>
                <a:cubicBezTo>
                  <a:pt x="37" y="52"/>
                  <a:pt x="36" y="53"/>
                  <a:pt x="35" y="53"/>
                </a:cubicBezTo>
                <a:cubicBezTo>
                  <a:pt x="34" y="53"/>
                  <a:pt x="33" y="52"/>
                  <a:pt x="33" y="51"/>
                </a:cubicBezTo>
                <a:cubicBezTo>
                  <a:pt x="33" y="50"/>
                  <a:pt x="34" y="49"/>
                  <a:pt x="35" y="49"/>
                </a:cubicBezTo>
                <a:cubicBezTo>
                  <a:pt x="36" y="49"/>
                  <a:pt x="37" y="50"/>
                  <a:pt x="37" y="51"/>
                </a:cubicBezTo>
                <a:close/>
                <a:moveTo>
                  <a:pt x="37" y="51"/>
                </a:moveTo>
                <a:cubicBezTo>
                  <a:pt x="37" y="51"/>
                  <a:pt x="37" y="51"/>
                  <a:pt x="37" y="51"/>
                </a:cubicBezTo>
              </a:path>
            </a:pathLst>
          </a:custGeom>
          <a:solidFill>
            <a:srgbClr val="EE9524"/>
          </a:solidFill>
          <a:ln w="9525">
            <a:solidFill>
              <a:srgbClr val="EE9524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214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27">
            <a:extLst>
              <a:ext uri="{FF2B5EF4-FFF2-40B4-BE49-F238E27FC236}">
                <a16:creationId xmlns:a16="http://schemas.microsoft.com/office/drawing/2014/main" id="{F7F7A5C2-0600-4723-AE76-04E3A7033C36}"/>
              </a:ext>
            </a:extLst>
          </p:cNvPr>
          <p:cNvGrpSpPr/>
          <p:nvPr/>
        </p:nvGrpSpPr>
        <p:grpSpPr>
          <a:xfrm>
            <a:off x="5176457" y="3031107"/>
            <a:ext cx="1859280" cy="1859280"/>
            <a:chOff x="5022574" y="2992647"/>
            <a:chExt cx="2146852" cy="2146852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47" name="Circle: Hollow 18">
              <a:extLst>
                <a:ext uri="{FF2B5EF4-FFF2-40B4-BE49-F238E27FC236}">
                  <a16:creationId xmlns:a16="http://schemas.microsoft.com/office/drawing/2014/main" id="{3971D724-835D-4B1E-B0DB-4ABC5341A292}"/>
                </a:ext>
              </a:extLst>
            </p:cNvPr>
            <p:cNvSpPr/>
            <p:nvPr/>
          </p:nvSpPr>
          <p:spPr>
            <a:xfrm>
              <a:off x="5022574" y="2992647"/>
              <a:ext cx="2146852" cy="2146852"/>
            </a:xfrm>
            <a:prstGeom prst="donut">
              <a:avLst>
                <a:gd name="adj" fmla="val 2866"/>
              </a:avLst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48" name="Oval 19">
              <a:extLst>
                <a:ext uri="{FF2B5EF4-FFF2-40B4-BE49-F238E27FC236}">
                  <a16:creationId xmlns:a16="http://schemas.microsoft.com/office/drawing/2014/main" id="{380F2759-631B-4310-9ADB-2F68F87F7008}"/>
                </a:ext>
              </a:extLst>
            </p:cNvPr>
            <p:cNvSpPr/>
            <p:nvPr/>
          </p:nvSpPr>
          <p:spPr>
            <a:xfrm>
              <a:off x="5194300" y="3164373"/>
              <a:ext cx="1803400" cy="1803400"/>
            </a:xfrm>
            <a:prstGeom prst="ellipse">
              <a:avLst/>
            </a:prstGeom>
            <a:grpFill/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0ADE9D9-6658-4D32-B29A-9A2EA4154CB3}"/>
              </a:ext>
            </a:extLst>
          </p:cNvPr>
          <p:cNvCxnSpPr>
            <a:cxnSpLocks/>
            <a:endCxn id="47" idx="0"/>
          </p:cNvCxnSpPr>
          <p:nvPr/>
        </p:nvCxnSpPr>
        <p:spPr>
          <a:xfrm flipH="1">
            <a:off x="6106098" y="1"/>
            <a:ext cx="3157" cy="3031107"/>
          </a:xfrm>
          <a:prstGeom prst="line">
            <a:avLst/>
          </a:prstGeom>
          <a:ln w="762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39BE1F7-4CDD-4AE0-9020-FA266F7CD125}"/>
              </a:ext>
            </a:extLst>
          </p:cNvPr>
          <p:cNvGrpSpPr/>
          <p:nvPr/>
        </p:nvGrpSpPr>
        <p:grpSpPr>
          <a:xfrm>
            <a:off x="251564" y="233740"/>
            <a:ext cx="7728944" cy="1604585"/>
            <a:chOff x="251564" y="233740"/>
            <a:chExt cx="7728944" cy="1604585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06D0E94-CF98-419C-A6A8-2B79DEA04219}"/>
                </a:ext>
              </a:extLst>
            </p:cNvPr>
            <p:cNvGrpSpPr/>
            <p:nvPr/>
          </p:nvGrpSpPr>
          <p:grpSpPr>
            <a:xfrm>
              <a:off x="925689" y="1501775"/>
              <a:ext cx="6757811" cy="336550"/>
              <a:chOff x="848985" y="3127375"/>
              <a:chExt cx="6861987" cy="33655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C06FA859-7833-4A88-AF0A-6186E033663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48985" y="3295567"/>
                <a:ext cx="6861987" cy="0"/>
              </a:xfrm>
              <a:prstGeom prst="line">
                <a:avLst/>
              </a:prstGeom>
              <a:ln w="31750" cap="rnd">
                <a:solidFill>
                  <a:schemeClr val="tx1">
                    <a:lumMod val="95000"/>
                    <a:lumOff val="5000"/>
                  </a:schemeClr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A1486F04-9FE9-4442-9BB8-61426A6E92BF}"/>
                  </a:ext>
                </a:extLst>
              </p:cNvPr>
              <p:cNvSpPr/>
              <p:nvPr/>
            </p:nvSpPr>
            <p:spPr>
              <a:xfrm>
                <a:off x="5967483" y="3153880"/>
                <a:ext cx="283540" cy="283540"/>
              </a:xfrm>
              <a:prstGeom prst="ellipse">
                <a:avLst/>
              </a:prstGeom>
              <a:solidFill>
                <a:srgbClr val="EE9524"/>
              </a:solidFill>
              <a:ln>
                <a:solidFill>
                  <a:srgbClr val="EE952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28" name="Circle: Hollow 27">
                <a:extLst>
                  <a:ext uri="{FF2B5EF4-FFF2-40B4-BE49-F238E27FC236}">
                    <a16:creationId xmlns:a16="http://schemas.microsoft.com/office/drawing/2014/main" id="{1F3D839F-5822-4B5C-893B-7FF977D9229A}"/>
                  </a:ext>
                </a:extLst>
              </p:cNvPr>
              <p:cNvSpPr/>
              <p:nvPr/>
            </p:nvSpPr>
            <p:spPr>
              <a:xfrm>
                <a:off x="5940978" y="3127375"/>
                <a:ext cx="336550" cy="336550"/>
              </a:xfrm>
              <a:prstGeom prst="donut">
                <a:avLst>
                  <a:gd name="adj" fmla="val 7064"/>
                </a:avLst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4BB4A4E0-B9D0-456D-8513-4F4AB1D3B1D3}"/>
                  </a:ext>
                </a:extLst>
              </p:cNvPr>
              <p:cNvSpPr/>
              <p:nvPr/>
            </p:nvSpPr>
            <p:spPr>
              <a:xfrm>
                <a:off x="6033053" y="3219450"/>
                <a:ext cx="152400" cy="152400"/>
              </a:xfrm>
              <a:prstGeom prst="ellipse">
                <a:avLst/>
              </a:prstGeom>
              <a:solidFill>
                <a:schemeClr val="tx1">
                  <a:lumMod val="95000"/>
                  <a:lumOff val="5000"/>
                </a:schemeClr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US">
                  <a:solidFill>
                    <a:prstClr val="black">
                      <a:lumMod val="95000"/>
                      <a:lumOff val="5000"/>
                    </a:prstClr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B9ED92D-801C-41F2-82DB-CDCAA24B3330}"/>
                </a:ext>
              </a:extLst>
            </p:cNvPr>
            <p:cNvSpPr txBox="1"/>
            <p:nvPr/>
          </p:nvSpPr>
          <p:spPr>
            <a:xfrm>
              <a:off x="6351223" y="233740"/>
              <a:ext cx="162928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96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gency FB" panose="020B0503020202020204" pitchFamily="34" charset="0"/>
                </a:rPr>
                <a:t>0</a:t>
              </a:r>
              <a:r>
                <a:rPr lang="ru-RU" sz="96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gency FB" panose="020B0503020202020204" pitchFamily="34" charset="0"/>
                </a:rPr>
                <a:t>6</a:t>
              </a:r>
              <a:endParaRPr lang="en-US" sz="9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03E3004-419F-41F9-B866-9D196FC72794}"/>
                </a:ext>
              </a:extLst>
            </p:cNvPr>
            <p:cNvSpPr txBox="1"/>
            <p:nvPr/>
          </p:nvSpPr>
          <p:spPr>
            <a:xfrm>
              <a:off x="251564" y="646280"/>
              <a:ext cx="439714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сширение географического </a:t>
              </a:r>
              <a:r>
                <a:rPr lang="ru-RU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исутствия</a:t>
              </a:r>
              <a:endPara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405A306-6232-46FD-B580-2898989252AC}"/>
                </a:ext>
              </a:extLst>
            </p:cNvPr>
            <p:cNvSpPr/>
            <p:nvPr/>
          </p:nvSpPr>
          <p:spPr>
            <a:xfrm>
              <a:off x="4654073" y="572966"/>
              <a:ext cx="838200" cy="838200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6AC9190C-B033-46D6-8D64-7FA5DD85093B}"/>
              </a:ext>
            </a:extLst>
          </p:cNvPr>
          <p:cNvSpPr txBox="1"/>
          <p:nvPr/>
        </p:nvSpPr>
        <p:spPr>
          <a:xfrm>
            <a:off x="4207731" y="4830719"/>
            <a:ext cx="16292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ru-RU" sz="9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07</a:t>
            </a:r>
            <a:endParaRPr lang="en-US" sz="96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585C00-05E0-4883-9190-5990845EE348}"/>
              </a:ext>
            </a:extLst>
          </p:cNvPr>
          <p:cNvSpPr txBox="1"/>
          <p:nvPr/>
        </p:nvSpPr>
        <p:spPr>
          <a:xfrm>
            <a:off x="5638911" y="5415493"/>
            <a:ext cx="3731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номия от </a:t>
            </a:r>
            <a:r>
              <a:rPr lang="ru-RU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сштаба</a:t>
            </a:r>
            <a:endParaRPr lang="ru-RU" sz="20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Shape 2944"/>
          <p:cNvSpPr/>
          <p:nvPr/>
        </p:nvSpPr>
        <p:spPr>
          <a:xfrm>
            <a:off x="4830085" y="748586"/>
            <a:ext cx="491297" cy="491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EE9524"/>
          </a:solidFill>
          <a:ln w="12700">
            <a:solidFill>
              <a:srgbClr val="EE9524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33" name="Shape 2546"/>
          <p:cNvSpPr/>
          <p:nvPr/>
        </p:nvSpPr>
        <p:spPr>
          <a:xfrm>
            <a:off x="5687992" y="3572895"/>
            <a:ext cx="836211" cy="6841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rgbClr val="EE9524"/>
          </a:solidFill>
          <a:ln w="12700">
            <a:solidFill>
              <a:srgbClr val="EE9524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</p:spTree>
    <p:extLst>
      <p:ext uri="{BB962C8B-B14F-4D97-AF65-F5344CB8AC3E}">
        <p14:creationId xmlns:p14="http://schemas.microsoft.com/office/powerpoint/2010/main" val="25346014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E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02927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5891346" y="1530757"/>
            <a:ext cx="1819937" cy="1819937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9D9DA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sp>
        <p:nvSpPr>
          <p:cNvPr id="10" name="Oval 33">
            <a:extLst>
              <a:ext uri="{FF2B5EF4-FFF2-40B4-BE49-F238E27FC236}">
                <a16:creationId xmlns:a16="http://schemas.microsoft.com/office/drawing/2014/main" id="{D8F611D4-4DB1-43B5-AE6D-359399872DBD}"/>
              </a:ext>
            </a:extLst>
          </p:cNvPr>
          <p:cNvSpPr/>
          <p:nvPr/>
        </p:nvSpPr>
        <p:spPr>
          <a:xfrm>
            <a:off x="17302132" y="3129451"/>
            <a:ext cx="1561834" cy="1561833"/>
          </a:xfrm>
          <a:prstGeom prst="ellipse">
            <a:avLst/>
          </a:prstGeom>
          <a:solidFill>
            <a:srgbClr val="9D9DA4"/>
          </a:solidFill>
          <a:ln w="12700" cap="flat" cmpd="sng" algn="ctr">
            <a:solidFill>
              <a:srgbClr val="9D9DA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grpSp>
        <p:nvGrpSpPr>
          <p:cNvPr id="28" name="Group 14"/>
          <p:cNvGrpSpPr/>
          <p:nvPr/>
        </p:nvGrpSpPr>
        <p:grpSpPr>
          <a:xfrm>
            <a:off x="13554337" y="2694614"/>
            <a:ext cx="3738640" cy="771927"/>
            <a:chOff x="886013" y="2697524"/>
            <a:chExt cx="3273238" cy="316190"/>
          </a:xfrm>
        </p:grpSpPr>
        <p:cxnSp>
          <p:nvCxnSpPr>
            <p:cNvPr id="29" name="Straight Connector 15"/>
            <p:cNvCxnSpPr/>
            <p:nvPr/>
          </p:nvCxnSpPr>
          <p:spPr>
            <a:xfrm flipH="1" flipV="1">
              <a:off x="3661285" y="2697524"/>
              <a:ext cx="497966" cy="31619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cxnSp>
          <p:nvCxnSpPr>
            <p:cNvPr id="30" name="Straight Connector 17"/>
            <p:cNvCxnSpPr/>
            <p:nvPr/>
          </p:nvCxnSpPr>
          <p:spPr>
            <a:xfrm flipH="1">
              <a:off x="886013" y="2697524"/>
              <a:ext cx="2775273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tailEnd type="oval"/>
            </a:ln>
            <a:effectLst/>
          </p:spPr>
        </p:cxnSp>
      </p:grpSp>
      <p:grpSp>
        <p:nvGrpSpPr>
          <p:cNvPr id="31" name="Group 14"/>
          <p:cNvGrpSpPr/>
          <p:nvPr/>
        </p:nvGrpSpPr>
        <p:grpSpPr>
          <a:xfrm flipH="1">
            <a:off x="18906894" y="2691423"/>
            <a:ext cx="3695602" cy="774855"/>
            <a:chOff x="1422629" y="2697524"/>
            <a:chExt cx="2736622" cy="316190"/>
          </a:xfrm>
        </p:grpSpPr>
        <p:cxnSp>
          <p:nvCxnSpPr>
            <p:cNvPr id="32" name="Straight Connector 15"/>
            <p:cNvCxnSpPr/>
            <p:nvPr/>
          </p:nvCxnSpPr>
          <p:spPr>
            <a:xfrm flipH="1" flipV="1">
              <a:off x="3661285" y="2697524"/>
              <a:ext cx="497966" cy="31619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cxnSp>
          <p:nvCxnSpPr>
            <p:cNvPr id="33" name="Straight Connector 17"/>
            <p:cNvCxnSpPr/>
            <p:nvPr/>
          </p:nvCxnSpPr>
          <p:spPr>
            <a:xfrm flipH="1">
              <a:off x="1422629" y="2697524"/>
              <a:ext cx="2238657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tailEnd type="oval"/>
            </a:ln>
            <a:effectLst/>
          </p:spPr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5268249" y="5289509"/>
            <a:ext cx="5617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Agency FB" panose="020B0503020202020204" pitchFamily="34" charset="0"/>
              </a:rPr>
              <a:t>ВИДЫ ИНТЕГРАЦИОННЫХ СДЕЛОК</a:t>
            </a:r>
            <a:endParaRPr lang="en-US" sz="2000" b="1" dirty="0">
              <a:latin typeface="Agency FB" panose="020B0503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3554337" y="6072751"/>
            <a:ext cx="4445521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just" defTabSz="1375432"/>
            <a:r>
              <a:rPr lang="ru-RU" sz="1600" b="1" dirty="0">
                <a:latin typeface="Century Gothic" panose="020B0502020202020204" pitchFamily="34" charset="0"/>
              </a:rPr>
              <a:t>Общее определение:</a:t>
            </a:r>
          </a:p>
          <a:p>
            <a:pPr algn="just" defTabSz="1375432"/>
            <a:endParaRPr lang="ru-RU" sz="1600" b="1" dirty="0">
              <a:latin typeface="Century Gothic" panose="020B0502020202020204" pitchFamily="34" charset="0"/>
            </a:endParaRPr>
          </a:p>
        </p:txBody>
      </p:sp>
      <p:cxnSp>
        <p:nvCxnSpPr>
          <p:cNvPr id="37" name="Straight Connector 24">
            <a:extLst>
              <a:ext uri="{FF2B5EF4-FFF2-40B4-BE49-F238E27FC236}">
                <a16:creationId xmlns:a16="http://schemas.microsoft.com/office/drawing/2014/main" id="{A8A0193E-C41C-46B0-9C39-BB9B95D912EA}"/>
              </a:ext>
            </a:extLst>
          </p:cNvPr>
          <p:cNvCxnSpPr>
            <a:cxnSpLocks/>
          </p:cNvCxnSpPr>
          <p:nvPr/>
        </p:nvCxnSpPr>
        <p:spPr>
          <a:xfrm flipH="1">
            <a:off x="13554337" y="5967528"/>
            <a:ext cx="10975831" cy="0"/>
          </a:xfrm>
          <a:prstGeom prst="line">
            <a:avLst/>
          </a:prstGeom>
          <a:solidFill>
            <a:schemeClr val="tx1">
              <a:lumMod val="95000"/>
              <a:lumOff val="5000"/>
            </a:schemeClr>
          </a:solidFill>
          <a:ln w="31750" cap="rnd">
            <a:solidFill>
              <a:srgbClr val="95979B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3468002" y="6321022"/>
            <a:ext cx="92080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latin typeface="Century Gothic" panose="020B0502020202020204" pitchFamily="34" charset="0"/>
              </a:rPr>
              <a:t>Слияния и поглощения (англ. </a:t>
            </a:r>
            <a:r>
              <a:rPr lang="ru-RU" sz="1200" b="1" dirty="0" err="1">
                <a:latin typeface="Century Gothic" panose="020B0502020202020204" pitchFamily="34" charset="0"/>
              </a:rPr>
              <a:t>mergers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and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acquisitions</a:t>
            </a:r>
            <a:r>
              <a:rPr lang="ru-RU" sz="1200" b="1" dirty="0">
                <a:latin typeface="Century Gothic" panose="020B0502020202020204" pitchFamily="34" charset="0"/>
              </a:rPr>
              <a:t>, M&amp;A) — класс экономических процессов укрупнения бизнеса и капитала, происходящих на макро- и микроэкономическом уровнях, в результате которых на рынке появляются более крупные компании.</a:t>
            </a:r>
            <a:endParaRPr lang="ru-RU" sz="1200" b="1" dirty="0">
              <a:latin typeface="Century Gothic" panose="020B0502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125324" y="11374131"/>
            <a:ext cx="5617545" cy="2709902"/>
            <a:chOff x="-467911" y="1799875"/>
            <a:chExt cx="5617545" cy="270990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-467911" y="1799875"/>
              <a:ext cx="56175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Корпоративные </a:t>
              </a:r>
              <a:r>
                <a:rPr lang="en-US" sz="20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M&amp;A</a:t>
              </a:r>
              <a:endParaRPr lang="en-US" sz="2000" b="1" dirty="0">
                <a:solidFill>
                  <a:schemeClr val="bg1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126588" y="2293785"/>
              <a:ext cx="32476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Слияние.</a:t>
              </a:r>
              <a:r>
                <a:rPr lang="ru-RU" sz="1200" b="1" dirty="0">
                  <a:latin typeface="Century Gothic" panose="020B0502020202020204" pitchFamily="34" charset="0"/>
                </a:rPr>
                <a:t> </a:t>
              </a:r>
              <a:r>
                <a:rPr lang="ru-RU" sz="1200" b="1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Компания, образованная путём слияния, берёт под свой контроль и управление все активы и обязательства перед клиентами компаний, принявших участие в слиянии.</a:t>
              </a:r>
              <a:endParaRPr lang="ru-RU" sz="1200" b="1" dirty="0">
                <a:solidFill>
                  <a:srgbClr val="F3F3F3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126588" y="3494114"/>
              <a:ext cx="3247621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Поглощение. </a:t>
              </a:r>
              <a:r>
                <a:rPr lang="ru-RU" sz="1200" b="1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Сделка, совершаемая с целью установления 100% контроля основного общества осуществляемая путём приобретения более 30 % уставного капитала.</a:t>
              </a:r>
              <a:endParaRPr lang="ru-RU" sz="1200" b="1" dirty="0">
                <a:solidFill>
                  <a:srgbClr val="F3F3F3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36" name="Группа 135"/>
          <p:cNvGrpSpPr/>
          <p:nvPr/>
        </p:nvGrpSpPr>
        <p:grpSpPr>
          <a:xfrm>
            <a:off x="1149085" y="2078095"/>
            <a:ext cx="5626700" cy="1539617"/>
            <a:chOff x="2100971" y="4428018"/>
            <a:chExt cx="5626700" cy="153961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2110126" y="4428018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PE/VC FUNDS</a:t>
              </a:r>
              <a:endParaRPr lang="en-US" sz="1600" b="1" dirty="0">
                <a:solidFill>
                  <a:schemeClr val="bg1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100971" y="4798084"/>
              <a:ext cx="357073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Выкуп доли в недооцененной компании или </a:t>
              </a:r>
              <a:r>
                <a:rPr lang="ru-RU" sz="14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стартапе</a:t>
              </a:r>
              <a:r>
                <a: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с целью ее дальнейшей продажи по более высокой цене. Средняя продолжительность сделки 6-9 лет.</a:t>
              </a:r>
            </a:p>
          </p:txBody>
        </p:sp>
      </p:grpSp>
      <p:sp>
        <p:nvSpPr>
          <p:cNvPr id="46" name="Shape 2625"/>
          <p:cNvSpPr/>
          <p:nvPr/>
        </p:nvSpPr>
        <p:spPr>
          <a:xfrm>
            <a:off x="17563391" y="3383958"/>
            <a:ext cx="1027257" cy="960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rgbClr val="E81D30"/>
          </a:solidFill>
          <a:ln w="12700">
            <a:solidFill>
              <a:srgbClr val="E81D30"/>
            </a:solidFill>
            <a:miter lim="400000"/>
          </a:ln>
        </p:spPr>
        <p:txBody>
          <a:bodyPr lIns="19045" tIns="19045" rIns="19045" bIns="19045" anchor="ctr"/>
          <a:lstStyle/>
          <a:p>
            <a:pPr defTabSz="228526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kern="0"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cxnSp>
        <p:nvCxnSpPr>
          <p:cNvPr id="51" name="Straight Connector 8">
            <a:extLst>
              <a:ext uri="{FF2B5EF4-FFF2-40B4-BE49-F238E27FC236}">
                <a16:creationId xmlns:a16="http://schemas.microsoft.com/office/drawing/2014/main" id="{80CF28EE-A360-46B6-9D76-D2CA1E8777C8}"/>
              </a:ext>
            </a:extLst>
          </p:cNvPr>
          <p:cNvCxnSpPr>
            <a:cxnSpLocks/>
          </p:cNvCxnSpPr>
          <p:nvPr/>
        </p:nvCxnSpPr>
        <p:spPr>
          <a:xfrm>
            <a:off x="12754055" y="2202036"/>
            <a:ext cx="0" cy="6858000"/>
          </a:xfrm>
          <a:prstGeom prst="line">
            <a:avLst/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Группа 98"/>
          <p:cNvGrpSpPr/>
          <p:nvPr/>
        </p:nvGrpSpPr>
        <p:grpSpPr>
          <a:xfrm>
            <a:off x="3277724" y="11526531"/>
            <a:ext cx="5617545" cy="2709902"/>
            <a:chOff x="-467911" y="1799875"/>
            <a:chExt cx="5617545" cy="2709902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-467911" y="1799875"/>
              <a:ext cx="56175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Корпоративные </a:t>
              </a:r>
              <a:r>
                <a:rPr lang="en-US" sz="20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M&amp;A</a:t>
              </a:r>
              <a:endParaRPr lang="en-US" sz="2000" b="1" dirty="0">
                <a:solidFill>
                  <a:schemeClr val="bg1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1126588" y="2293785"/>
              <a:ext cx="32476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Слияние.</a:t>
              </a:r>
              <a:r>
                <a:rPr lang="ru-RU" sz="1200" b="1" dirty="0">
                  <a:latin typeface="Century Gothic" panose="020B0502020202020204" pitchFamily="34" charset="0"/>
                </a:rPr>
                <a:t> </a:t>
              </a:r>
              <a:r>
                <a:rPr lang="ru-RU" sz="1200" b="1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Компания, образованная путём слияния, берёт под свой контроль и управление все активы и обязательства перед клиентами компаний, принявших участие в слиянии.</a:t>
              </a:r>
              <a:endParaRPr lang="ru-RU" sz="1200" b="1" dirty="0">
                <a:solidFill>
                  <a:srgbClr val="F3F3F3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1126588" y="3494114"/>
              <a:ext cx="3247621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Поглощение. </a:t>
              </a:r>
              <a:r>
                <a:rPr lang="ru-RU" sz="1200" b="1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Сделка, совершаемая с целью установления 100% контроля основного общества осуществляемая путём приобретения более 30 % уставного капитала.</a:t>
              </a:r>
              <a:endParaRPr lang="ru-RU" sz="1200" b="1" dirty="0">
                <a:solidFill>
                  <a:srgbClr val="F3F3F3"/>
                </a:solidFill>
                <a:latin typeface="Century Gothic" panose="020B0502020202020204" pitchFamily="34" charset="0"/>
              </a:endParaRPr>
            </a:p>
          </p:txBody>
        </p:sp>
      </p:grpSp>
      <p:cxnSp>
        <p:nvCxnSpPr>
          <p:cNvPr id="119" name="Прямая со стрелкой 118"/>
          <p:cNvCxnSpPr/>
          <p:nvPr/>
        </p:nvCxnSpPr>
        <p:spPr>
          <a:xfrm>
            <a:off x="1194776" y="2413337"/>
            <a:ext cx="4687415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Freeform 137"/>
          <p:cNvSpPr>
            <a:spLocks noEditPoints="1"/>
          </p:cNvSpPr>
          <p:nvPr/>
        </p:nvSpPr>
        <p:spPr bwMode="auto">
          <a:xfrm>
            <a:off x="6230473" y="1955804"/>
            <a:ext cx="1010736" cy="1034992"/>
          </a:xfrm>
          <a:custGeom>
            <a:avLst/>
            <a:gdLst/>
            <a:ahLst/>
            <a:cxnLst>
              <a:cxn ang="0">
                <a:pos x="46" y="30"/>
              </a:cxn>
              <a:cxn ang="0">
                <a:pos x="39" y="36"/>
              </a:cxn>
              <a:cxn ang="0">
                <a:pos x="39" y="50"/>
              </a:cxn>
              <a:cxn ang="0">
                <a:pos x="38" y="50"/>
              </a:cxn>
              <a:cxn ang="0">
                <a:pos x="24" y="58"/>
              </a:cxn>
              <a:cxn ang="0">
                <a:pos x="24" y="59"/>
              </a:cxn>
              <a:cxn ang="0">
                <a:pos x="23" y="58"/>
              </a:cxn>
              <a:cxn ang="0">
                <a:pos x="21" y="56"/>
              </a:cxn>
              <a:cxn ang="0">
                <a:pos x="21" y="55"/>
              </a:cxn>
              <a:cxn ang="0">
                <a:pos x="24" y="45"/>
              </a:cxn>
              <a:cxn ang="0">
                <a:pos x="14" y="35"/>
              </a:cxn>
              <a:cxn ang="0">
                <a:pos x="4" y="38"/>
              </a:cxn>
              <a:cxn ang="0">
                <a:pos x="3" y="38"/>
              </a:cxn>
              <a:cxn ang="0">
                <a:pos x="3" y="38"/>
              </a:cxn>
              <a:cxn ang="0">
                <a:pos x="0" y="35"/>
              </a:cxn>
              <a:cxn ang="0">
                <a:pos x="0" y="34"/>
              </a:cxn>
              <a:cxn ang="0">
                <a:pos x="8" y="20"/>
              </a:cxn>
              <a:cxn ang="0">
                <a:pos x="9" y="20"/>
              </a:cxn>
              <a:cxn ang="0">
                <a:pos x="23" y="19"/>
              </a:cxn>
              <a:cxn ang="0">
                <a:pos x="29" y="12"/>
              </a:cxn>
              <a:cxn ang="0">
                <a:pos x="57" y="0"/>
              </a:cxn>
              <a:cxn ang="0">
                <a:pos x="58" y="1"/>
              </a:cxn>
              <a:cxn ang="0">
                <a:pos x="46" y="30"/>
              </a:cxn>
              <a:cxn ang="0">
                <a:pos x="47" y="8"/>
              </a:cxn>
              <a:cxn ang="0">
                <a:pos x="43" y="12"/>
              </a:cxn>
              <a:cxn ang="0">
                <a:pos x="47" y="15"/>
              </a:cxn>
              <a:cxn ang="0">
                <a:pos x="50" y="12"/>
              </a:cxn>
              <a:cxn ang="0">
                <a:pos x="47" y="8"/>
              </a:cxn>
            </a:cxnLst>
            <a:rect l="0" t="0" r="r" b="b"/>
            <a:pathLst>
              <a:path w="58" h="59">
                <a:moveTo>
                  <a:pt x="46" y="30"/>
                </a:moveTo>
                <a:cubicBezTo>
                  <a:pt x="44" y="32"/>
                  <a:pt x="42" y="34"/>
                  <a:pt x="39" y="36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50"/>
                  <a:pt x="39" y="50"/>
                  <a:pt x="38" y="50"/>
                </a:cubicBezTo>
                <a:cubicBezTo>
                  <a:pt x="24" y="58"/>
                  <a:pt x="24" y="58"/>
                  <a:pt x="24" y="58"/>
                </a:cubicBezTo>
                <a:cubicBezTo>
                  <a:pt x="24" y="59"/>
                  <a:pt x="24" y="59"/>
                  <a:pt x="24" y="59"/>
                </a:cubicBezTo>
                <a:cubicBezTo>
                  <a:pt x="24" y="59"/>
                  <a:pt x="23" y="58"/>
                  <a:pt x="23" y="58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56"/>
                  <a:pt x="20" y="55"/>
                  <a:pt x="21" y="55"/>
                </a:cubicBezTo>
                <a:cubicBezTo>
                  <a:pt x="24" y="45"/>
                  <a:pt x="24" y="45"/>
                  <a:pt x="24" y="45"/>
                </a:cubicBezTo>
                <a:cubicBezTo>
                  <a:pt x="14" y="35"/>
                  <a:pt x="14" y="35"/>
                  <a:pt x="14" y="35"/>
                </a:cubicBezTo>
                <a:cubicBezTo>
                  <a:pt x="4" y="38"/>
                  <a:pt x="4" y="38"/>
                  <a:pt x="4" y="38"/>
                </a:cubicBezTo>
                <a:cubicBezTo>
                  <a:pt x="4" y="38"/>
                  <a:pt x="3" y="38"/>
                  <a:pt x="3" y="38"/>
                </a:cubicBezTo>
                <a:cubicBezTo>
                  <a:pt x="3" y="38"/>
                  <a:pt x="3" y="38"/>
                  <a:pt x="3" y="38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35"/>
                  <a:pt x="0" y="34"/>
                  <a:pt x="0" y="34"/>
                </a:cubicBezTo>
                <a:cubicBezTo>
                  <a:pt x="8" y="20"/>
                  <a:pt x="8" y="20"/>
                  <a:pt x="8" y="20"/>
                </a:cubicBezTo>
                <a:cubicBezTo>
                  <a:pt x="8" y="20"/>
                  <a:pt x="9" y="20"/>
                  <a:pt x="9" y="20"/>
                </a:cubicBezTo>
                <a:cubicBezTo>
                  <a:pt x="23" y="19"/>
                  <a:pt x="23" y="19"/>
                  <a:pt x="23" y="19"/>
                </a:cubicBezTo>
                <a:cubicBezTo>
                  <a:pt x="25" y="17"/>
                  <a:pt x="27" y="14"/>
                  <a:pt x="29" y="12"/>
                </a:cubicBezTo>
                <a:cubicBezTo>
                  <a:pt x="38" y="3"/>
                  <a:pt x="45" y="0"/>
                  <a:pt x="57" y="0"/>
                </a:cubicBezTo>
                <a:cubicBezTo>
                  <a:pt x="58" y="0"/>
                  <a:pt x="58" y="1"/>
                  <a:pt x="58" y="1"/>
                </a:cubicBezTo>
                <a:cubicBezTo>
                  <a:pt x="58" y="13"/>
                  <a:pt x="55" y="21"/>
                  <a:pt x="46" y="30"/>
                </a:cubicBezTo>
                <a:close/>
                <a:moveTo>
                  <a:pt x="47" y="8"/>
                </a:moveTo>
                <a:cubicBezTo>
                  <a:pt x="45" y="8"/>
                  <a:pt x="43" y="10"/>
                  <a:pt x="43" y="12"/>
                </a:cubicBezTo>
                <a:cubicBezTo>
                  <a:pt x="43" y="14"/>
                  <a:pt x="45" y="15"/>
                  <a:pt x="47" y="15"/>
                </a:cubicBezTo>
                <a:cubicBezTo>
                  <a:pt x="49" y="15"/>
                  <a:pt x="50" y="14"/>
                  <a:pt x="50" y="12"/>
                </a:cubicBezTo>
                <a:cubicBezTo>
                  <a:pt x="50" y="10"/>
                  <a:pt x="49" y="8"/>
                  <a:pt x="47" y="8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61" name="Группа 160"/>
          <p:cNvGrpSpPr/>
          <p:nvPr/>
        </p:nvGrpSpPr>
        <p:grpSpPr>
          <a:xfrm>
            <a:off x="4219560" y="3746844"/>
            <a:ext cx="7243640" cy="2617900"/>
            <a:chOff x="4219560" y="3369098"/>
            <a:chExt cx="7243640" cy="2617900"/>
          </a:xfrm>
        </p:grpSpPr>
        <p:sp>
          <p:nvSpPr>
            <p:cNvPr id="148" name="Freeform 5"/>
            <p:cNvSpPr>
              <a:spLocks noEditPoints="1"/>
            </p:cNvSpPr>
            <p:nvPr/>
          </p:nvSpPr>
          <p:spPr bwMode="auto">
            <a:xfrm>
              <a:off x="4554800" y="3704338"/>
              <a:ext cx="1149455" cy="1149455"/>
            </a:xfrm>
            <a:custGeom>
              <a:avLst/>
              <a:gdLst/>
              <a:ahLst/>
              <a:cxnLst>
                <a:cxn ang="0">
                  <a:pos x="0" y="192"/>
                </a:cxn>
                <a:cxn ang="0">
                  <a:pos x="255" y="135"/>
                </a:cxn>
                <a:cxn ang="0">
                  <a:pos x="277" y="122"/>
                </a:cxn>
                <a:cxn ang="0">
                  <a:pos x="303" y="116"/>
                </a:cxn>
                <a:cxn ang="0">
                  <a:pos x="296" y="105"/>
                </a:cxn>
                <a:cxn ang="0">
                  <a:pos x="278" y="89"/>
                </a:cxn>
                <a:cxn ang="0">
                  <a:pos x="265" y="90"/>
                </a:cxn>
                <a:cxn ang="0">
                  <a:pos x="256" y="82"/>
                </a:cxn>
                <a:cxn ang="0">
                  <a:pos x="231" y="73"/>
                </a:cxn>
                <a:cxn ang="0">
                  <a:pos x="234" y="98"/>
                </a:cxn>
                <a:cxn ang="0">
                  <a:pos x="224" y="118"/>
                </a:cxn>
                <a:cxn ang="0">
                  <a:pos x="205" y="103"/>
                </a:cxn>
                <a:cxn ang="0">
                  <a:pos x="175" y="89"/>
                </a:cxn>
                <a:cxn ang="0">
                  <a:pos x="183" y="68"/>
                </a:cxn>
                <a:cxn ang="0">
                  <a:pos x="212" y="58"/>
                </a:cxn>
                <a:cxn ang="0">
                  <a:pos x="207" y="47"/>
                </a:cxn>
                <a:cxn ang="0">
                  <a:pos x="188" y="50"/>
                </a:cxn>
                <a:cxn ang="0">
                  <a:pos x="168" y="37"/>
                </a:cxn>
                <a:cxn ang="0">
                  <a:pos x="171" y="52"/>
                </a:cxn>
                <a:cxn ang="0">
                  <a:pos x="157" y="52"/>
                </a:cxn>
                <a:cxn ang="0">
                  <a:pos x="141" y="40"/>
                </a:cxn>
                <a:cxn ang="0">
                  <a:pos x="126" y="47"/>
                </a:cxn>
                <a:cxn ang="0">
                  <a:pos x="143" y="51"/>
                </a:cxn>
                <a:cxn ang="0">
                  <a:pos x="131" y="58"/>
                </a:cxn>
                <a:cxn ang="0">
                  <a:pos x="56" y="107"/>
                </a:cxn>
                <a:cxn ang="0">
                  <a:pos x="65" y="118"/>
                </a:cxn>
                <a:cxn ang="0">
                  <a:pos x="79" y="135"/>
                </a:cxn>
                <a:cxn ang="0">
                  <a:pos x="74" y="158"/>
                </a:cxn>
                <a:cxn ang="0">
                  <a:pos x="88" y="185"/>
                </a:cxn>
                <a:cxn ang="0">
                  <a:pos x="108" y="214"/>
                </a:cxn>
                <a:cxn ang="0">
                  <a:pos x="118" y="227"/>
                </a:cxn>
                <a:cxn ang="0">
                  <a:pos x="105" y="197"/>
                </a:cxn>
                <a:cxn ang="0">
                  <a:pos x="125" y="225"/>
                </a:cxn>
                <a:cxn ang="0">
                  <a:pos x="150" y="255"/>
                </a:cxn>
                <a:cxn ang="0">
                  <a:pos x="184" y="269"/>
                </a:cxn>
                <a:cxn ang="0">
                  <a:pos x="213" y="290"/>
                </a:cxn>
                <a:cxn ang="0">
                  <a:pos x="224" y="288"/>
                </a:cxn>
                <a:cxn ang="0">
                  <a:pos x="212" y="268"/>
                </a:cxn>
                <a:cxn ang="0">
                  <a:pos x="197" y="262"/>
                </a:cxn>
                <a:cxn ang="0">
                  <a:pos x="194" y="239"/>
                </a:cxn>
                <a:cxn ang="0">
                  <a:pos x="171" y="250"/>
                </a:cxn>
                <a:cxn ang="0">
                  <a:pos x="168" y="210"/>
                </a:cxn>
                <a:cxn ang="0">
                  <a:pos x="184" y="206"/>
                </a:cxn>
                <a:cxn ang="0">
                  <a:pos x="196" y="202"/>
                </a:cxn>
                <a:cxn ang="0">
                  <a:pos x="214" y="211"/>
                </a:cxn>
                <a:cxn ang="0">
                  <a:pos x="221" y="205"/>
                </a:cxn>
                <a:cxn ang="0">
                  <a:pos x="234" y="179"/>
                </a:cxn>
                <a:cxn ang="0">
                  <a:pos x="233" y="171"/>
                </a:cxn>
                <a:cxn ang="0">
                  <a:pos x="252" y="157"/>
                </a:cxn>
                <a:cxn ang="0">
                  <a:pos x="266" y="143"/>
                </a:cxn>
                <a:cxn ang="0">
                  <a:pos x="273" y="131"/>
                </a:cxn>
                <a:cxn ang="0">
                  <a:pos x="255" y="135"/>
                </a:cxn>
                <a:cxn ang="0">
                  <a:pos x="295" y="298"/>
                </a:cxn>
                <a:cxn ang="0">
                  <a:pos x="272" y="288"/>
                </a:cxn>
                <a:cxn ang="0">
                  <a:pos x="251" y="288"/>
                </a:cxn>
                <a:cxn ang="0">
                  <a:pos x="236" y="286"/>
                </a:cxn>
                <a:cxn ang="0">
                  <a:pos x="230" y="307"/>
                </a:cxn>
                <a:cxn ang="0">
                  <a:pos x="223" y="335"/>
                </a:cxn>
                <a:cxn ang="0">
                  <a:pos x="308" y="302"/>
                </a:cxn>
              </a:cxnLst>
              <a:rect l="0" t="0" r="r" b="b"/>
              <a:pathLst>
                <a:path w="384" h="384">
                  <a:moveTo>
                    <a:pt x="384" y="192"/>
                  </a:moveTo>
                  <a:cubicBezTo>
                    <a:pt x="384" y="298"/>
                    <a:pt x="298" y="384"/>
                    <a:pt x="192" y="384"/>
                  </a:cubicBezTo>
                  <a:cubicBezTo>
                    <a:pt x="86" y="384"/>
                    <a:pt x="0" y="298"/>
                    <a:pt x="0" y="192"/>
                  </a:cubicBezTo>
                  <a:cubicBezTo>
                    <a:pt x="0" y="86"/>
                    <a:pt x="86" y="0"/>
                    <a:pt x="192" y="0"/>
                  </a:cubicBezTo>
                  <a:cubicBezTo>
                    <a:pt x="298" y="0"/>
                    <a:pt x="384" y="86"/>
                    <a:pt x="384" y="192"/>
                  </a:cubicBezTo>
                  <a:close/>
                  <a:moveTo>
                    <a:pt x="255" y="135"/>
                  </a:moveTo>
                  <a:cubicBezTo>
                    <a:pt x="256" y="135"/>
                    <a:pt x="257" y="130"/>
                    <a:pt x="258" y="129"/>
                  </a:cubicBezTo>
                  <a:cubicBezTo>
                    <a:pt x="260" y="127"/>
                    <a:pt x="262" y="126"/>
                    <a:pt x="264" y="125"/>
                  </a:cubicBezTo>
                  <a:cubicBezTo>
                    <a:pt x="268" y="124"/>
                    <a:pt x="272" y="123"/>
                    <a:pt x="277" y="122"/>
                  </a:cubicBezTo>
                  <a:cubicBezTo>
                    <a:pt x="281" y="121"/>
                    <a:pt x="286" y="121"/>
                    <a:pt x="289" y="125"/>
                  </a:cubicBezTo>
                  <a:cubicBezTo>
                    <a:pt x="289" y="124"/>
                    <a:pt x="295" y="119"/>
                    <a:pt x="295" y="119"/>
                  </a:cubicBezTo>
                  <a:cubicBezTo>
                    <a:pt x="298" y="118"/>
                    <a:pt x="301" y="118"/>
                    <a:pt x="303" y="116"/>
                  </a:cubicBezTo>
                  <a:cubicBezTo>
                    <a:pt x="303" y="115"/>
                    <a:pt x="303" y="110"/>
                    <a:pt x="303" y="110"/>
                  </a:cubicBezTo>
                  <a:cubicBezTo>
                    <a:pt x="299" y="111"/>
                    <a:pt x="298" y="107"/>
                    <a:pt x="297" y="103"/>
                  </a:cubicBezTo>
                  <a:cubicBezTo>
                    <a:pt x="297" y="104"/>
                    <a:pt x="297" y="104"/>
                    <a:pt x="296" y="105"/>
                  </a:cubicBezTo>
                  <a:cubicBezTo>
                    <a:pt x="296" y="102"/>
                    <a:pt x="291" y="104"/>
                    <a:pt x="290" y="104"/>
                  </a:cubicBezTo>
                  <a:cubicBezTo>
                    <a:pt x="284" y="102"/>
                    <a:pt x="285" y="98"/>
                    <a:pt x="283" y="94"/>
                  </a:cubicBezTo>
                  <a:cubicBezTo>
                    <a:pt x="282" y="92"/>
                    <a:pt x="279" y="91"/>
                    <a:pt x="278" y="89"/>
                  </a:cubicBezTo>
                  <a:cubicBezTo>
                    <a:pt x="277" y="87"/>
                    <a:pt x="277" y="84"/>
                    <a:pt x="274" y="84"/>
                  </a:cubicBezTo>
                  <a:cubicBezTo>
                    <a:pt x="273" y="84"/>
                    <a:pt x="270" y="89"/>
                    <a:pt x="270" y="89"/>
                  </a:cubicBezTo>
                  <a:cubicBezTo>
                    <a:pt x="267" y="88"/>
                    <a:pt x="266" y="89"/>
                    <a:pt x="265" y="90"/>
                  </a:cubicBezTo>
                  <a:cubicBezTo>
                    <a:pt x="263" y="91"/>
                    <a:pt x="262" y="91"/>
                    <a:pt x="260" y="92"/>
                  </a:cubicBezTo>
                  <a:cubicBezTo>
                    <a:pt x="265" y="90"/>
                    <a:pt x="258" y="88"/>
                    <a:pt x="256" y="88"/>
                  </a:cubicBezTo>
                  <a:cubicBezTo>
                    <a:pt x="260" y="87"/>
                    <a:pt x="258" y="83"/>
                    <a:pt x="256" y="82"/>
                  </a:cubicBezTo>
                  <a:cubicBezTo>
                    <a:pt x="256" y="82"/>
                    <a:pt x="257" y="82"/>
                    <a:pt x="257" y="82"/>
                  </a:cubicBezTo>
                  <a:cubicBezTo>
                    <a:pt x="257" y="79"/>
                    <a:pt x="250" y="77"/>
                    <a:pt x="247" y="76"/>
                  </a:cubicBezTo>
                  <a:cubicBezTo>
                    <a:pt x="245" y="74"/>
                    <a:pt x="233" y="72"/>
                    <a:pt x="231" y="73"/>
                  </a:cubicBezTo>
                  <a:cubicBezTo>
                    <a:pt x="228" y="75"/>
                    <a:pt x="231" y="80"/>
                    <a:pt x="231" y="83"/>
                  </a:cubicBezTo>
                  <a:cubicBezTo>
                    <a:pt x="232" y="86"/>
                    <a:pt x="228" y="86"/>
                    <a:pt x="228" y="89"/>
                  </a:cubicBezTo>
                  <a:cubicBezTo>
                    <a:pt x="228" y="93"/>
                    <a:pt x="236" y="92"/>
                    <a:pt x="234" y="98"/>
                  </a:cubicBezTo>
                  <a:cubicBezTo>
                    <a:pt x="233" y="102"/>
                    <a:pt x="228" y="102"/>
                    <a:pt x="226" y="105"/>
                  </a:cubicBezTo>
                  <a:cubicBezTo>
                    <a:pt x="224" y="108"/>
                    <a:pt x="227" y="112"/>
                    <a:pt x="229" y="114"/>
                  </a:cubicBezTo>
                  <a:cubicBezTo>
                    <a:pt x="231" y="115"/>
                    <a:pt x="225" y="118"/>
                    <a:pt x="224" y="118"/>
                  </a:cubicBezTo>
                  <a:cubicBezTo>
                    <a:pt x="220" y="120"/>
                    <a:pt x="217" y="114"/>
                    <a:pt x="216" y="110"/>
                  </a:cubicBezTo>
                  <a:cubicBezTo>
                    <a:pt x="215" y="108"/>
                    <a:pt x="215" y="104"/>
                    <a:pt x="212" y="103"/>
                  </a:cubicBezTo>
                  <a:cubicBezTo>
                    <a:pt x="210" y="102"/>
                    <a:pt x="206" y="102"/>
                    <a:pt x="205" y="103"/>
                  </a:cubicBezTo>
                  <a:cubicBezTo>
                    <a:pt x="203" y="99"/>
                    <a:pt x="198" y="98"/>
                    <a:pt x="194" y="97"/>
                  </a:cubicBezTo>
                  <a:cubicBezTo>
                    <a:pt x="189" y="95"/>
                    <a:pt x="185" y="95"/>
                    <a:pt x="180" y="96"/>
                  </a:cubicBezTo>
                  <a:cubicBezTo>
                    <a:pt x="181" y="95"/>
                    <a:pt x="179" y="88"/>
                    <a:pt x="175" y="89"/>
                  </a:cubicBezTo>
                  <a:cubicBezTo>
                    <a:pt x="176" y="86"/>
                    <a:pt x="176" y="84"/>
                    <a:pt x="176" y="81"/>
                  </a:cubicBezTo>
                  <a:cubicBezTo>
                    <a:pt x="177" y="79"/>
                    <a:pt x="178" y="77"/>
                    <a:pt x="179" y="75"/>
                  </a:cubicBezTo>
                  <a:cubicBezTo>
                    <a:pt x="180" y="74"/>
                    <a:pt x="185" y="69"/>
                    <a:pt x="183" y="68"/>
                  </a:cubicBezTo>
                  <a:cubicBezTo>
                    <a:pt x="188" y="69"/>
                    <a:pt x="193" y="69"/>
                    <a:pt x="196" y="66"/>
                  </a:cubicBezTo>
                  <a:cubicBezTo>
                    <a:pt x="198" y="63"/>
                    <a:pt x="199" y="60"/>
                    <a:pt x="202" y="57"/>
                  </a:cubicBezTo>
                  <a:cubicBezTo>
                    <a:pt x="205" y="53"/>
                    <a:pt x="209" y="58"/>
                    <a:pt x="212" y="58"/>
                  </a:cubicBezTo>
                  <a:cubicBezTo>
                    <a:pt x="217" y="59"/>
                    <a:pt x="217" y="53"/>
                    <a:pt x="214" y="51"/>
                  </a:cubicBezTo>
                  <a:cubicBezTo>
                    <a:pt x="218" y="51"/>
                    <a:pt x="215" y="45"/>
                    <a:pt x="213" y="44"/>
                  </a:cubicBezTo>
                  <a:cubicBezTo>
                    <a:pt x="211" y="43"/>
                    <a:pt x="202" y="46"/>
                    <a:pt x="207" y="47"/>
                  </a:cubicBezTo>
                  <a:cubicBezTo>
                    <a:pt x="206" y="47"/>
                    <a:pt x="200" y="59"/>
                    <a:pt x="196" y="53"/>
                  </a:cubicBezTo>
                  <a:cubicBezTo>
                    <a:pt x="195" y="52"/>
                    <a:pt x="195" y="47"/>
                    <a:pt x="193" y="46"/>
                  </a:cubicBezTo>
                  <a:cubicBezTo>
                    <a:pt x="190" y="46"/>
                    <a:pt x="189" y="49"/>
                    <a:pt x="188" y="50"/>
                  </a:cubicBezTo>
                  <a:cubicBezTo>
                    <a:pt x="190" y="47"/>
                    <a:pt x="181" y="45"/>
                    <a:pt x="180" y="44"/>
                  </a:cubicBezTo>
                  <a:cubicBezTo>
                    <a:pt x="183" y="42"/>
                    <a:pt x="180" y="39"/>
                    <a:pt x="178" y="38"/>
                  </a:cubicBezTo>
                  <a:cubicBezTo>
                    <a:pt x="176" y="36"/>
                    <a:pt x="169" y="35"/>
                    <a:pt x="168" y="37"/>
                  </a:cubicBezTo>
                  <a:cubicBezTo>
                    <a:pt x="163" y="43"/>
                    <a:pt x="173" y="44"/>
                    <a:pt x="175" y="45"/>
                  </a:cubicBezTo>
                  <a:cubicBezTo>
                    <a:pt x="176" y="46"/>
                    <a:pt x="179" y="48"/>
                    <a:pt x="177" y="49"/>
                  </a:cubicBezTo>
                  <a:cubicBezTo>
                    <a:pt x="176" y="50"/>
                    <a:pt x="171" y="51"/>
                    <a:pt x="171" y="52"/>
                  </a:cubicBezTo>
                  <a:cubicBezTo>
                    <a:pt x="169" y="54"/>
                    <a:pt x="172" y="57"/>
                    <a:pt x="170" y="59"/>
                  </a:cubicBezTo>
                  <a:cubicBezTo>
                    <a:pt x="168" y="57"/>
                    <a:pt x="168" y="53"/>
                    <a:pt x="166" y="50"/>
                  </a:cubicBezTo>
                  <a:cubicBezTo>
                    <a:pt x="168" y="53"/>
                    <a:pt x="157" y="52"/>
                    <a:pt x="157" y="52"/>
                  </a:cubicBezTo>
                  <a:cubicBezTo>
                    <a:pt x="154" y="52"/>
                    <a:pt x="148" y="54"/>
                    <a:pt x="145" y="50"/>
                  </a:cubicBezTo>
                  <a:cubicBezTo>
                    <a:pt x="144" y="49"/>
                    <a:pt x="144" y="44"/>
                    <a:pt x="146" y="45"/>
                  </a:cubicBezTo>
                  <a:cubicBezTo>
                    <a:pt x="144" y="43"/>
                    <a:pt x="142" y="41"/>
                    <a:pt x="141" y="40"/>
                  </a:cubicBezTo>
                  <a:cubicBezTo>
                    <a:pt x="132" y="43"/>
                    <a:pt x="125" y="47"/>
                    <a:pt x="117" y="51"/>
                  </a:cubicBezTo>
                  <a:cubicBezTo>
                    <a:pt x="118" y="51"/>
                    <a:pt x="119" y="51"/>
                    <a:pt x="120" y="50"/>
                  </a:cubicBezTo>
                  <a:cubicBezTo>
                    <a:pt x="122" y="50"/>
                    <a:pt x="124" y="48"/>
                    <a:pt x="126" y="47"/>
                  </a:cubicBezTo>
                  <a:cubicBezTo>
                    <a:pt x="128" y="46"/>
                    <a:pt x="134" y="43"/>
                    <a:pt x="136" y="46"/>
                  </a:cubicBezTo>
                  <a:cubicBezTo>
                    <a:pt x="137" y="45"/>
                    <a:pt x="137" y="45"/>
                    <a:pt x="138" y="44"/>
                  </a:cubicBezTo>
                  <a:cubicBezTo>
                    <a:pt x="139" y="46"/>
                    <a:pt x="141" y="48"/>
                    <a:pt x="143" y="51"/>
                  </a:cubicBezTo>
                  <a:cubicBezTo>
                    <a:pt x="141" y="50"/>
                    <a:pt x="137" y="50"/>
                    <a:pt x="135" y="50"/>
                  </a:cubicBezTo>
                  <a:cubicBezTo>
                    <a:pt x="133" y="51"/>
                    <a:pt x="130" y="51"/>
                    <a:pt x="130" y="53"/>
                  </a:cubicBezTo>
                  <a:cubicBezTo>
                    <a:pt x="130" y="55"/>
                    <a:pt x="131" y="57"/>
                    <a:pt x="131" y="58"/>
                  </a:cubicBezTo>
                  <a:cubicBezTo>
                    <a:pt x="128" y="56"/>
                    <a:pt x="125" y="52"/>
                    <a:pt x="121" y="51"/>
                  </a:cubicBezTo>
                  <a:cubicBezTo>
                    <a:pt x="119" y="51"/>
                    <a:pt x="117" y="51"/>
                    <a:pt x="115" y="52"/>
                  </a:cubicBezTo>
                  <a:cubicBezTo>
                    <a:pt x="91" y="65"/>
                    <a:pt x="71" y="84"/>
                    <a:pt x="56" y="107"/>
                  </a:cubicBezTo>
                  <a:cubicBezTo>
                    <a:pt x="57" y="108"/>
                    <a:pt x="58" y="109"/>
                    <a:pt x="59" y="109"/>
                  </a:cubicBezTo>
                  <a:cubicBezTo>
                    <a:pt x="62" y="110"/>
                    <a:pt x="59" y="117"/>
                    <a:pt x="64" y="113"/>
                  </a:cubicBezTo>
                  <a:cubicBezTo>
                    <a:pt x="66" y="115"/>
                    <a:pt x="66" y="116"/>
                    <a:pt x="65" y="118"/>
                  </a:cubicBezTo>
                  <a:cubicBezTo>
                    <a:pt x="65" y="118"/>
                    <a:pt x="75" y="124"/>
                    <a:pt x="76" y="125"/>
                  </a:cubicBezTo>
                  <a:cubicBezTo>
                    <a:pt x="78" y="126"/>
                    <a:pt x="80" y="128"/>
                    <a:pt x="81" y="130"/>
                  </a:cubicBezTo>
                  <a:cubicBezTo>
                    <a:pt x="82" y="132"/>
                    <a:pt x="80" y="134"/>
                    <a:pt x="79" y="135"/>
                  </a:cubicBezTo>
                  <a:cubicBezTo>
                    <a:pt x="78" y="134"/>
                    <a:pt x="75" y="130"/>
                    <a:pt x="74" y="131"/>
                  </a:cubicBezTo>
                  <a:cubicBezTo>
                    <a:pt x="73" y="133"/>
                    <a:pt x="74" y="139"/>
                    <a:pt x="77" y="139"/>
                  </a:cubicBezTo>
                  <a:cubicBezTo>
                    <a:pt x="73" y="139"/>
                    <a:pt x="75" y="155"/>
                    <a:pt x="74" y="158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3" y="161"/>
                    <a:pt x="76" y="173"/>
                    <a:pt x="81" y="172"/>
                  </a:cubicBezTo>
                  <a:cubicBezTo>
                    <a:pt x="78" y="172"/>
                    <a:pt x="87" y="184"/>
                    <a:pt x="88" y="185"/>
                  </a:cubicBezTo>
                  <a:cubicBezTo>
                    <a:pt x="91" y="187"/>
                    <a:pt x="95" y="188"/>
                    <a:pt x="97" y="192"/>
                  </a:cubicBezTo>
                  <a:cubicBezTo>
                    <a:pt x="100" y="195"/>
                    <a:pt x="100" y="201"/>
                    <a:pt x="103" y="203"/>
                  </a:cubicBezTo>
                  <a:cubicBezTo>
                    <a:pt x="102" y="206"/>
                    <a:pt x="108" y="210"/>
                    <a:pt x="108" y="214"/>
                  </a:cubicBezTo>
                  <a:cubicBezTo>
                    <a:pt x="108" y="214"/>
                    <a:pt x="107" y="214"/>
                    <a:pt x="107" y="215"/>
                  </a:cubicBezTo>
                  <a:cubicBezTo>
                    <a:pt x="108" y="218"/>
                    <a:pt x="113" y="218"/>
                    <a:pt x="115" y="221"/>
                  </a:cubicBezTo>
                  <a:cubicBezTo>
                    <a:pt x="116" y="223"/>
                    <a:pt x="115" y="228"/>
                    <a:pt x="118" y="227"/>
                  </a:cubicBezTo>
                  <a:cubicBezTo>
                    <a:pt x="118" y="222"/>
                    <a:pt x="115" y="216"/>
                    <a:pt x="112" y="212"/>
                  </a:cubicBezTo>
                  <a:cubicBezTo>
                    <a:pt x="110" y="209"/>
                    <a:pt x="109" y="207"/>
                    <a:pt x="108" y="204"/>
                  </a:cubicBezTo>
                  <a:cubicBezTo>
                    <a:pt x="106" y="202"/>
                    <a:pt x="106" y="199"/>
                    <a:pt x="105" y="197"/>
                  </a:cubicBezTo>
                  <a:cubicBezTo>
                    <a:pt x="106" y="197"/>
                    <a:pt x="112" y="199"/>
                    <a:pt x="111" y="200"/>
                  </a:cubicBezTo>
                  <a:cubicBezTo>
                    <a:pt x="109" y="205"/>
                    <a:pt x="119" y="214"/>
                    <a:pt x="122" y="217"/>
                  </a:cubicBezTo>
                  <a:cubicBezTo>
                    <a:pt x="123" y="218"/>
                    <a:pt x="128" y="225"/>
                    <a:pt x="125" y="225"/>
                  </a:cubicBezTo>
                  <a:cubicBezTo>
                    <a:pt x="129" y="225"/>
                    <a:pt x="133" y="230"/>
                    <a:pt x="135" y="233"/>
                  </a:cubicBezTo>
                  <a:cubicBezTo>
                    <a:pt x="137" y="236"/>
                    <a:pt x="136" y="241"/>
                    <a:pt x="138" y="245"/>
                  </a:cubicBezTo>
                  <a:cubicBezTo>
                    <a:pt x="139" y="250"/>
                    <a:pt x="146" y="252"/>
                    <a:pt x="150" y="255"/>
                  </a:cubicBezTo>
                  <a:cubicBezTo>
                    <a:pt x="154" y="256"/>
                    <a:pt x="157" y="259"/>
                    <a:pt x="160" y="260"/>
                  </a:cubicBezTo>
                  <a:cubicBezTo>
                    <a:pt x="166" y="262"/>
                    <a:pt x="167" y="260"/>
                    <a:pt x="171" y="260"/>
                  </a:cubicBezTo>
                  <a:cubicBezTo>
                    <a:pt x="178" y="259"/>
                    <a:pt x="179" y="266"/>
                    <a:pt x="184" y="269"/>
                  </a:cubicBezTo>
                  <a:cubicBezTo>
                    <a:pt x="187" y="270"/>
                    <a:pt x="194" y="273"/>
                    <a:pt x="198" y="271"/>
                  </a:cubicBezTo>
                  <a:cubicBezTo>
                    <a:pt x="196" y="272"/>
                    <a:pt x="203" y="282"/>
                    <a:pt x="204" y="283"/>
                  </a:cubicBezTo>
                  <a:cubicBezTo>
                    <a:pt x="206" y="286"/>
                    <a:pt x="210" y="287"/>
                    <a:pt x="213" y="290"/>
                  </a:cubicBezTo>
                  <a:cubicBezTo>
                    <a:pt x="213" y="290"/>
                    <a:pt x="214" y="289"/>
                    <a:pt x="214" y="288"/>
                  </a:cubicBezTo>
                  <a:cubicBezTo>
                    <a:pt x="213" y="291"/>
                    <a:pt x="218" y="296"/>
                    <a:pt x="221" y="296"/>
                  </a:cubicBezTo>
                  <a:cubicBezTo>
                    <a:pt x="223" y="295"/>
                    <a:pt x="224" y="290"/>
                    <a:pt x="224" y="288"/>
                  </a:cubicBezTo>
                  <a:cubicBezTo>
                    <a:pt x="219" y="290"/>
                    <a:pt x="215" y="288"/>
                    <a:pt x="212" y="283"/>
                  </a:cubicBezTo>
                  <a:cubicBezTo>
                    <a:pt x="211" y="282"/>
                    <a:pt x="207" y="275"/>
                    <a:pt x="211" y="275"/>
                  </a:cubicBezTo>
                  <a:cubicBezTo>
                    <a:pt x="216" y="275"/>
                    <a:pt x="212" y="271"/>
                    <a:pt x="212" y="268"/>
                  </a:cubicBezTo>
                  <a:cubicBezTo>
                    <a:pt x="211" y="264"/>
                    <a:pt x="208" y="262"/>
                    <a:pt x="206" y="259"/>
                  </a:cubicBezTo>
                  <a:cubicBezTo>
                    <a:pt x="205" y="262"/>
                    <a:pt x="200" y="261"/>
                    <a:pt x="198" y="259"/>
                  </a:cubicBezTo>
                  <a:cubicBezTo>
                    <a:pt x="198" y="259"/>
                    <a:pt x="197" y="261"/>
                    <a:pt x="197" y="262"/>
                  </a:cubicBezTo>
                  <a:cubicBezTo>
                    <a:pt x="196" y="262"/>
                    <a:pt x="195" y="262"/>
                    <a:pt x="194" y="261"/>
                  </a:cubicBezTo>
                  <a:cubicBezTo>
                    <a:pt x="194" y="258"/>
                    <a:pt x="194" y="255"/>
                    <a:pt x="195" y="251"/>
                  </a:cubicBezTo>
                  <a:cubicBezTo>
                    <a:pt x="196" y="247"/>
                    <a:pt x="205" y="238"/>
                    <a:pt x="194" y="239"/>
                  </a:cubicBezTo>
                  <a:cubicBezTo>
                    <a:pt x="190" y="239"/>
                    <a:pt x="188" y="240"/>
                    <a:pt x="187" y="244"/>
                  </a:cubicBezTo>
                  <a:cubicBezTo>
                    <a:pt x="186" y="247"/>
                    <a:pt x="186" y="249"/>
                    <a:pt x="183" y="251"/>
                  </a:cubicBezTo>
                  <a:cubicBezTo>
                    <a:pt x="181" y="252"/>
                    <a:pt x="173" y="251"/>
                    <a:pt x="171" y="250"/>
                  </a:cubicBezTo>
                  <a:cubicBezTo>
                    <a:pt x="166" y="247"/>
                    <a:pt x="163" y="239"/>
                    <a:pt x="163" y="234"/>
                  </a:cubicBezTo>
                  <a:cubicBezTo>
                    <a:pt x="163" y="227"/>
                    <a:pt x="166" y="221"/>
                    <a:pt x="163" y="215"/>
                  </a:cubicBezTo>
                  <a:cubicBezTo>
                    <a:pt x="164" y="213"/>
                    <a:pt x="166" y="211"/>
                    <a:pt x="168" y="210"/>
                  </a:cubicBezTo>
                  <a:cubicBezTo>
                    <a:pt x="169" y="209"/>
                    <a:pt x="171" y="210"/>
                    <a:pt x="172" y="207"/>
                  </a:cubicBezTo>
                  <a:cubicBezTo>
                    <a:pt x="171" y="207"/>
                    <a:pt x="170" y="206"/>
                    <a:pt x="170" y="206"/>
                  </a:cubicBezTo>
                  <a:cubicBezTo>
                    <a:pt x="173" y="208"/>
                    <a:pt x="180" y="203"/>
                    <a:pt x="184" y="206"/>
                  </a:cubicBezTo>
                  <a:cubicBezTo>
                    <a:pt x="186" y="207"/>
                    <a:pt x="188" y="208"/>
                    <a:pt x="189" y="205"/>
                  </a:cubicBezTo>
                  <a:cubicBezTo>
                    <a:pt x="189" y="205"/>
                    <a:pt x="187" y="202"/>
                    <a:pt x="188" y="200"/>
                  </a:cubicBezTo>
                  <a:cubicBezTo>
                    <a:pt x="189" y="204"/>
                    <a:pt x="192" y="205"/>
                    <a:pt x="196" y="202"/>
                  </a:cubicBezTo>
                  <a:cubicBezTo>
                    <a:pt x="197" y="203"/>
                    <a:pt x="201" y="203"/>
                    <a:pt x="204" y="204"/>
                  </a:cubicBezTo>
                  <a:cubicBezTo>
                    <a:pt x="207" y="206"/>
                    <a:pt x="207" y="209"/>
                    <a:pt x="211" y="205"/>
                  </a:cubicBezTo>
                  <a:cubicBezTo>
                    <a:pt x="213" y="208"/>
                    <a:pt x="213" y="208"/>
                    <a:pt x="214" y="211"/>
                  </a:cubicBezTo>
                  <a:cubicBezTo>
                    <a:pt x="214" y="214"/>
                    <a:pt x="216" y="221"/>
                    <a:pt x="218" y="222"/>
                  </a:cubicBezTo>
                  <a:cubicBezTo>
                    <a:pt x="224" y="225"/>
                    <a:pt x="222" y="217"/>
                    <a:pt x="222" y="214"/>
                  </a:cubicBezTo>
                  <a:cubicBezTo>
                    <a:pt x="222" y="213"/>
                    <a:pt x="222" y="205"/>
                    <a:pt x="221" y="205"/>
                  </a:cubicBezTo>
                  <a:cubicBezTo>
                    <a:pt x="213" y="203"/>
                    <a:pt x="216" y="197"/>
                    <a:pt x="221" y="193"/>
                  </a:cubicBezTo>
                  <a:cubicBezTo>
                    <a:pt x="222" y="192"/>
                    <a:pt x="227" y="190"/>
                    <a:pt x="230" y="188"/>
                  </a:cubicBezTo>
                  <a:cubicBezTo>
                    <a:pt x="232" y="186"/>
                    <a:pt x="235" y="183"/>
                    <a:pt x="234" y="179"/>
                  </a:cubicBezTo>
                  <a:cubicBezTo>
                    <a:pt x="235" y="179"/>
                    <a:pt x="236" y="178"/>
                    <a:pt x="236" y="177"/>
                  </a:cubicBezTo>
                  <a:cubicBezTo>
                    <a:pt x="236" y="177"/>
                    <a:pt x="233" y="174"/>
                    <a:pt x="232" y="175"/>
                  </a:cubicBezTo>
                  <a:cubicBezTo>
                    <a:pt x="234" y="174"/>
                    <a:pt x="234" y="172"/>
                    <a:pt x="233" y="171"/>
                  </a:cubicBezTo>
                  <a:cubicBezTo>
                    <a:pt x="235" y="169"/>
                    <a:pt x="234" y="166"/>
                    <a:pt x="236" y="165"/>
                  </a:cubicBezTo>
                  <a:cubicBezTo>
                    <a:pt x="239" y="169"/>
                    <a:pt x="245" y="165"/>
                    <a:pt x="242" y="162"/>
                  </a:cubicBezTo>
                  <a:cubicBezTo>
                    <a:pt x="244" y="158"/>
                    <a:pt x="250" y="160"/>
                    <a:pt x="252" y="157"/>
                  </a:cubicBezTo>
                  <a:cubicBezTo>
                    <a:pt x="255" y="158"/>
                    <a:pt x="253" y="153"/>
                    <a:pt x="255" y="150"/>
                  </a:cubicBezTo>
                  <a:cubicBezTo>
                    <a:pt x="256" y="148"/>
                    <a:pt x="259" y="148"/>
                    <a:pt x="262" y="147"/>
                  </a:cubicBezTo>
                  <a:cubicBezTo>
                    <a:pt x="262" y="147"/>
                    <a:pt x="268" y="143"/>
                    <a:pt x="266" y="143"/>
                  </a:cubicBezTo>
                  <a:cubicBezTo>
                    <a:pt x="270" y="144"/>
                    <a:pt x="279" y="139"/>
                    <a:pt x="272" y="135"/>
                  </a:cubicBezTo>
                  <a:cubicBezTo>
                    <a:pt x="273" y="133"/>
                    <a:pt x="270" y="132"/>
                    <a:pt x="268" y="132"/>
                  </a:cubicBezTo>
                  <a:cubicBezTo>
                    <a:pt x="269" y="131"/>
                    <a:pt x="272" y="132"/>
                    <a:pt x="273" y="131"/>
                  </a:cubicBezTo>
                  <a:cubicBezTo>
                    <a:pt x="276" y="129"/>
                    <a:pt x="274" y="128"/>
                    <a:pt x="271" y="127"/>
                  </a:cubicBezTo>
                  <a:cubicBezTo>
                    <a:pt x="268" y="126"/>
                    <a:pt x="263" y="128"/>
                    <a:pt x="261" y="130"/>
                  </a:cubicBezTo>
                  <a:cubicBezTo>
                    <a:pt x="259" y="132"/>
                    <a:pt x="257" y="134"/>
                    <a:pt x="255" y="135"/>
                  </a:cubicBezTo>
                  <a:close/>
                  <a:moveTo>
                    <a:pt x="308" y="302"/>
                  </a:moveTo>
                  <a:cubicBezTo>
                    <a:pt x="306" y="301"/>
                    <a:pt x="303" y="301"/>
                    <a:pt x="301" y="300"/>
                  </a:cubicBezTo>
                  <a:cubicBezTo>
                    <a:pt x="299" y="300"/>
                    <a:pt x="298" y="299"/>
                    <a:pt x="295" y="298"/>
                  </a:cubicBezTo>
                  <a:cubicBezTo>
                    <a:pt x="296" y="293"/>
                    <a:pt x="290" y="292"/>
                    <a:pt x="287" y="289"/>
                  </a:cubicBezTo>
                  <a:cubicBezTo>
                    <a:pt x="284" y="287"/>
                    <a:pt x="282" y="284"/>
                    <a:pt x="277" y="285"/>
                  </a:cubicBezTo>
                  <a:cubicBezTo>
                    <a:pt x="276" y="285"/>
                    <a:pt x="271" y="287"/>
                    <a:pt x="272" y="288"/>
                  </a:cubicBezTo>
                  <a:cubicBezTo>
                    <a:pt x="269" y="285"/>
                    <a:pt x="268" y="284"/>
                    <a:pt x="263" y="282"/>
                  </a:cubicBezTo>
                  <a:cubicBezTo>
                    <a:pt x="259" y="281"/>
                    <a:pt x="257" y="276"/>
                    <a:pt x="253" y="281"/>
                  </a:cubicBezTo>
                  <a:cubicBezTo>
                    <a:pt x="251" y="283"/>
                    <a:pt x="252" y="286"/>
                    <a:pt x="251" y="288"/>
                  </a:cubicBezTo>
                  <a:cubicBezTo>
                    <a:pt x="247" y="285"/>
                    <a:pt x="254" y="282"/>
                    <a:pt x="251" y="279"/>
                  </a:cubicBezTo>
                  <a:cubicBezTo>
                    <a:pt x="248" y="275"/>
                    <a:pt x="243" y="281"/>
                    <a:pt x="240" y="282"/>
                  </a:cubicBezTo>
                  <a:cubicBezTo>
                    <a:pt x="239" y="284"/>
                    <a:pt x="237" y="284"/>
                    <a:pt x="236" y="286"/>
                  </a:cubicBezTo>
                  <a:cubicBezTo>
                    <a:pt x="235" y="287"/>
                    <a:pt x="234" y="290"/>
                    <a:pt x="233" y="291"/>
                  </a:cubicBezTo>
                  <a:cubicBezTo>
                    <a:pt x="233" y="289"/>
                    <a:pt x="228" y="290"/>
                    <a:pt x="228" y="288"/>
                  </a:cubicBezTo>
                  <a:cubicBezTo>
                    <a:pt x="229" y="294"/>
                    <a:pt x="229" y="301"/>
                    <a:pt x="230" y="307"/>
                  </a:cubicBezTo>
                  <a:cubicBezTo>
                    <a:pt x="231" y="310"/>
                    <a:pt x="230" y="316"/>
                    <a:pt x="227" y="319"/>
                  </a:cubicBezTo>
                  <a:cubicBezTo>
                    <a:pt x="224" y="321"/>
                    <a:pt x="221" y="324"/>
                    <a:pt x="220" y="329"/>
                  </a:cubicBezTo>
                  <a:cubicBezTo>
                    <a:pt x="220" y="332"/>
                    <a:pt x="220" y="334"/>
                    <a:pt x="223" y="335"/>
                  </a:cubicBezTo>
                  <a:cubicBezTo>
                    <a:pt x="223" y="339"/>
                    <a:pt x="219" y="342"/>
                    <a:pt x="219" y="346"/>
                  </a:cubicBezTo>
                  <a:cubicBezTo>
                    <a:pt x="219" y="346"/>
                    <a:pt x="220" y="348"/>
                    <a:pt x="220" y="350"/>
                  </a:cubicBezTo>
                  <a:cubicBezTo>
                    <a:pt x="254" y="344"/>
                    <a:pt x="285" y="327"/>
                    <a:pt x="308" y="3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60" name="Группа 159"/>
            <p:cNvGrpSpPr/>
            <p:nvPr/>
          </p:nvGrpSpPr>
          <p:grpSpPr>
            <a:xfrm>
              <a:off x="4219560" y="3369098"/>
              <a:ext cx="7243640" cy="2617900"/>
              <a:chOff x="4219560" y="3369098"/>
              <a:chExt cx="7243640" cy="2617900"/>
            </a:xfrm>
          </p:grpSpPr>
          <p:grpSp>
            <p:nvGrpSpPr>
              <p:cNvPr id="137" name="Группа 136"/>
              <p:cNvGrpSpPr/>
              <p:nvPr/>
            </p:nvGrpSpPr>
            <p:grpSpPr>
              <a:xfrm>
                <a:off x="5845655" y="3907179"/>
                <a:ext cx="5617545" cy="2079819"/>
                <a:chOff x="5845655" y="3291490"/>
                <a:chExt cx="5617545" cy="2079819"/>
              </a:xfrm>
            </p:grpSpPr>
            <p:grpSp>
              <p:nvGrpSpPr>
                <p:cNvPr id="103" name="Группа 102"/>
                <p:cNvGrpSpPr/>
                <p:nvPr/>
              </p:nvGrpSpPr>
              <p:grpSpPr>
                <a:xfrm>
                  <a:off x="5845655" y="3291490"/>
                  <a:ext cx="5617545" cy="2079819"/>
                  <a:chOff x="-1243336" y="1842926"/>
                  <a:chExt cx="5617545" cy="2079819"/>
                </a:xfrm>
              </p:grpSpPr>
              <p:sp>
                <p:nvSpPr>
                  <p:cNvPr id="104" name="TextBox 103">
                    <a:extLst>
                      <a:ext uri="{FF2B5EF4-FFF2-40B4-BE49-F238E27FC236}">
                        <a16:creationId xmlns:a16="http://schemas.microsoft.com/office/drawing/2014/main" id="{B84F05E5-66E5-451A-922E-237FDE35085A}"/>
                      </a:ext>
                    </a:extLst>
                  </p:cNvPr>
                  <p:cNvSpPr txBox="1"/>
                  <p:nvPr/>
                </p:nvSpPr>
                <p:spPr>
                  <a:xfrm>
                    <a:off x="-1243336" y="1842926"/>
                    <a:ext cx="5617545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>
                      <a:defRPr/>
                    </a:pPr>
                    <a:r>
                      <a:rPr lang="ru-RU" sz="1600" b="1" dirty="0">
                        <a:solidFill>
                          <a:srgbClr val="E81D30"/>
                        </a:solidFill>
                        <a:latin typeface="Agency FB" panose="020B0503020202020204" pitchFamily="34" charset="0"/>
                      </a:rPr>
                      <a:t>Корпоративные </a:t>
                    </a:r>
                    <a:r>
                      <a:rPr lang="en-US" sz="1600" b="1" dirty="0">
                        <a:solidFill>
                          <a:srgbClr val="E81D30"/>
                        </a:solidFill>
                        <a:latin typeface="Agency FB" panose="020B0503020202020204" pitchFamily="34" charset="0"/>
                      </a:rPr>
                      <a:t>M&amp;A</a:t>
                    </a:r>
                    <a:endParaRPr lang="en-US" sz="1600" b="1" dirty="0">
                      <a:solidFill>
                        <a:srgbClr val="E81D30"/>
                      </a:solidFill>
                      <a:latin typeface="Agency FB" panose="020B0503020202020204" pitchFamily="34" charset="0"/>
                    </a:endParaRPr>
                  </a:p>
                </p:txBody>
              </p:sp>
              <p:sp>
                <p:nvSpPr>
                  <p:cNvPr id="105" name="Прямоугольник 104"/>
                  <p:cNvSpPr/>
                  <p:nvPr/>
                </p:nvSpPr>
                <p:spPr>
                  <a:xfrm>
                    <a:off x="194120" y="2293785"/>
                    <a:ext cx="4180089" cy="83099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just"/>
                    <a:r>
                      <a:rPr lang="ru-RU" sz="1200" b="1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rPr>
                      <a:t>Слияние. </a:t>
                    </a:r>
                    <a:r>
                      <a: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rPr>
                      <a:t>Компания, образованная путём слияния, берёт под свой контроль и управление все активы и обязательства перед клиентами компаний, принявших участие в слиянии.</a:t>
                    </a:r>
                    <a:endParaRPr lang="ru-RU" sz="1200" dirty="0">
                      <a:solidFill>
                        <a:schemeClr val="bg1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06" name="Прямоугольник 105"/>
                  <p:cNvSpPr/>
                  <p:nvPr/>
                </p:nvSpPr>
                <p:spPr>
                  <a:xfrm>
                    <a:off x="194120" y="3091748"/>
                    <a:ext cx="4180089" cy="83099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just"/>
                    <a:r>
                      <a:rPr lang="ru-RU" sz="1200" b="1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rPr>
                      <a:t>Поглощение. </a:t>
                    </a:r>
                    <a:r>
                      <a: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rPr>
                      <a:t>Сделка, совершаемая с целью установления 100% контроля основного общества осуществляемая путём приобретения более 30 % уставного капитала.</a:t>
                    </a:r>
                    <a:endParaRPr lang="ru-RU" sz="1200" dirty="0">
                      <a:solidFill>
                        <a:schemeClr val="bg1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</p:grpSp>
            <p:cxnSp>
              <p:nvCxnSpPr>
                <p:cNvPr id="122" name="Прямая со стрелкой 121"/>
                <p:cNvCxnSpPr>
                  <a:stCxn id="149" idx="6"/>
                </p:cNvCxnSpPr>
                <p:nvPr/>
              </p:nvCxnSpPr>
              <p:spPr>
                <a:xfrm>
                  <a:off x="6039497" y="3663378"/>
                  <a:ext cx="5333996" cy="14860"/>
                </a:xfrm>
                <a:prstGeom prst="straightConnector1">
                  <a:avLst/>
                </a:prstGeom>
                <a:ln w="9525">
                  <a:solidFill>
                    <a:srgbClr val="E81D30"/>
                  </a:solidFill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9" name="Circle: Hollow 31">
                <a:extLst>
                  <a:ext uri="{FF2B5EF4-FFF2-40B4-BE49-F238E27FC236}">
                    <a16:creationId xmlns:a16="http://schemas.microsoft.com/office/drawing/2014/main" id="{811DEDE6-D1FA-4671-9525-0725657FC967}"/>
                  </a:ext>
                </a:extLst>
              </p:cNvPr>
              <p:cNvSpPr/>
              <p:nvPr/>
            </p:nvSpPr>
            <p:spPr>
              <a:xfrm>
                <a:off x="4219560" y="3369098"/>
                <a:ext cx="1819937" cy="1819937"/>
              </a:xfrm>
              <a:prstGeom prst="donut">
                <a:avLst>
                  <a:gd name="adj" fmla="val 0"/>
                </a:avLst>
              </a:prstGeom>
              <a:solidFill>
                <a:srgbClr val="1A1E2A"/>
              </a:solidFill>
              <a:ln w="12700" cap="flat" cmpd="sng" algn="ctr">
                <a:solidFill>
                  <a:srgbClr val="E81D3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kern="0">
                  <a:latin typeface="Calibri" panose="020F0502020204030204"/>
                </a:endParaRPr>
              </a:p>
            </p:txBody>
          </p:sp>
        </p:grpSp>
      </p:grpSp>
      <p:cxnSp>
        <p:nvCxnSpPr>
          <p:cNvPr id="166" name="Прямая со стрелкой 165"/>
          <p:cNvCxnSpPr/>
          <p:nvPr/>
        </p:nvCxnSpPr>
        <p:spPr>
          <a:xfrm>
            <a:off x="714327" y="1148791"/>
            <a:ext cx="8649230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652536" y="771236"/>
            <a:ext cx="3902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Теоретические аспекты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M&amp;A</a:t>
            </a:r>
            <a:r>
              <a:rPr lang="ru-RU" sz="1600" b="1" dirty="0" smtClean="0">
                <a:solidFill>
                  <a:srgbClr val="E81D30"/>
                </a:solidFill>
                <a:latin typeface="Tw Cen MT" panose="020B0602020104020603" pitchFamily="34" charset="0"/>
              </a:rPr>
              <a:t>  </a:t>
            </a:r>
            <a:endParaRPr lang="en-US" sz="1600" b="1" dirty="0">
              <a:solidFill>
                <a:srgbClr val="E81D30"/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03506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E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129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ym typeface="+mn-lt"/>
            </a:endParaRPr>
          </a:p>
        </p:txBody>
      </p:sp>
      <p:graphicFrame>
        <p:nvGraphicFramePr>
          <p:cNvPr id="37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94035601"/>
              </p:ext>
            </p:extLst>
          </p:nvPr>
        </p:nvGraphicFramePr>
        <p:xfrm>
          <a:off x="6238875" y="7716838"/>
          <a:ext cx="2746375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6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8540905"/>
              </p:ext>
            </p:extLst>
          </p:nvPr>
        </p:nvGraphicFramePr>
        <p:xfrm>
          <a:off x="9288463" y="7716838"/>
          <a:ext cx="2746375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9877424" y="8736013"/>
            <a:ext cx="1568451" cy="708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BUY</a:t>
            </a:r>
            <a:endParaRPr lang="en-US" sz="4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827837" y="8736013"/>
            <a:ext cx="1568451" cy="708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0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SELL</a:t>
            </a:r>
            <a:endParaRPr lang="en-US" sz="40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-869950" y="11410950"/>
            <a:ext cx="4865688" cy="0"/>
          </a:xfrm>
          <a:prstGeom prst="straightConnector1">
            <a:avLst/>
          </a:prstGeom>
          <a:ln w="9525">
            <a:solidFill>
              <a:srgbClr val="7F7F7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6614501" y="11163300"/>
            <a:ext cx="5229907" cy="461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Составлено автором на основании результатов исследования Роберта Ф. </a:t>
            </a:r>
            <a:r>
              <a:rPr lang="ru-RU" sz="1200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Брунер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" name="Straight Connector 101"/>
          <p:cNvCxnSpPr/>
          <p:nvPr/>
        </p:nvCxnSpPr>
        <p:spPr>
          <a:xfrm flipH="1">
            <a:off x="6655637" y="10788650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01"/>
          <p:cNvCxnSpPr/>
          <p:nvPr/>
        </p:nvCxnSpPr>
        <p:spPr>
          <a:xfrm flipH="1">
            <a:off x="9770661" y="10788650"/>
            <a:ext cx="527683" cy="0"/>
          </a:xfrm>
          <a:prstGeom prst="line">
            <a:avLst/>
          </a:prstGeom>
          <a:ln w="19050">
            <a:solidFill>
              <a:srgbClr val="0070C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183321" y="10620375"/>
            <a:ext cx="16656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% успешных сделок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0298345" y="10620375"/>
            <a:ext cx="16656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% неуспешных сделок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cxnSp>
        <p:nvCxnSpPr>
          <p:cNvPr id="201" name="Прямая соединительная линия 200"/>
          <p:cNvCxnSpPr/>
          <p:nvPr>
            <p:custDataLst>
              <p:tags r:id="rId6"/>
            </p:custDataLst>
          </p:nvPr>
        </p:nvCxnSpPr>
        <p:spPr bwMode="gray">
          <a:xfrm>
            <a:off x="1160463" y="2881313"/>
            <a:ext cx="451485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единительная линия 197"/>
          <p:cNvCxnSpPr/>
          <p:nvPr>
            <p:custDataLst>
              <p:tags r:id="rId7"/>
            </p:custDataLst>
          </p:nvPr>
        </p:nvCxnSpPr>
        <p:spPr bwMode="auto">
          <a:xfrm>
            <a:off x="1160463" y="5072063"/>
            <a:ext cx="4514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Прямая соединительная линия 202"/>
          <p:cNvCxnSpPr/>
          <p:nvPr>
            <p:custDataLst>
              <p:tags r:id="rId8"/>
            </p:custDataLst>
          </p:nvPr>
        </p:nvCxnSpPr>
        <p:spPr bwMode="gray">
          <a:xfrm>
            <a:off x="1160463" y="1787525"/>
            <a:ext cx="451485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/>
          <p:nvPr>
            <p:custDataLst>
              <p:tags r:id="rId9"/>
            </p:custDataLst>
          </p:nvPr>
        </p:nvCxnSpPr>
        <p:spPr bwMode="gray">
          <a:xfrm>
            <a:off x="1160463" y="2333625"/>
            <a:ext cx="451485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/>
          <p:cNvCxnSpPr/>
          <p:nvPr>
            <p:custDataLst>
              <p:tags r:id="rId10"/>
            </p:custDataLst>
          </p:nvPr>
        </p:nvCxnSpPr>
        <p:spPr bwMode="gray">
          <a:xfrm>
            <a:off x="1160463" y="3429000"/>
            <a:ext cx="451485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/>
          <p:cNvCxnSpPr/>
          <p:nvPr>
            <p:custDataLst>
              <p:tags r:id="rId11"/>
            </p:custDataLst>
          </p:nvPr>
        </p:nvCxnSpPr>
        <p:spPr bwMode="gray">
          <a:xfrm>
            <a:off x="1160463" y="3976688"/>
            <a:ext cx="4514850" cy="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4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42815315"/>
              </p:ext>
            </p:extLst>
          </p:nvPr>
        </p:nvGraphicFramePr>
        <p:xfrm>
          <a:off x="1077913" y="1704975"/>
          <a:ext cx="4679950" cy="3449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74" name="TextBox 27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-229867" y="806392"/>
            <a:ext cx="6362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ource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: 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Cambridge Associates LLC, periods ending  September 30, 2013</a:t>
            </a: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cxnSp>
        <p:nvCxnSpPr>
          <p:cNvPr id="292" name="Прямая со стрелкой 291"/>
          <p:cNvCxnSpPr/>
          <p:nvPr/>
        </p:nvCxnSpPr>
        <p:spPr>
          <a:xfrm>
            <a:off x="647576" y="1148791"/>
            <a:ext cx="4564125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Box 292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557254" y="534516"/>
            <a:ext cx="336255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ROI</a:t>
            </a:r>
            <a:r>
              <a:rPr lang="ru-RU" sz="1600" b="1" dirty="0" smtClean="0">
                <a:solidFill>
                  <a:srgbClr val="E81D30"/>
                </a:solidFill>
                <a:latin typeface="Tw Cen MT" panose="020B0602020104020603" pitchFamily="34" charset="0"/>
              </a:rPr>
              <a:t>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PE Funds</a:t>
            </a:r>
            <a:endParaRPr lang="en-US" sz="1600" b="1" dirty="0">
              <a:solidFill>
                <a:srgbClr val="E81D30"/>
              </a:solidFill>
              <a:latin typeface="Agency FB" panose="020B0503020202020204" pitchFamily="34" charset="0"/>
            </a:endParaRPr>
          </a:p>
          <a:p>
            <a:pPr>
              <a:defRPr/>
            </a:pPr>
            <a:r>
              <a:rPr lang="ru-RU" b="1" dirty="0" smtClean="0">
                <a:solidFill>
                  <a:srgbClr val="E81D30"/>
                </a:solidFill>
                <a:latin typeface="Tw Cen MT" panose="020B0602020104020603" pitchFamily="34" charset="0"/>
              </a:rPr>
              <a:t>  </a:t>
            </a:r>
            <a:endParaRPr lang="en-US" b="1" dirty="0">
              <a:solidFill>
                <a:srgbClr val="E81D30"/>
              </a:solidFill>
              <a:latin typeface="Tw Cen MT" panose="020B06020201040206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-471251" y="1173997"/>
            <a:ext cx="236859" cy="482282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>
              <a:defRPr/>
            </a:pPr>
            <a:r>
              <a:rPr lang="en-US" sz="14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Annualized Return, %</a:t>
            </a:r>
            <a:endParaRPr lang="en-US" sz="14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02698" y="4913473"/>
            <a:ext cx="32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-5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02698" y="4368193"/>
            <a:ext cx="32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0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02698" y="3822913"/>
            <a:ext cx="32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5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02698" y="3277633"/>
            <a:ext cx="32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0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02698" y="2724098"/>
            <a:ext cx="320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5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70745" y="2176657"/>
            <a:ext cx="424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70745" y="1633636"/>
            <a:ext cx="424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5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75" name="Прямоугольник 274"/>
          <p:cNvSpPr/>
          <p:nvPr/>
        </p:nvSpPr>
        <p:spPr>
          <a:xfrm>
            <a:off x="3922780" y="5783688"/>
            <a:ext cx="148484" cy="192087"/>
          </a:xfrm>
          <a:prstGeom prst="rect">
            <a:avLst/>
          </a:prstGeom>
          <a:solidFill>
            <a:srgbClr val="75767A"/>
          </a:solidFill>
          <a:ln>
            <a:solidFill>
              <a:srgbClr val="757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>
              <a:solidFill>
                <a:schemeClr val="bg1">
                  <a:lumMod val="90000"/>
                </a:schemeClr>
              </a:solidFill>
            </a:endParaRPr>
          </a:p>
        </p:txBody>
      </p:sp>
      <p:sp>
        <p:nvSpPr>
          <p:cNvPr id="276" name="Прямоугольник 275"/>
          <p:cNvSpPr/>
          <p:nvPr/>
        </p:nvSpPr>
        <p:spPr>
          <a:xfrm>
            <a:off x="2075493" y="5783688"/>
            <a:ext cx="148484" cy="192087"/>
          </a:xfrm>
          <a:prstGeom prst="rect">
            <a:avLst/>
          </a:prstGeom>
          <a:solidFill>
            <a:srgbClr val="F3F3F5"/>
          </a:solidFill>
          <a:ln>
            <a:solidFill>
              <a:srgbClr val="F3F3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>
              <a:solidFill>
                <a:schemeClr val="bg1">
                  <a:lumMod val="90000"/>
                </a:schemeClr>
              </a:solidFill>
            </a:endParaRPr>
          </a:p>
        </p:txBody>
      </p:sp>
      <p:sp>
        <p:nvSpPr>
          <p:cNvPr id="277" name="Прямоугольник 276"/>
          <p:cNvSpPr/>
          <p:nvPr/>
        </p:nvSpPr>
        <p:spPr>
          <a:xfrm>
            <a:off x="647576" y="5783688"/>
            <a:ext cx="148484" cy="192087"/>
          </a:xfrm>
          <a:prstGeom prst="rect">
            <a:avLst/>
          </a:prstGeom>
          <a:solidFill>
            <a:srgbClr val="E81D30"/>
          </a:solidFill>
          <a:ln>
            <a:solidFill>
              <a:srgbClr val="E81D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>
              <a:solidFill>
                <a:schemeClr val="bg1">
                  <a:lumMod val="90000"/>
                </a:schemeClr>
              </a:solidFill>
            </a:endParaRPr>
          </a:p>
        </p:txBody>
      </p:sp>
      <p:sp>
        <p:nvSpPr>
          <p:cNvPr id="280" name="Прямоугольник 279"/>
          <p:cNvSpPr/>
          <p:nvPr/>
        </p:nvSpPr>
        <p:spPr>
          <a:xfrm>
            <a:off x="4728041" y="5783688"/>
            <a:ext cx="148484" cy="192087"/>
          </a:xfrm>
          <a:prstGeom prst="rect">
            <a:avLst/>
          </a:prstGeom>
          <a:solidFill>
            <a:srgbClr val="A6A7AB"/>
          </a:solidFill>
          <a:ln>
            <a:solidFill>
              <a:srgbClr val="A6A7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>
              <a:solidFill>
                <a:schemeClr val="bg1">
                  <a:lumMod val="90000"/>
                </a:schemeClr>
              </a:solidFill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96060" y="5722520"/>
            <a:ext cx="16367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Private Equity Index</a:t>
            </a:r>
            <a:endParaRPr lang="en-US" sz="14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254049" y="5730918"/>
            <a:ext cx="2025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Barclays </a:t>
            </a:r>
            <a:r>
              <a:rPr lang="en-US" sz="14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Govt</a:t>
            </a: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.</a:t>
            </a:r>
            <a:r>
              <a:rPr lang="en-US" sz="14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 </a:t>
            </a: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Bond Index</a:t>
            </a:r>
            <a:endParaRPr lang="en-US" sz="14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111333" y="5722521"/>
            <a:ext cx="710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Nasdaq</a:t>
            </a:r>
            <a:endParaRPr lang="en-US" sz="14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876525" y="5722520"/>
            <a:ext cx="2025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&amp;P 500</a:t>
            </a:r>
            <a:endParaRPr lang="en-US" sz="14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158039" y="5130789"/>
            <a:ext cx="4487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1789353" y="5130789"/>
            <a:ext cx="545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3</a:t>
            </a: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470307" y="5130789"/>
            <a:ext cx="545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5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142216" y="5130789"/>
            <a:ext cx="543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0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796670" y="5130789"/>
            <a:ext cx="543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15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451124" y="5130789"/>
            <a:ext cx="545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0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084584" y="5130789"/>
            <a:ext cx="545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00" b="1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25 </a:t>
            </a:r>
            <a:r>
              <a:rPr lang="en-US" sz="1400" b="1" dirty="0" err="1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yr</a:t>
            </a:r>
            <a:endParaRPr lang="en-US" sz="1400" b="1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graphicFrame>
        <p:nvGraphicFramePr>
          <p:cNvPr id="377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00961773"/>
              </p:ext>
            </p:extLst>
          </p:nvPr>
        </p:nvGraphicFramePr>
        <p:xfrm>
          <a:off x="6592888" y="2082800"/>
          <a:ext cx="2316162" cy="2316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39" name="TextBox 33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6436519" y="2887663"/>
            <a:ext cx="2686050" cy="706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40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76%</a:t>
            </a:r>
            <a:endParaRPr lang="en-US" sz="4000" b="1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  <p:graphicFrame>
        <p:nvGraphicFramePr>
          <p:cNvPr id="378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44461786"/>
              </p:ext>
            </p:extLst>
          </p:nvPr>
        </p:nvGraphicFramePr>
        <p:xfrm>
          <a:off x="9177338" y="2082800"/>
          <a:ext cx="2316162" cy="2316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41" name="TextBox 34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9018588" y="2886075"/>
            <a:ext cx="2686050" cy="708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ru-RU" sz="40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35</a:t>
            </a:r>
            <a:r>
              <a:rPr lang="en-US" sz="40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%</a:t>
            </a:r>
            <a:endParaRPr lang="en-US" sz="40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7148513" y="4470400"/>
            <a:ext cx="141128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dirty="0" smtClean="0">
                <a:solidFill>
                  <a:schemeClr val="bg1">
                    <a:lumMod val="75000"/>
                  </a:schemeClr>
                </a:solidFill>
                <a:latin typeface="Agency FB" panose="020B0503020202020204" pitchFamily="34" charset="0"/>
              </a:rPr>
              <a:t>SELL-SIDE</a:t>
            </a:r>
            <a:endParaRPr lang="en-US" sz="2400" dirty="0">
              <a:solidFill>
                <a:schemeClr val="bg1">
                  <a:lumMod val="75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9915525" y="4468813"/>
            <a:ext cx="141128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dirty="0" smtClean="0">
                <a:solidFill>
                  <a:schemeClr val="bg1">
                    <a:lumMod val="75000"/>
                  </a:schemeClr>
                </a:solidFill>
                <a:latin typeface="Agency FB" panose="020B0503020202020204" pitchFamily="34" charset="0"/>
              </a:rPr>
              <a:t>BUY-SIDE</a:t>
            </a:r>
            <a:endParaRPr lang="en-US" sz="2400" dirty="0">
              <a:solidFill>
                <a:schemeClr val="bg1">
                  <a:lumMod val="75000"/>
                </a:schemeClr>
              </a:solidFill>
              <a:latin typeface="Agency FB" panose="020B0503020202020204" pitchFamily="34" charset="0"/>
            </a:endParaRP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140102" y="806392"/>
            <a:ext cx="63623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Source</a:t>
            </a:r>
            <a:r>
              <a:rPr lang="ru-RU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: 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“Does </a:t>
            </a:r>
            <a:r>
              <a:rPr lang="en-US" sz="16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M&amp;A Pay</a:t>
            </a:r>
            <a:r>
              <a:rPr lang="en-US" sz="1600" dirty="0" smtClean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?” . </a:t>
            </a:r>
            <a:r>
              <a:rPr lang="en-US" sz="1600" dirty="0">
                <a:solidFill>
                  <a:schemeClr val="bg1">
                    <a:lumMod val="90000"/>
                  </a:schemeClr>
                </a:solidFill>
                <a:latin typeface="Agency FB" panose="020B0503020202020204" pitchFamily="34" charset="0"/>
              </a:rPr>
              <a:t>Robert F. Bruner</a:t>
            </a:r>
            <a:endParaRPr lang="en-US" sz="1600" dirty="0">
              <a:solidFill>
                <a:schemeClr val="bg1">
                  <a:lumMod val="90000"/>
                </a:schemeClr>
              </a:solidFill>
              <a:latin typeface="Agency FB" panose="020B0503020202020204" pitchFamily="34" charset="0"/>
            </a:endParaRPr>
          </a:p>
        </p:txBody>
      </p:sp>
      <p:cxnSp>
        <p:nvCxnSpPr>
          <p:cNvPr id="363" name="Прямая со стрелкой 362"/>
          <p:cNvCxnSpPr/>
          <p:nvPr/>
        </p:nvCxnSpPr>
        <p:spPr>
          <a:xfrm>
            <a:off x="6655637" y="1148791"/>
            <a:ext cx="4768300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TextBox 363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5897077" y="498388"/>
            <a:ext cx="5617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2000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The Effectiveness </a:t>
            </a:r>
            <a:r>
              <a:rPr lang="en-US" sz="2000" dirty="0">
                <a:solidFill>
                  <a:srgbClr val="E81D30"/>
                </a:solidFill>
                <a:latin typeface="Agency FB" panose="020B0503020202020204" pitchFamily="34" charset="0"/>
              </a:rPr>
              <a:t>of C</a:t>
            </a:r>
            <a:r>
              <a:rPr lang="en-US" sz="2000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orporate</a:t>
            </a:r>
            <a:r>
              <a:rPr lang="ru-RU" sz="2000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 </a:t>
            </a:r>
            <a:r>
              <a:rPr lang="en-US" sz="2000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M&amp;A</a:t>
            </a:r>
            <a:endParaRPr lang="en-US" sz="2000" dirty="0">
              <a:solidFill>
                <a:srgbClr val="E81D30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5853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E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8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24" name="Объект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4">
                  <a:lumMod val="100000"/>
                  <a:alpha val="81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ym typeface="+mn-lt"/>
            </a:endParaRPr>
          </a:p>
        </p:txBody>
      </p:sp>
      <p:cxnSp>
        <p:nvCxnSpPr>
          <p:cNvPr id="34" name="Прямая со стрелкой 33"/>
          <p:cNvCxnSpPr/>
          <p:nvPr/>
        </p:nvCxnSpPr>
        <p:spPr>
          <a:xfrm flipH="1">
            <a:off x="4296494" y="5046196"/>
            <a:ext cx="3591993" cy="0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8">
            <a:extLst>
              <a:ext uri="{FF2B5EF4-FFF2-40B4-BE49-F238E27FC236}">
                <a16:creationId xmlns:a16="http://schemas.microsoft.com/office/drawing/2014/main" id="{80CF28EE-A360-46B6-9D76-D2CA1E8777C8}"/>
              </a:ext>
            </a:extLst>
          </p:cNvPr>
          <p:cNvCxnSpPr>
            <a:cxnSpLocks/>
          </p:cNvCxnSpPr>
          <p:nvPr/>
        </p:nvCxnSpPr>
        <p:spPr>
          <a:xfrm>
            <a:off x="6096000" y="1"/>
            <a:ext cx="6523" cy="3566735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9">
            <a:extLst>
              <a:ext uri="{FF2B5EF4-FFF2-40B4-BE49-F238E27FC236}">
                <a16:creationId xmlns:a16="http://schemas.microsoft.com/office/drawing/2014/main" id="{B446595E-D72E-4DD1-947B-6689D008485A}"/>
              </a:ext>
            </a:extLst>
          </p:cNvPr>
          <p:cNvGrpSpPr/>
          <p:nvPr/>
        </p:nvGrpSpPr>
        <p:grpSpPr>
          <a:xfrm>
            <a:off x="5933254" y="912447"/>
            <a:ext cx="331441" cy="336551"/>
            <a:chOff x="5940975" y="3127378"/>
            <a:chExt cx="336550" cy="336550"/>
          </a:xfrm>
        </p:grpSpPr>
        <p:sp>
          <p:nvSpPr>
            <p:cNvPr id="55" name="Oval 11">
              <a:extLst>
                <a:ext uri="{FF2B5EF4-FFF2-40B4-BE49-F238E27FC236}">
                  <a16:creationId xmlns:a16="http://schemas.microsoft.com/office/drawing/2014/main" id="{0C3F866E-413D-401C-AD9F-F8C2AEA5119B}"/>
                </a:ext>
              </a:extLst>
            </p:cNvPr>
            <p:cNvSpPr/>
            <p:nvPr/>
          </p:nvSpPr>
          <p:spPr>
            <a:xfrm>
              <a:off x="5967482" y="3153885"/>
              <a:ext cx="283540" cy="283541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56" name="Circle: Hollow 12">
              <a:extLst>
                <a:ext uri="{FF2B5EF4-FFF2-40B4-BE49-F238E27FC236}">
                  <a16:creationId xmlns:a16="http://schemas.microsoft.com/office/drawing/2014/main" id="{A443766E-CCA8-406C-ACC0-5D2E9F077FE8}"/>
                </a:ext>
              </a:extLst>
            </p:cNvPr>
            <p:cNvSpPr/>
            <p:nvPr/>
          </p:nvSpPr>
          <p:spPr>
            <a:xfrm>
              <a:off x="5940975" y="3127378"/>
              <a:ext cx="336550" cy="336550"/>
            </a:xfrm>
            <a:prstGeom prst="donut">
              <a:avLst>
                <a:gd name="adj" fmla="val 7064"/>
              </a:avLst>
            </a:prstGeom>
            <a:solidFill>
              <a:srgbClr val="9D9DA4"/>
            </a:solidFill>
            <a:ln>
              <a:solidFill>
                <a:srgbClr val="9D9D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57" name="Oval 13">
              <a:extLst>
                <a:ext uri="{FF2B5EF4-FFF2-40B4-BE49-F238E27FC236}">
                  <a16:creationId xmlns:a16="http://schemas.microsoft.com/office/drawing/2014/main" id="{E0DB6A4C-91D6-407D-91BF-A87FED17C39F}"/>
                </a:ext>
              </a:extLst>
            </p:cNvPr>
            <p:cNvSpPr/>
            <p:nvPr/>
          </p:nvSpPr>
          <p:spPr>
            <a:xfrm>
              <a:off x="6033052" y="3219455"/>
              <a:ext cx="152400" cy="152400"/>
            </a:xfrm>
            <a:prstGeom prst="ellipse">
              <a:avLst/>
            </a:prstGeom>
            <a:solidFill>
              <a:srgbClr val="F3F3F3"/>
            </a:solidFill>
            <a:ln>
              <a:solidFill>
                <a:srgbClr val="F3F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127" name="Группа 126"/>
          <p:cNvGrpSpPr/>
          <p:nvPr/>
        </p:nvGrpSpPr>
        <p:grpSpPr>
          <a:xfrm>
            <a:off x="2036954" y="758636"/>
            <a:ext cx="6020081" cy="1539617"/>
            <a:chOff x="1964373" y="2218301"/>
            <a:chExt cx="6020081" cy="1539617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2366909" y="2218301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C00000"/>
                  </a:solidFill>
                  <a:latin typeface="Agency FB" panose="020B0503020202020204" pitchFamily="34" charset="0"/>
                </a:rPr>
                <a:t>А</a:t>
              </a:r>
              <a:r>
                <a:rPr lang="ru-RU" sz="1600" b="1" dirty="0">
                  <a:solidFill>
                    <a:srgbClr val="F3F3F3"/>
                  </a:solidFill>
                  <a:latin typeface="Agency FB" panose="020B0503020202020204" pitchFamily="34" charset="0"/>
                </a:rPr>
                <a:t>ктуальность</a:t>
              </a:r>
              <a:endParaRPr lang="en-US" sz="1600" b="1" dirty="0">
                <a:solidFill>
                  <a:srgbClr val="F3F3F3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30" name="Прямоугольник 129"/>
            <p:cNvSpPr/>
            <p:nvPr/>
          </p:nvSpPr>
          <p:spPr>
            <a:xfrm>
              <a:off x="2366909" y="2588367"/>
              <a:ext cx="330476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Какие факторы в большей степени влияют на эффективность интеграционной сделки для компаний-покупателей?</a:t>
              </a:r>
            </a:p>
          </p:txBody>
        </p:sp>
        <p:cxnSp>
          <p:nvCxnSpPr>
            <p:cNvPr id="131" name="Прямая со стрелкой 130"/>
            <p:cNvCxnSpPr/>
            <p:nvPr/>
          </p:nvCxnSpPr>
          <p:spPr>
            <a:xfrm flipV="1">
              <a:off x="1964373" y="2544603"/>
              <a:ext cx="3917818" cy="2753"/>
            </a:xfrm>
            <a:prstGeom prst="straightConnector1">
              <a:avLst/>
            </a:prstGeom>
            <a:ln w="9525">
              <a:solidFill>
                <a:srgbClr val="9D9DA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0" name="Прямая со стрелкой 139"/>
          <p:cNvCxnSpPr>
            <a:stCxn id="56" idx="6"/>
            <a:endCxn id="191" idx="2"/>
          </p:cNvCxnSpPr>
          <p:nvPr/>
        </p:nvCxnSpPr>
        <p:spPr>
          <a:xfrm>
            <a:off x="6264695" y="1080723"/>
            <a:ext cx="3896300" cy="15908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130729" y="740103"/>
            <a:ext cx="5617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ru-RU" sz="1600" b="1" dirty="0">
                <a:solidFill>
                  <a:srgbClr val="C00000"/>
                </a:solidFill>
                <a:latin typeface="Agency FB" panose="020B0503020202020204" pitchFamily="34" charset="0"/>
              </a:rPr>
              <a:t>О</a:t>
            </a:r>
            <a:r>
              <a:rPr lang="ru-RU" sz="1600" b="1" dirty="0">
                <a:solidFill>
                  <a:srgbClr val="F3F3F3"/>
                </a:solidFill>
                <a:latin typeface="Agency FB" panose="020B0503020202020204" pitchFamily="34" charset="0"/>
              </a:rPr>
              <a:t>бъект исследования 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6722840" y="1078657"/>
            <a:ext cx="30254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F3F3F3"/>
                </a:solidFill>
                <a:latin typeface="Century Gothic" panose="020B0502020202020204" pitchFamily="34" charset="0"/>
              </a:rPr>
              <a:t>Публичные компании фармацевтического сектора экономики, участвовавшие в сделках слияний и поглощений в период с 2005 по 2011 гг.</a:t>
            </a:r>
          </a:p>
        </p:txBody>
      </p:sp>
      <p:grpSp>
        <p:nvGrpSpPr>
          <p:cNvPr id="152" name="Группа 151"/>
          <p:cNvGrpSpPr/>
          <p:nvPr/>
        </p:nvGrpSpPr>
        <p:grpSpPr>
          <a:xfrm>
            <a:off x="2036954" y="2335045"/>
            <a:ext cx="6020081" cy="1108730"/>
            <a:chOff x="1964373" y="2218301"/>
            <a:chExt cx="6020081" cy="1108730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2366909" y="2218301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rgbClr val="C00000"/>
                  </a:solidFill>
                  <a:latin typeface="Agency FB" panose="020B0503020202020204" pitchFamily="34" charset="0"/>
                </a:rPr>
                <a:t>Ц</a:t>
              </a:r>
              <a:r>
                <a:rPr lang="ru-RU" sz="1600" b="1" dirty="0">
                  <a:solidFill>
                    <a:srgbClr val="F3F3F3"/>
                  </a:solidFill>
                  <a:latin typeface="Agency FB" panose="020B0503020202020204" pitchFamily="34" charset="0"/>
                </a:rPr>
                <a:t>ель</a:t>
              </a:r>
              <a:endParaRPr lang="en-US" sz="1600" b="1" dirty="0">
                <a:solidFill>
                  <a:srgbClr val="F3F3F3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54" name="Прямоугольник 153"/>
            <p:cNvSpPr/>
            <p:nvPr/>
          </p:nvSpPr>
          <p:spPr>
            <a:xfrm>
              <a:off x="2366909" y="2588367"/>
              <a:ext cx="33047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 smtClean="0">
                  <a:solidFill>
                    <a:srgbClr val="F3F3F3"/>
                  </a:solidFill>
                  <a:latin typeface="Century Gothic" panose="020B0502020202020204" pitchFamily="34" charset="0"/>
                </a:rPr>
                <a:t>Выявлени</a:t>
              </a:r>
              <a:r>
                <a:rPr lang="ru-RU" sz="1400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е</a:t>
              </a:r>
              <a:r>
                <a:rPr lang="ru-RU" sz="1400" dirty="0" smtClean="0">
                  <a:solidFill>
                    <a:srgbClr val="F3F3F3"/>
                  </a:solidFill>
                  <a:latin typeface="Century Gothic" panose="020B0502020202020204" pitchFamily="34" charset="0"/>
                </a:rPr>
                <a:t> </a:t>
              </a:r>
              <a:r>
                <a:rPr lang="ru-RU" sz="1400" dirty="0">
                  <a:solidFill>
                    <a:srgbClr val="F3F3F3"/>
                  </a:solidFill>
                  <a:latin typeface="Century Gothic" panose="020B0502020202020204" pitchFamily="34" charset="0"/>
                </a:rPr>
                <a:t>наиболее значимых факторов, от которых зависит успешность сделки M&amp;A. </a:t>
              </a:r>
            </a:p>
          </p:txBody>
        </p:sp>
        <p:cxnSp>
          <p:nvCxnSpPr>
            <p:cNvPr id="155" name="Прямая со стрелкой 154"/>
            <p:cNvCxnSpPr/>
            <p:nvPr/>
          </p:nvCxnSpPr>
          <p:spPr>
            <a:xfrm>
              <a:off x="1964373" y="2567354"/>
              <a:ext cx="3917818" cy="0"/>
            </a:xfrm>
            <a:prstGeom prst="straightConnector1">
              <a:avLst/>
            </a:prstGeom>
            <a:ln w="9525">
              <a:solidFill>
                <a:srgbClr val="9D9DA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6" name="Прямая со стрелкой 155"/>
          <p:cNvCxnSpPr>
            <a:endCxn id="190" idx="2"/>
          </p:cNvCxnSpPr>
          <p:nvPr/>
        </p:nvCxnSpPr>
        <p:spPr>
          <a:xfrm>
            <a:off x="6264695" y="2657132"/>
            <a:ext cx="3896300" cy="13155"/>
          </a:xfrm>
          <a:prstGeom prst="straightConnector1">
            <a:avLst/>
          </a:prstGeom>
          <a:ln w="9525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130729" y="2316512"/>
            <a:ext cx="5617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ru-RU" sz="1600" b="1" dirty="0">
                <a:solidFill>
                  <a:srgbClr val="C00000"/>
                </a:solidFill>
                <a:latin typeface="Agency FB" panose="020B0503020202020204" pitchFamily="34" charset="0"/>
              </a:rPr>
              <a:t>П</a:t>
            </a:r>
            <a:r>
              <a:rPr lang="ru-RU" sz="1600" b="1" dirty="0">
                <a:solidFill>
                  <a:srgbClr val="F3F3F3"/>
                </a:solidFill>
                <a:latin typeface="Agency FB" panose="020B0503020202020204" pitchFamily="34" charset="0"/>
              </a:rPr>
              <a:t>редмет исследования</a:t>
            </a:r>
          </a:p>
        </p:txBody>
      </p:sp>
      <p:sp>
        <p:nvSpPr>
          <p:cNvPr id="158" name="Прямоугольник 157"/>
          <p:cNvSpPr/>
          <p:nvPr/>
        </p:nvSpPr>
        <p:spPr>
          <a:xfrm>
            <a:off x="6238593" y="2655066"/>
            <a:ext cx="350968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F3F3F3"/>
                </a:solidFill>
                <a:latin typeface="Century Gothic" panose="020B0502020202020204" pitchFamily="34" charset="0"/>
              </a:rPr>
              <a:t>Факторы, влияющие на эффективность сделок слияний и поглощений в фармацевтической отрасли экономики. </a:t>
            </a:r>
          </a:p>
        </p:txBody>
      </p:sp>
      <p:grpSp>
        <p:nvGrpSpPr>
          <p:cNvPr id="159" name="Группа 158"/>
          <p:cNvGrpSpPr/>
          <p:nvPr/>
        </p:nvGrpSpPr>
        <p:grpSpPr>
          <a:xfrm>
            <a:off x="882755" y="7766557"/>
            <a:ext cx="5681464" cy="1242073"/>
            <a:chOff x="1149085" y="2084958"/>
            <a:chExt cx="5681464" cy="1242073"/>
          </a:xfrm>
        </p:grpSpPr>
        <p:sp>
          <p:nvSpPr>
            <p:cNvPr id="160" name="Circle: Hollow 31">
              <a:extLst>
                <a:ext uri="{FF2B5EF4-FFF2-40B4-BE49-F238E27FC236}">
                  <a16:creationId xmlns:a16="http://schemas.microsoft.com/office/drawing/2014/main" id="{811DEDE6-D1FA-4671-9525-0725657FC967}"/>
                </a:ext>
              </a:extLst>
            </p:cNvPr>
            <p:cNvSpPr/>
            <p:nvPr/>
          </p:nvSpPr>
          <p:spPr>
            <a:xfrm>
              <a:off x="5893192" y="2084958"/>
              <a:ext cx="937357" cy="937357"/>
            </a:xfrm>
            <a:prstGeom prst="donut">
              <a:avLst>
                <a:gd name="adj" fmla="val 0"/>
              </a:avLst>
            </a:prstGeom>
            <a:solidFill>
              <a:srgbClr val="1A1E2A"/>
            </a:solidFill>
            <a:ln w="12700" cap="flat" cmpd="sng" algn="ctr">
              <a:solidFill>
                <a:srgbClr val="9D9DA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schemeClr val="bg1">
                    <a:lumMod val="25000"/>
                  </a:schemeClr>
                </a:solidFill>
                <a:latin typeface="Calibri" panose="020F0502020204030204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1158240" y="2218301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chemeClr val="bg1">
                      <a:lumMod val="25000"/>
                    </a:schemeClr>
                  </a:solidFill>
                  <a:latin typeface="Agency FB" panose="020B0503020202020204" pitchFamily="34" charset="0"/>
                </a:rPr>
                <a:t>Актуальность</a:t>
              </a:r>
              <a:endParaRPr lang="en-US" sz="1600" b="1" dirty="0">
                <a:solidFill>
                  <a:schemeClr val="bg1">
                    <a:lumMod val="25000"/>
                  </a:scheme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62" name="Прямоугольник 161"/>
            <p:cNvSpPr/>
            <p:nvPr/>
          </p:nvSpPr>
          <p:spPr>
            <a:xfrm>
              <a:off x="1149085" y="2588367"/>
              <a:ext cx="442609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>
                  <a:solidFill>
                    <a:schemeClr val="bg1">
                      <a:lumMod val="25000"/>
                    </a:schemeClr>
                  </a:solidFill>
                  <a:latin typeface="Century Gothic" panose="020B0502020202020204" pitchFamily="34" charset="0"/>
                </a:rPr>
                <a:t>Какие факторы в большей степени влияют на эффективность интеграционной сделки для компаний-покупателей?</a:t>
              </a:r>
            </a:p>
          </p:txBody>
        </p:sp>
        <p:cxnSp>
          <p:nvCxnSpPr>
            <p:cNvPr id="163" name="Прямая со стрелкой 162"/>
            <p:cNvCxnSpPr/>
            <p:nvPr/>
          </p:nvCxnSpPr>
          <p:spPr>
            <a:xfrm>
              <a:off x="1194776" y="2553543"/>
              <a:ext cx="4687415" cy="0"/>
            </a:xfrm>
            <a:prstGeom prst="straightConnector1">
              <a:avLst/>
            </a:prstGeom>
            <a:ln w="9525">
              <a:solidFill>
                <a:srgbClr val="9D9DA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4" name="Прямая со стрелкой 163"/>
          <p:cNvCxnSpPr/>
          <p:nvPr/>
        </p:nvCxnSpPr>
        <p:spPr>
          <a:xfrm>
            <a:off x="714327" y="7303232"/>
            <a:ext cx="8649230" cy="0"/>
          </a:xfrm>
          <a:prstGeom prst="straightConnector1">
            <a:avLst/>
          </a:prstGeom>
          <a:ln w="25400">
            <a:solidFill>
              <a:srgbClr val="9D9DA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652536" y="6925677"/>
            <a:ext cx="3902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ТЕОРЕТИЧЕСКИЕ АСПЕКТЫ </a:t>
            </a:r>
            <a:r>
              <a:rPr lang="en-US" sz="1600" b="1" dirty="0" smtClean="0">
                <a:solidFill>
                  <a:srgbClr val="E81D30"/>
                </a:solidFill>
                <a:latin typeface="Agency FB" panose="020B0503020202020204" pitchFamily="34" charset="0"/>
              </a:rPr>
              <a:t>M&amp;A</a:t>
            </a:r>
            <a:r>
              <a:rPr lang="ru-RU" sz="1600" b="1" dirty="0" smtClean="0">
                <a:solidFill>
                  <a:srgbClr val="E81D30"/>
                </a:solidFill>
                <a:latin typeface="Tw Cen MT" panose="020B0602020104020603" pitchFamily="34" charset="0"/>
              </a:rPr>
              <a:t>  </a:t>
            </a:r>
            <a:endParaRPr lang="en-US" sz="1600" b="1" dirty="0">
              <a:solidFill>
                <a:srgbClr val="E81D30"/>
              </a:solidFill>
              <a:latin typeface="Tw Cen MT" panose="020B0602020104020603" pitchFamily="34" charset="0"/>
            </a:endParaRPr>
          </a:p>
        </p:txBody>
      </p:sp>
      <p:grpSp>
        <p:nvGrpSpPr>
          <p:cNvPr id="166" name="Группа 165"/>
          <p:cNvGrpSpPr/>
          <p:nvPr/>
        </p:nvGrpSpPr>
        <p:grpSpPr>
          <a:xfrm>
            <a:off x="4796827" y="8824967"/>
            <a:ext cx="6860215" cy="1212642"/>
            <a:chOff x="4796827" y="2670526"/>
            <a:chExt cx="6860215" cy="1212642"/>
          </a:xfrm>
        </p:grpSpPr>
        <p:sp>
          <p:nvSpPr>
            <p:cNvPr id="167" name="Circle: Hollow 31">
              <a:extLst>
                <a:ext uri="{FF2B5EF4-FFF2-40B4-BE49-F238E27FC236}">
                  <a16:creationId xmlns:a16="http://schemas.microsoft.com/office/drawing/2014/main" id="{811DEDE6-D1FA-4671-9525-0725657FC967}"/>
                </a:ext>
              </a:extLst>
            </p:cNvPr>
            <p:cNvSpPr/>
            <p:nvPr/>
          </p:nvSpPr>
          <p:spPr>
            <a:xfrm>
              <a:off x="4796827" y="2670526"/>
              <a:ext cx="937357" cy="937357"/>
            </a:xfrm>
            <a:prstGeom prst="donut">
              <a:avLst>
                <a:gd name="adj" fmla="val 0"/>
              </a:avLst>
            </a:prstGeom>
            <a:solidFill>
              <a:srgbClr val="1A1E2A"/>
            </a:solidFill>
            <a:ln w="12700" cap="flat" cmpd="sng" algn="ctr">
              <a:solidFill>
                <a:srgbClr val="9D9DA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latin typeface="Calibri" panose="020F0502020204030204"/>
              </a:endParaRPr>
            </a:p>
          </p:txBody>
        </p:sp>
        <p:cxnSp>
          <p:nvCxnSpPr>
            <p:cNvPr id="168" name="Прямая со стрелкой 167"/>
            <p:cNvCxnSpPr>
              <a:stCxn id="167" idx="6"/>
            </p:cNvCxnSpPr>
            <p:nvPr/>
          </p:nvCxnSpPr>
          <p:spPr>
            <a:xfrm flipV="1">
              <a:off x="5734184" y="3139111"/>
              <a:ext cx="5846978" cy="94"/>
            </a:xfrm>
            <a:prstGeom prst="straightConnector1">
              <a:avLst/>
            </a:prstGeom>
            <a:ln w="9525">
              <a:solidFill>
                <a:srgbClr val="9D9DA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6039497" y="2805950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defRPr/>
              </a:pPr>
              <a:r>
                <a:rPr lang="ru-RU" sz="16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Объект исследования </a:t>
              </a:r>
            </a:p>
          </p:txBody>
        </p:sp>
        <p:sp>
          <p:nvSpPr>
            <p:cNvPr id="170" name="Прямоугольник 169"/>
            <p:cNvSpPr/>
            <p:nvPr/>
          </p:nvSpPr>
          <p:spPr>
            <a:xfrm>
              <a:off x="6893747" y="3144504"/>
              <a:ext cx="476329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Публичные компании фармацевтического сектора экономики, участвовавшие в сделках слияний и поглощений в период с 2005 по 2011 гг.</a:t>
              </a:r>
            </a:p>
          </p:txBody>
        </p:sp>
      </p:grpSp>
      <p:grpSp>
        <p:nvGrpSpPr>
          <p:cNvPr id="171" name="Группа 170"/>
          <p:cNvGrpSpPr/>
          <p:nvPr/>
        </p:nvGrpSpPr>
        <p:grpSpPr>
          <a:xfrm>
            <a:off x="882755" y="9853425"/>
            <a:ext cx="5681464" cy="1026629"/>
            <a:chOff x="1149085" y="2084958"/>
            <a:chExt cx="5681464" cy="1026629"/>
          </a:xfrm>
        </p:grpSpPr>
        <p:sp>
          <p:nvSpPr>
            <p:cNvPr id="172" name="Circle: Hollow 31">
              <a:extLst>
                <a:ext uri="{FF2B5EF4-FFF2-40B4-BE49-F238E27FC236}">
                  <a16:creationId xmlns:a16="http://schemas.microsoft.com/office/drawing/2014/main" id="{811DEDE6-D1FA-4671-9525-0725657FC967}"/>
                </a:ext>
              </a:extLst>
            </p:cNvPr>
            <p:cNvSpPr/>
            <p:nvPr/>
          </p:nvSpPr>
          <p:spPr>
            <a:xfrm>
              <a:off x="5893192" y="2084958"/>
              <a:ext cx="937357" cy="937357"/>
            </a:xfrm>
            <a:prstGeom prst="donut">
              <a:avLst>
                <a:gd name="adj" fmla="val 0"/>
              </a:avLst>
            </a:prstGeom>
            <a:solidFill>
              <a:srgbClr val="1A1E2A"/>
            </a:solidFill>
            <a:ln w="12700" cap="flat" cmpd="sng" algn="ctr">
              <a:solidFill>
                <a:srgbClr val="9D9DA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latin typeface="Calibri" panose="020F0502020204030204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B84F05E5-66E5-451A-922E-237FDE35085A}"/>
                </a:ext>
              </a:extLst>
            </p:cNvPr>
            <p:cNvSpPr txBox="1"/>
            <p:nvPr/>
          </p:nvSpPr>
          <p:spPr>
            <a:xfrm>
              <a:off x="1158240" y="2218301"/>
              <a:ext cx="56175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600" b="1" dirty="0">
                  <a:solidFill>
                    <a:schemeClr val="bg1"/>
                  </a:solidFill>
                  <a:latin typeface="Agency FB" panose="020B0503020202020204" pitchFamily="34" charset="0"/>
                </a:rPr>
                <a:t>Цель</a:t>
              </a:r>
              <a:endParaRPr lang="en-US" sz="1600" b="1" dirty="0">
                <a:solidFill>
                  <a:schemeClr val="bg1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74" name="Прямоугольник 173"/>
            <p:cNvSpPr/>
            <p:nvPr/>
          </p:nvSpPr>
          <p:spPr>
            <a:xfrm>
              <a:off x="1149085" y="2588367"/>
              <a:ext cx="442609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Выявления наиболее значимых факторов, от которых зависит успешность сделки M&amp;A. </a:t>
              </a:r>
            </a:p>
          </p:txBody>
        </p:sp>
        <p:cxnSp>
          <p:nvCxnSpPr>
            <p:cNvPr id="175" name="Прямая со стрелкой 174"/>
            <p:cNvCxnSpPr/>
            <p:nvPr/>
          </p:nvCxnSpPr>
          <p:spPr>
            <a:xfrm>
              <a:off x="1194776" y="2553543"/>
              <a:ext cx="4687415" cy="0"/>
            </a:xfrm>
            <a:prstGeom prst="straightConnector1">
              <a:avLst/>
            </a:prstGeom>
            <a:ln w="9525">
              <a:solidFill>
                <a:srgbClr val="9D9DA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9">
            <a:extLst>
              <a:ext uri="{FF2B5EF4-FFF2-40B4-BE49-F238E27FC236}">
                <a16:creationId xmlns:a16="http://schemas.microsoft.com/office/drawing/2014/main" id="{B446595E-D72E-4DD1-947B-6689D008485A}"/>
              </a:ext>
            </a:extLst>
          </p:cNvPr>
          <p:cNvGrpSpPr/>
          <p:nvPr/>
        </p:nvGrpSpPr>
        <p:grpSpPr>
          <a:xfrm>
            <a:off x="5933254" y="2502547"/>
            <a:ext cx="331441" cy="336551"/>
            <a:chOff x="5940975" y="3127378"/>
            <a:chExt cx="336550" cy="336550"/>
          </a:xfrm>
        </p:grpSpPr>
        <p:sp>
          <p:nvSpPr>
            <p:cNvPr id="177" name="Oval 11">
              <a:extLst>
                <a:ext uri="{FF2B5EF4-FFF2-40B4-BE49-F238E27FC236}">
                  <a16:creationId xmlns:a16="http://schemas.microsoft.com/office/drawing/2014/main" id="{0C3F866E-413D-401C-AD9F-F8C2AEA5119B}"/>
                </a:ext>
              </a:extLst>
            </p:cNvPr>
            <p:cNvSpPr/>
            <p:nvPr/>
          </p:nvSpPr>
          <p:spPr>
            <a:xfrm>
              <a:off x="5967482" y="3153885"/>
              <a:ext cx="283540" cy="283541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78" name="Circle: Hollow 12">
              <a:extLst>
                <a:ext uri="{FF2B5EF4-FFF2-40B4-BE49-F238E27FC236}">
                  <a16:creationId xmlns:a16="http://schemas.microsoft.com/office/drawing/2014/main" id="{A443766E-CCA8-406C-ACC0-5D2E9F077FE8}"/>
                </a:ext>
              </a:extLst>
            </p:cNvPr>
            <p:cNvSpPr/>
            <p:nvPr/>
          </p:nvSpPr>
          <p:spPr>
            <a:xfrm>
              <a:off x="5940975" y="3127378"/>
              <a:ext cx="336550" cy="336550"/>
            </a:xfrm>
            <a:prstGeom prst="donut">
              <a:avLst>
                <a:gd name="adj" fmla="val 7064"/>
              </a:avLst>
            </a:prstGeom>
            <a:solidFill>
              <a:srgbClr val="9D9DA4"/>
            </a:solidFill>
            <a:ln>
              <a:solidFill>
                <a:srgbClr val="9D9D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  <p:sp>
          <p:nvSpPr>
            <p:cNvPr id="179" name="Oval 13">
              <a:extLst>
                <a:ext uri="{FF2B5EF4-FFF2-40B4-BE49-F238E27FC236}">
                  <a16:creationId xmlns:a16="http://schemas.microsoft.com/office/drawing/2014/main" id="{E0DB6A4C-91D6-407D-91BF-A87FED17C39F}"/>
                </a:ext>
              </a:extLst>
            </p:cNvPr>
            <p:cNvSpPr/>
            <p:nvPr/>
          </p:nvSpPr>
          <p:spPr>
            <a:xfrm>
              <a:off x="6033052" y="3219455"/>
              <a:ext cx="152400" cy="152400"/>
            </a:xfrm>
            <a:prstGeom prst="ellipse">
              <a:avLst/>
            </a:prstGeom>
            <a:solidFill>
              <a:srgbClr val="F3F3F3"/>
            </a:solidFill>
            <a:ln>
              <a:solidFill>
                <a:srgbClr val="F3F3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181" name="Прямоугольник 180"/>
          <p:cNvSpPr/>
          <p:nvPr/>
        </p:nvSpPr>
        <p:spPr>
          <a:xfrm>
            <a:off x="2419743" y="5145334"/>
            <a:ext cx="719442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F3F3F3"/>
                </a:solidFill>
                <a:latin typeface="Century Gothic" panose="020B0502020202020204" pitchFamily="34" charset="0"/>
              </a:rPr>
              <a:t>С помощью методов эконометрического анализа будут построены регрессионные модели, которые позволят выявить факторы, влияющие на размер сделок M&amp;A, оценить, какое воздействие слияния и поглощения оказывают на операционную эффективность компаний, а также определить детерминанты успешности этих сделок.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310558" y="4693882"/>
            <a:ext cx="56175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Методология</a:t>
            </a:r>
            <a:endParaRPr lang="ru-RU" sz="16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F3F3F3"/>
              </a:solidFill>
              <a:latin typeface="Agency FB" panose="020B0503020202020204" pitchFamily="34" charset="0"/>
            </a:endParaRPr>
          </a:p>
        </p:txBody>
      </p:sp>
      <p:sp>
        <p:nvSpPr>
          <p:cNvPr id="183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5540549" y="3574683"/>
            <a:ext cx="1123948" cy="1123948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E81D3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latin typeface="Calibri" panose="020F0502020204030204"/>
            </a:endParaRPr>
          </a:p>
        </p:txBody>
      </p:sp>
      <p:sp>
        <p:nvSpPr>
          <p:cNvPr id="184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1099597" y="2201608"/>
            <a:ext cx="937357" cy="937357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sp>
        <p:nvSpPr>
          <p:cNvPr id="188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1099597" y="627952"/>
            <a:ext cx="937357" cy="937357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sp>
        <p:nvSpPr>
          <p:cNvPr id="190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10160995" y="2201608"/>
            <a:ext cx="937357" cy="937357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sp>
        <p:nvSpPr>
          <p:cNvPr id="191" name="Circle: Hollow 31">
            <a:extLst>
              <a:ext uri="{FF2B5EF4-FFF2-40B4-BE49-F238E27FC236}">
                <a16:creationId xmlns:a16="http://schemas.microsoft.com/office/drawing/2014/main" id="{811DEDE6-D1FA-4671-9525-0725657FC967}"/>
              </a:ext>
            </a:extLst>
          </p:cNvPr>
          <p:cNvSpPr/>
          <p:nvPr/>
        </p:nvSpPr>
        <p:spPr>
          <a:xfrm>
            <a:off x="10160995" y="627952"/>
            <a:ext cx="937357" cy="937357"/>
          </a:xfrm>
          <a:prstGeom prst="donut">
            <a:avLst>
              <a:gd name="adj" fmla="val 0"/>
            </a:avLst>
          </a:prstGeom>
          <a:solidFill>
            <a:srgbClr val="1A1E2A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latin typeface="Calibri" panose="020F0502020204030204"/>
            </a:endParaRPr>
          </a:p>
        </p:txBody>
      </p:sp>
      <p:grpSp>
        <p:nvGrpSpPr>
          <p:cNvPr id="194" name="Group 78"/>
          <p:cNvGrpSpPr/>
          <p:nvPr/>
        </p:nvGrpSpPr>
        <p:grpSpPr>
          <a:xfrm>
            <a:off x="5864847" y="3817236"/>
            <a:ext cx="475352" cy="665726"/>
            <a:chOff x="4938713" y="2412632"/>
            <a:chExt cx="646113" cy="904875"/>
          </a:xfrm>
          <a:solidFill>
            <a:schemeClr val="bg1"/>
          </a:solidFill>
        </p:grpSpPr>
        <p:sp>
          <p:nvSpPr>
            <p:cNvPr id="195" name="Freeform 111"/>
            <p:cNvSpPr>
              <a:spLocks noEditPoints="1"/>
            </p:cNvSpPr>
            <p:nvPr/>
          </p:nvSpPr>
          <p:spPr bwMode="auto">
            <a:xfrm>
              <a:off x="4938713" y="2412632"/>
              <a:ext cx="646113" cy="904875"/>
            </a:xfrm>
            <a:custGeom>
              <a:avLst/>
              <a:gdLst/>
              <a:ahLst/>
              <a:cxnLst>
                <a:cxn ang="0">
                  <a:pos x="209" y="53"/>
                </a:cxn>
                <a:cxn ang="0">
                  <a:pos x="188" y="53"/>
                </a:cxn>
                <a:cxn ang="0">
                  <a:pos x="188" y="24"/>
                </a:cxn>
                <a:cxn ang="0">
                  <a:pos x="174" y="10"/>
                </a:cxn>
                <a:cxn ang="0">
                  <a:pos x="130" y="10"/>
                </a:cxn>
                <a:cxn ang="0">
                  <a:pos x="130" y="6"/>
                </a:cxn>
                <a:cxn ang="0">
                  <a:pos x="123" y="0"/>
                </a:cxn>
                <a:cxn ang="0">
                  <a:pos x="65" y="0"/>
                </a:cxn>
                <a:cxn ang="0">
                  <a:pos x="59" y="6"/>
                </a:cxn>
                <a:cxn ang="0">
                  <a:pos x="59" y="10"/>
                </a:cxn>
                <a:cxn ang="0">
                  <a:pos x="14" y="10"/>
                </a:cxn>
                <a:cxn ang="0">
                  <a:pos x="0" y="24"/>
                </a:cxn>
                <a:cxn ang="0">
                  <a:pos x="0" y="254"/>
                </a:cxn>
                <a:cxn ang="0">
                  <a:pos x="14" y="268"/>
                </a:cxn>
                <a:cxn ang="0">
                  <a:pos x="35" y="268"/>
                </a:cxn>
                <a:cxn ang="0">
                  <a:pos x="35" y="298"/>
                </a:cxn>
                <a:cxn ang="0">
                  <a:pos x="49" y="312"/>
                </a:cxn>
                <a:cxn ang="0">
                  <a:pos x="209" y="312"/>
                </a:cxn>
                <a:cxn ang="0">
                  <a:pos x="223" y="298"/>
                </a:cxn>
                <a:cxn ang="0">
                  <a:pos x="223" y="67"/>
                </a:cxn>
                <a:cxn ang="0">
                  <a:pos x="209" y="53"/>
                </a:cxn>
                <a:cxn ang="0">
                  <a:pos x="35" y="67"/>
                </a:cxn>
                <a:cxn ang="0">
                  <a:pos x="35" y="253"/>
                </a:cxn>
                <a:cxn ang="0">
                  <a:pos x="15" y="253"/>
                </a:cxn>
                <a:cxn ang="0">
                  <a:pos x="15" y="25"/>
                </a:cxn>
                <a:cxn ang="0">
                  <a:pos x="59" y="25"/>
                </a:cxn>
                <a:cxn ang="0">
                  <a:pos x="59" y="27"/>
                </a:cxn>
                <a:cxn ang="0">
                  <a:pos x="65" y="33"/>
                </a:cxn>
                <a:cxn ang="0">
                  <a:pos x="123" y="33"/>
                </a:cxn>
                <a:cxn ang="0">
                  <a:pos x="130" y="27"/>
                </a:cxn>
                <a:cxn ang="0">
                  <a:pos x="130" y="25"/>
                </a:cxn>
                <a:cxn ang="0">
                  <a:pos x="173" y="25"/>
                </a:cxn>
                <a:cxn ang="0">
                  <a:pos x="173" y="53"/>
                </a:cxn>
                <a:cxn ang="0">
                  <a:pos x="164" y="53"/>
                </a:cxn>
                <a:cxn ang="0">
                  <a:pos x="164" y="50"/>
                </a:cxn>
                <a:cxn ang="0">
                  <a:pos x="158" y="44"/>
                </a:cxn>
                <a:cxn ang="0">
                  <a:pos x="100" y="44"/>
                </a:cxn>
                <a:cxn ang="0">
                  <a:pos x="93" y="50"/>
                </a:cxn>
                <a:cxn ang="0">
                  <a:pos x="93" y="53"/>
                </a:cxn>
                <a:cxn ang="0">
                  <a:pos x="49" y="53"/>
                </a:cxn>
                <a:cxn ang="0">
                  <a:pos x="35" y="67"/>
                </a:cxn>
                <a:cxn ang="0">
                  <a:pos x="208" y="296"/>
                </a:cxn>
                <a:cxn ang="0">
                  <a:pos x="50" y="296"/>
                </a:cxn>
                <a:cxn ang="0">
                  <a:pos x="50" y="69"/>
                </a:cxn>
                <a:cxn ang="0">
                  <a:pos x="93" y="69"/>
                </a:cxn>
                <a:cxn ang="0">
                  <a:pos x="93" y="70"/>
                </a:cxn>
                <a:cxn ang="0">
                  <a:pos x="100" y="77"/>
                </a:cxn>
                <a:cxn ang="0">
                  <a:pos x="158" y="77"/>
                </a:cxn>
                <a:cxn ang="0">
                  <a:pos x="164" y="70"/>
                </a:cxn>
                <a:cxn ang="0">
                  <a:pos x="164" y="69"/>
                </a:cxn>
                <a:cxn ang="0">
                  <a:pos x="208" y="69"/>
                </a:cxn>
                <a:cxn ang="0">
                  <a:pos x="208" y="296"/>
                </a:cxn>
                <a:cxn ang="0">
                  <a:pos x="208" y="296"/>
                </a:cxn>
                <a:cxn ang="0">
                  <a:pos x="208" y="296"/>
                </a:cxn>
              </a:cxnLst>
              <a:rect l="0" t="0" r="r" b="b"/>
              <a:pathLst>
                <a:path w="223" h="312">
                  <a:moveTo>
                    <a:pt x="209" y="53"/>
                  </a:moveTo>
                  <a:cubicBezTo>
                    <a:pt x="188" y="53"/>
                    <a:pt x="188" y="53"/>
                    <a:pt x="188" y="53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8" y="16"/>
                    <a:pt x="182" y="10"/>
                    <a:pt x="174" y="10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0" y="3"/>
                    <a:pt x="127" y="0"/>
                    <a:pt x="12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1" y="0"/>
                    <a:pt x="59" y="3"/>
                    <a:pt x="59" y="6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6" y="10"/>
                    <a:pt x="0" y="16"/>
                    <a:pt x="0" y="2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62"/>
                    <a:pt x="6" y="268"/>
                    <a:pt x="14" y="268"/>
                  </a:cubicBezTo>
                  <a:cubicBezTo>
                    <a:pt x="35" y="268"/>
                    <a:pt x="35" y="268"/>
                    <a:pt x="35" y="268"/>
                  </a:cubicBezTo>
                  <a:cubicBezTo>
                    <a:pt x="35" y="298"/>
                    <a:pt x="35" y="298"/>
                    <a:pt x="35" y="298"/>
                  </a:cubicBezTo>
                  <a:cubicBezTo>
                    <a:pt x="35" y="306"/>
                    <a:pt x="41" y="312"/>
                    <a:pt x="49" y="312"/>
                  </a:cubicBezTo>
                  <a:cubicBezTo>
                    <a:pt x="209" y="312"/>
                    <a:pt x="209" y="312"/>
                    <a:pt x="209" y="312"/>
                  </a:cubicBezTo>
                  <a:cubicBezTo>
                    <a:pt x="217" y="312"/>
                    <a:pt x="223" y="306"/>
                    <a:pt x="223" y="298"/>
                  </a:cubicBezTo>
                  <a:cubicBezTo>
                    <a:pt x="223" y="67"/>
                    <a:pt x="223" y="67"/>
                    <a:pt x="223" y="67"/>
                  </a:cubicBezTo>
                  <a:cubicBezTo>
                    <a:pt x="223" y="59"/>
                    <a:pt x="217" y="53"/>
                    <a:pt x="209" y="53"/>
                  </a:cubicBezTo>
                  <a:close/>
                  <a:moveTo>
                    <a:pt x="35" y="67"/>
                  </a:moveTo>
                  <a:cubicBezTo>
                    <a:pt x="35" y="253"/>
                    <a:pt x="35" y="253"/>
                    <a:pt x="35" y="253"/>
                  </a:cubicBezTo>
                  <a:cubicBezTo>
                    <a:pt x="15" y="253"/>
                    <a:pt x="15" y="253"/>
                    <a:pt x="15" y="253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30"/>
                    <a:pt x="61" y="33"/>
                    <a:pt x="65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7" y="33"/>
                    <a:pt x="130" y="30"/>
                    <a:pt x="130" y="27"/>
                  </a:cubicBezTo>
                  <a:cubicBezTo>
                    <a:pt x="130" y="25"/>
                    <a:pt x="130" y="25"/>
                    <a:pt x="130" y="25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73" y="53"/>
                    <a:pt x="173" y="53"/>
                    <a:pt x="173" y="53"/>
                  </a:cubicBezTo>
                  <a:cubicBezTo>
                    <a:pt x="164" y="53"/>
                    <a:pt x="164" y="53"/>
                    <a:pt x="164" y="53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46"/>
                    <a:pt x="162" y="44"/>
                    <a:pt x="158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96" y="44"/>
                    <a:pt x="93" y="46"/>
                    <a:pt x="93" y="50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1" y="53"/>
                    <a:pt x="35" y="59"/>
                    <a:pt x="35" y="67"/>
                  </a:cubicBezTo>
                  <a:close/>
                  <a:moveTo>
                    <a:pt x="208" y="296"/>
                  </a:moveTo>
                  <a:cubicBezTo>
                    <a:pt x="50" y="296"/>
                    <a:pt x="50" y="296"/>
                    <a:pt x="50" y="296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93" y="69"/>
                    <a:pt x="93" y="69"/>
                    <a:pt x="93" y="69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4"/>
                    <a:pt x="96" y="77"/>
                    <a:pt x="100" y="77"/>
                  </a:cubicBezTo>
                  <a:cubicBezTo>
                    <a:pt x="158" y="77"/>
                    <a:pt x="158" y="77"/>
                    <a:pt x="158" y="77"/>
                  </a:cubicBezTo>
                  <a:cubicBezTo>
                    <a:pt x="162" y="77"/>
                    <a:pt x="164" y="74"/>
                    <a:pt x="164" y="70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208" y="69"/>
                    <a:pt x="208" y="69"/>
                    <a:pt x="208" y="69"/>
                  </a:cubicBezTo>
                  <a:cubicBezTo>
                    <a:pt x="208" y="296"/>
                    <a:pt x="208" y="296"/>
                    <a:pt x="208" y="296"/>
                  </a:cubicBezTo>
                  <a:close/>
                  <a:moveTo>
                    <a:pt x="208" y="296"/>
                  </a:moveTo>
                  <a:cubicBezTo>
                    <a:pt x="208" y="296"/>
                    <a:pt x="208" y="296"/>
                    <a:pt x="208" y="296"/>
                  </a:cubicBezTo>
                </a:path>
              </a:pathLst>
            </a:custGeom>
            <a:grpFill/>
            <a:ln w="9525">
              <a:solidFill>
                <a:srgbClr val="F3F3F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6" name="Rectangle 112"/>
            <p:cNvSpPr>
              <a:spLocks noChangeArrowheads="1"/>
            </p:cNvSpPr>
            <p:nvPr/>
          </p:nvSpPr>
          <p:spPr bwMode="auto">
            <a:xfrm>
              <a:off x="5156200" y="2906713"/>
              <a:ext cx="312738" cy="63500"/>
            </a:xfrm>
            <a:prstGeom prst="rect">
              <a:avLst/>
            </a:prstGeom>
            <a:grpFill/>
            <a:ln w="9525">
              <a:solidFill>
                <a:srgbClr val="F3F3F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7" name="Rectangle 113"/>
            <p:cNvSpPr>
              <a:spLocks noChangeArrowheads="1"/>
            </p:cNvSpPr>
            <p:nvPr/>
          </p:nvSpPr>
          <p:spPr bwMode="auto">
            <a:xfrm>
              <a:off x="5156200" y="3036888"/>
              <a:ext cx="312738" cy="63500"/>
            </a:xfrm>
            <a:prstGeom prst="rect">
              <a:avLst/>
            </a:prstGeom>
            <a:grpFill/>
            <a:ln w="9525">
              <a:solidFill>
                <a:srgbClr val="F3F3F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8" name="Freeform 114"/>
            <p:cNvSpPr>
              <a:spLocks noEditPoints="1"/>
            </p:cNvSpPr>
            <p:nvPr/>
          </p:nvSpPr>
          <p:spPr bwMode="auto">
            <a:xfrm>
              <a:off x="5213350" y="2643188"/>
              <a:ext cx="196850" cy="196850"/>
            </a:xfrm>
            <a:custGeom>
              <a:avLst/>
              <a:gdLst/>
              <a:ahLst/>
              <a:cxnLst>
                <a:cxn ang="0">
                  <a:pos x="44" y="124"/>
                </a:cxn>
                <a:cxn ang="0">
                  <a:pos x="81" y="124"/>
                </a:cxn>
                <a:cxn ang="0">
                  <a:pos x="81" y="78"/>
                </a:cxn>
                <a:cxn ang="0">
                  <a:pos x="124" y="78"/>
                </a:cxn>
                <a:cxn ang="0">
                  <a:pos x="124" y="44"/>
                </a:cxn>
                <a:cxn ang="0">
                  <a:pos x="81" y="44"/>
                </a:cxn>
                <a:cxn ang="0">
                  <a:pos x="81" y="0"/>
                </a:cxn>
                <a:cxn ang="0">
                  <a:pos x="44" y="0"/>
                </a:cxn>
                <a:cxn ang="0">
                  <a:pos x="44" y="44"/>
                </a:cxn>
                <a:cxn ang="0">
                  <a:pos x="0" y="44"/>
                </a:cxn>
                <a:cxn ang="0">
                  <a:pos x="0" y="78"/>
                </a:cxn>
                <a:cxn ang="0">
                  <a:pos x="44" y="78"/>
                </a:cxn>
                <a:cxn ang="0">
                  <a:pos x="44" y="124"/>
                </a:cxn>
                <a:cxn ang="0">
                  <a:pos x="44" y="124"/>
                </a:cxn>
                <a:cxn ang="0">
                  <a:pos x="44" y="124"/>
                </a:cxn>
              </a:cxnLst>
              <a:rect l="0" t="0" r="r" b="b"/>
              <a:pathLst>
                <a:path w="124" h="124">
                  <a:moveTo>
                    <a:pt x="44" y="124"/>
                  </a:moveTo>
                  <a:lnTo>
                    <a:pt x="81" y="124"/>
                  </a:lnTo>
                  <a:lnTo>
                    <a:pt x="81" y="78"/>
                  </a:lnTo>
                  <a:lnTo>
                    <a:pt x="124" y="78"/>
                  </a:lnTo>
                  <a:lnTo>
                    <a:pt x="124" y="44"/>
                  </a:lnTo>
                  <a:lnTo>
                    <a:pt x="81" y="44"/>
                  </a:lnTo>
                  <a:lnTo>
                    <a:pt x="81" y="0"/>
                  </a:lnTo>
                  <a:lnTo>
                    <a:pt x="44" y="0"/>
                  </a:lnTo>
                  <a:lnTo>
                    <a:pt x="44" y="44"/>
                  </a:lnTo>
                  <a:lnTo>
                    <a:pt x="0" y="44"/>
                  </a:lnTo>
                  <a:lnTo>
                    <a:pt x="0" y="78"/>
                  </a:lnTo>
                  <a:lnTo>
                    <a:pt x="44" y="78"/>
                  </a:lnTo>
                  <a:lnTo>
                    <a:pt x="44" y="124"/>
                  </a:lnTo>
                  <a:close/>
                  <a:moveTo>
                    <a:pt x="44" y="124"/>
                  </a:moveTo>
                  <a:lnTo>
                    <a:pt x="44" y="124"/>
                  </a:lnTo>
                  <a:close/>
                </a:path>
              </a:pathLst>
            </a:custGeom>
            <a:grpFill/>
            <a:ln w="9525">
              <a:solidFill>
                <a:srgbClr val="F3F3F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9" name="Freeform 115"/>
            <p:cNvSpPr>
              <a:spLocks noEditPoints="1"/>
            </p:cNvSpPr>
            <p:nvPr/>
          </p:nvSpPr>
          <p:spPr bwMode="auto">
            <a:xfrm>
              <a:off x="5213350" y="2643188"/>
              <a:ext cx="196850" cy="196850"/>
            </a:xfrm>
            <a:custGeom>
              <a:avLst/>
              <a:gdLst/>
              <a:ahLst/>
              <a:cxnLst>
                <a:cxn ang="0">
                  <a:pos x="44" y="124"/>
                </a:cxn>
                <a:cxn ang="0">
                  <a:pos x="81" y="124"/>
                </a:cxn>
                <a:cxn ang="0">
                  <a:pos x="81" y="78"/>
                </a:cxn>
                <a:cxn ang="0">
                  <a:pos x="124" y="78"/>
                </a:cxn>
                <a:cxn ang="0">
                  <a:pos x="124" y="44"/>
                </a:cxn>
                <a:cxn ang="0">
                  <a:pos x="81" y="44"/>
                </a:cxn>
                <a:cxn ang="0">
                  <a:pos x="81" y="0"/>
                </a:cxn>
                <a:cxn ang="0">
                  <a:pos x="44" y="0"/>
                </a:cxn>
                <a:cxn ang="0">
                  <a:pos x="44" y="44"/>
                </a:cxn>
                <a:cxn ang="0">
                  <a:pos x="0" y="44"/>
                </a:cxn>
                <a:cxn ang="0">
                  <a:pos x="0" y="78"/>
                </a:cxn>
                <a:cxn ang="0">
                  <a:pos x="44" y="78"/>
                </a:cxn>
                <a:cxn ang="0">
                  <a:pos x="44" y="124"/>
                </a:cxn>
                <a:cxn ang="0">
                  <a:pos x="44" y="124"/>
                </a:cxn>
                <a:cxn ang="0">
                  <a:pos x="44" y="124"/>
                </a:cxn>
              </a:cxnLst>
              <a:rect l="0" t="0" r="r" b="b"/>
              <a:pathLst>
                <a:path w="124" h="124">
                  <a:moveTo>
                    <a:pt x="44" y="124"/>
                  </a:moveTo>
                  <a:lnTo>
                    <a:pt x="81" y="124"/>
                  </a:lnTo>
                  <a:lnTo>
                    <a:pt x="81" y="78"/>
                  </a:lnTo>
                  <a:lnTo>
                    <a:pt x="124" y="78"/>
                  </a:lnTo>
                  <a:lnTo>
                    <a:pt x="124" y="44"/>
                  </a:lnTo>
                  <a:lnTo>
                    <a:pt x="81" y="44"/>
                  </a:lnTo>
                  <a:lnTo>
                    <a:pt x="81" y="0"/>
                  </a:lnTo>
                  <a:lnTo>
                    <a:pt x="44" y="0"/>
                  </a:lnTo>
                  <a:lnTo>
                    <a:pt x="44" y="44"/>
                  </a:lnTo>
                  <a:lnTo>
                    <a:pt x="0" y="44"/>
                  </a:lnTo>
                  <a:lnTo>
                    <a:pt x="0" y="78"/>
                  </a:lnTo>
                  <a:lnTo>
                    <a:pt x="44" y="78"/>
                  </a:lnTo>
                  <a:lnTo>
                    <a:pt x="44" y="124"/>
                  </a:lnTo>
                  <a:moveTo>
                    <a:pt x="44" y="124"/>
                  </a:moveTo>
                  <a:lnTo>
                    <a:pt x="44" y="124"/>
                  </a:lnTo>
                </a:path>
              </a:pathLst>
            </a:custGeom>
            <a:grpFill/>
            <a:ln w="9525">
              <a:solidFill>
                <a:srgbClr val="F3F3F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16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00" name="Group 79"/>
          <p:cNvGrpSpPr/>
          <p:nvPr/>
        </p:nvGrpSpPr>
        <p:grpSpPr>
          <a:xfrm>
            <a:off x="10411260" y="2382553"/>
            <a:ext cx="529703" cy="545026"/>
            <a:chOff x="1222376" y="1701801"/>
            <a:chExt cx="768350" cy="790576"/>
          </a:xfrm>
          <a:solidFill>
            <a:schemeClr val="bg1"/>
          </a:solidFill>
        </p:grpSpPr>
        <p:sp>
          <p:nvSpPr>
            <p:cNvPr id="201" name="Freeform 15"/>
            <p:cNvSpPr>
              <a:spLocks noEditPoints="1"/>
            </p:cNvSpPr>
            <p:nvPr/>
          </p:nvSpPr>
          <p:spPr bwMode="auto">
            <a:xfrm>
              <a:off x="1222376" y="1701801"/>
              <a:ext cx="419100" cy="688975"/>
            </a:xfrm>
            <a:custGeom>
              <a:avLst/>
              <a:gdLst/>
              <a:ahLst/>
              <a:cxnLst>
                <a:cxn ang="0">
                  <a:pos x="26" y="61"/>
                </a:cxn>
                <a:cxn ang="0">
                  <a:pos x="35" y="38"/>
                </a:cxn>
                <a:cxn ang="0">
                  <a:pos x="54" y="29"/>
                </a:cxn>
                <a:cxn ang="0">
                  <a:pos x="38" y="3"/>
                </a:cxn>
                <a:cxn ang="0">
                  <a:pos x="32" y="0"/>
                </a:cxn>
                <a:cxn ang="0">
                  <a:pos x="27" y="3"/>
                </a:cxn>
                <a:cxn ang="0">
                  <a:pos x="0" y="56"/>
                </a:cxn>
                <a:cxn ang="0">
                  <a:pos x="32" y="89"/>
                </a:cxn>
                <a:cxn ang="0">
                  <a:pos x="40" y="87"/>
                </a:cxn>
                <a:cxn ang="0">
                  <a:pos x="35" y="83"/>
                </a:cxn>
                <a:cxn ang="0">
                  <a:pos x="26" y="61"/>
                </a:cxn>
                <a:cxn ang="0">
                  <a:pos x="21" y="74"/>
                </a:cxn>
                <a:cxn ang="0">
                  <a:pos x="18" y="76"/>
                </a:cxn>
                <a:cxn ang="0">
                  <a:pos x="15" y="75"/>
                </a:cxn>
                <a:cxn ang="0">
                  <a:pos x="7" y="48"/>
                </a:cxn>
                <a:cxn ang="0">
                  <a:pos x="12" y="45"/>
                </a:cxn>
                <a:cxn ang="0">
                  <a:pos x="15" y="50"/>
                </a:cxn>
                <a:cxn ang="0">
                  <a:pos x="20" y="68"/>
                </a:cxn>
                <a:cxn ang="0">
                  <a:pos x="21" y="74"/>
                </a:cxn>
                <a:cxn ang="0">
                  <a:pos x="21" y="74"/>
                </a:cxn>
                <a:cxn ang="0">
                  <a:pos x="21" y="74"/>
                </a:cxn>
              </a:cxnLst>
              <a:rect l="0" t="0" r="r" b="b"/>
              <a:pathLst>
                <a:path w="54" h="89">
                  <a:moveTo>
                    <a:pt x="26" y="61"/>
                  </a:moveTo>
                  <a:cubicBezTo>
                    <a:pt x="26" y="52"/>
                    <a:pt x="29" y="44"/>
                    <a:pt x="35" y="38"/>
                  </a:cubicBezTo>
                  <a:cubicBezTo>
                    <a:pt x="40" y="33"/>
                    <a:pt x="47" y="30"/>
                    <a:pt x="54" y="29"/>
                  </a:cubicBezTo>
                  <a:cubicBezTo>
                    <a:pt x="49" y="19"/>
                    <a:pt x="42" y="9"/>
                    <a:pt x="38" y="3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30" y="0"/>
                    <a:pt x="28" y="1"/>
                    <a:pt x="27" y="3"/>
                  </a:cubicBezTo>
                  <a:cubicBezTo>
                    <a:pt x="18" y="16"/>
                    <a:pt x="0" y="43"/>
                    <a:pt x="0" y="56"/>
                  </a:cubicBezTo>
                  <a:cubicBezTo>
                    <a:pt x="0" y="74"/>
                    <a:pt x="14" y="89"/>
                    <a:pt x="32" y="89"/>
                  </a:cubicBezTo>
                  <a:cubicBezTo>
                    <a:pt x="35" y="89"/>
                    <a:pt x="38" y="88"/>
                    <a:pt x="40" y="87"/>
                  </a:cubicBezTo>
                  <a:cubicBezTo>
                    <a:pt x="39" y="86"/>
                    <a:pt x="37" y="85"/>
                    <a:pt x="35" y="83"/>
                  </a:cubicBezTo>
                  <a:cubicBezTo>
                    <a:pt x="29" y="77"/>
                    <a:pt x="26" y="69"/>
                    <a:pt x="26" y="61"/>
                  </a:cubicBezTo>
                  <a:close/>
                  <a:moveTo>
                    <a:pt x="21" y="74"/>
                  </a:moveTo>
                  <a:cubicBezTo>
                    <a:pt x="20" y="76"/>
                    <a:pt x="19" y="76"/>
                    <a:pt x="18" y="76"/>
                  </a:cubicBezTo>
                  <a:cubicBezTo>
                    <a:pt x="17" y="76"/>
                    <a:pt x="15" y="76"/>
                    <a:pt x="15" y="75"/>
                  </a:cubicBezTo>
                  <a:cubicBezTo>
                    <a:pt x="2" y="64"/>
                    <a:pt x="6" y="48"/>
                    <a:pt x="7" y="48"/>
                  </a:cubicBezTo>
                  <a:cubicBezTo>
                    <a:pt x="7" y="45"/>
                    <a:pt x="10" y="44"/>
                    <a:pt x="12" y="45"/>
                  </a:cubicBezTo>
                  <a:cubicBezTo>
                    <a:pt x="14" y="45"/>
                    <a:pt x="16" y="48"/>
                    <a:pt x="15" y="50"/>
                  </a:cubicBezTo>
                  <a:cubicBezTo>
                    <a:pt x="15" y="51"/>
                    <a:pt x="12" y="61"/>
                    <a:pt x="20" y="68"/>
                  </a:cubicBezTo>
                  <a:cubicBezTo>
                    <a:pt x="22" y="70"/>
                    <a:pt x="23" y="73"/>
                    <a:pt x="21" y="74"/>
                  </a:cubicBezTo>
                  <a:close/>
                  <a:moveTo>
                    <a:pt x="21" y="74"/>
                  </a:moveTo>
                  <a:cubicBezTo>
                    <a:pt x="21" y="74"/>
                    <a:pt x="21" y="74"/>
                    <a:pt x="21" y="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Freeform 16"/>
            <p:cNvSpPr>
              <a:spLocks noEditPoints="1"/>
            </p:cNvSpPr>
            <p:nvPr/>
          </p:nvSpPr>
          <p:spPr bwMode="auto">
            <a:xfrm>
              <a:off x="1547814" y="2174876"/>
              <a:ext cx="133350" cy="123825"/>
            </a:xfrm>
            <a:custGeom>
              <a:avLst/>
              <a:gdLst/>
              <a:ahLst/>
              <a:cxnLst>
                <a:cxn ang="0">
                  <a:pos x="14" y="11"/>
                </a:cxn>
                <a:cxn ang="0">
                  <a:pos x="5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13" y="16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4" y="11"/>
                </a:cxn>
                <a:cxn ang="0">
                  <a:pos x="14" y="11"/>
                </a:cxn>
                <a:cxn ang="0">
                  <a:pos x="14" y="11"/>
                </a:cxn>
              </a:cxnLst>
              <a:rect l="0" t="0" r="r" b="b"/>
              <a:pathLst>
                <a:path w="17" h="16">
                  <a:moveTo>
                    <a:pt x="14" y="11"/>
                  </a:moveTo>
                  <a:cubicBezTo>
                    <a:pt x="7" y="9"/>
                    <a:pt x="5" y="3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1"/>
                    <a:pt x="0" y="2"/>
                    <a:pt x="0" y="4"/>
                  </a:cubicBezTo>
                  <a:cubicBezTo>
                    <a:pt x="0" y="4"/>
                    <a:pt x="3" y="14"/>
                    <a:pt x="13" y="16"/>
                  </a:cubicBezTo>
                  <a:cubicBezTo>
                    <a:pt x="13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7" y="12"/>
                    <a:pt x="16" y="11"/>
                    <a:pt x="14" y="11"/>
                  </a:cubicBezTo>
                  <a:close/>
                  <a:moveTo>
                    <a:pt x="14" y="11"/>
                  </a:moveTo>
                  <a:cubicBezTo>
                    <a:pt x="14" y="11"/>
                    <a:pt x="14" y="11"/>
                    <a:pt x="14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17"/>
            <p:cNvSpPr>
              <a:spLocks noEditPoints="1"/>
            </p:cNvSpPr>
            <p:nvPr/>
          </p:nvSpPr>
          <p:spPr bwMode="auto">
            <a:xfrm>
              <a:off x="1470026" y="1973264"/>
              <a:ext cx="520700" cy="519113"/>
            </a:xfrm>
            <a:custGeom>
              <a:avLst/>
              <a:gdLst/>
              <a:ahLst/>
              <a:cxnLst>
                <a:cxn ang="0">
                  <a:pos x="66" y="54"/>
                </a:cxn>
                <a:cxn ang="0">
                  <a:pos x="55" y="44"/>
                </a:cxn>
                <a:cxn ang="0">
                  <a:pos x="50" y="44"/>
                </a:cxn>
                <a:cxn ang="0">
                  <a:pos x="47" y="41"/>
                </a:cxn>
                <a:cxn ang="0">
                  <a:pos x="44" y="7"/>
                </a:cxn>
                <a:cxn ang="0">
                  <a:pos x="26" y="0"/>
                </a:cxn>
                <a:cxn ang="0">
                  <a:pos x="7" y="7"/>
                </a:cxn>
                <a:cxn ang="0">
                  <a:pos x="0" y="26"/>
                </a:cxn>
                <a:cxn ang="0">
                  <a:pos x="7" y="44"/>
                </a:cxn>
                <a:cxn ang="0">
                  <a:pos x="26" y="52"/>
                </a:cxn>
                <a:cxn ang="0">
                  <a:pos x="41" y="47"/>
                </a:cxn>
                <a:cxn ang="0">
                  <a:pos x="44" y="50"/>
                </a:cxn>
                <a:cxn ang="0">
                  <a:pos x="44" y="55"/>
                </a:cxn>
                <a:cxn ang="0">
                  <a:pos x="54" y="66"/>
                </a:cxn>
                <a:cxn ang="0">
                  <a:pos x="60" y="66"/>
                </a:cxn>
                <a:cxn ang="0">
                  <a:pos x="66" y="60"/>
                </a:cxn>
                <a:cxn ang="0">
                  <a:pos x="67" y="57"/>
                </a:cxn>
                <a:cxn ang="0">
                  <a:pos x="66" y="54"/>
                </a:cxn>
                <a:cxn ang="0">
                  <a:pos x="39" y="39"/>
                </a:cxn>
                <a:cxn ang="0">
                  <a:pos x="26" y="44"/>
                </a:cxn>
                <a:cxn ang="0">
                  <a:pos x="13" y="39"/>
                </a:cxn>
                <a:cxn ang="0">
                  <a:pos x="8" y="26"/>
                </a:cxn>
                <a:cxn ang="0">
                  <a:pos x="10" y="17"/>
                </a:cxn>
                <a:cxn ang="0">
                  <a:pos x="13" y="13"/>
                </a:cxn>
                <a:cxn ang="0">
                  <a:pos x="14" y="13"/>
                </a:cxn>
                <a:cxn ang="0">
                  <a:pos x="26" y="8"/>
                </a:cxn>
                <a:cxn ang="0">
                  <a:pos x="39" y="13"/>
                </a:cxn>
                <a:cxn ang="0">
                  <a:pos x="40" y="15"/>
                </a:cxn>
                <a:cxn ang="0">
                  <a:pos x="39" y="39"/>
                </a:cxn>
                <a:cxn ang="0">
                  <a:pos x="39" y="39"/>
                </a:cxn>
                <a:cxn ang="0">
                  <a:pos x="39" y="39"/>
                </a:cxn>
              </a:cxnLst>
              <a:rect l="0" t="0" r="r" b="b"/>
              <a:pathLst>
                <a:path w="67" h="67">
                  <a:moveTo>
                    <a:pt x="66" y="54"/>
                  </a:moveTo>
                  <a:cubicBezTo>
                    <a:pt x="55" y="44"/>
                    <a:pt x="55" y="44"/>
                    <a:pt x="55" y="44"/>
                  </a:cubicBezTo>
                  <a:cubicBezTo>
                    <a:pt x="54" y="42"/>
                    <a:pt x="51" y="42"/>
                    <a:pt x="50" y="44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54" y="31"/>
                    <a:pt x="53" y="17"/>
                    <a:pt x="44" y="7"/>
                  </a:cubicBezTo>
                  <a:cubicBezTo>
                    <a:pt x="39" y="2"/>
                    <a:pt x="33" y="0"/>
                    <a:pt x="26" y="0"/>
                  </a:cubicBezTo>
                  <a:cubicBezTo>
                    <a:pt x="19" y="0"/>
                    <a:pt x="12" y="2"/>
                    <a:pt x="7" y="7"/>
                  </a:cubicBezTo>
                  <a:cubicBezTo>
                    <a:pt x="2" y="12"/>
                    <a:pt x="0" y="19"/>
                    <a:pt x="0" y="26"/>
                  </a:cubicBezTo>
                  <a:cubicBezTo>
                    <a:pt x="0" y="33"/>
                    <a:pt x="2" y="39"/>
                    <a:pt x="7" y="44"/>
                  </a:cubicBezTo>
                  <a:cubicBezTo>
                    <a:pt x="12" y="49"/>
                    <a:pt x="19" y="52"/>
                    <a:pt x="26" y="52"/>
                  </a:cubicBezTo>
                  <a:cubicBezTo>
                    <a:pt x="31" y="52"/>
                    <a:pt x="37" y="50"/>
                    <a:pt x="41" y="47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2" y="51"/>
                    <a:pt x="42" y="54"/>
                    <a:pt x="44" y="55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6" y="67"/>
                    <a:pt x="59" y="67"/>
                    <a:pt x="60" y="66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7" y="59"/>
                    <a:pt x="67" y="57"/>
                  </a:cubicBezTo>
                  <a:cubicBezTo>
                    <a:pt x="67" y="56"/>
                    <a:pt x="66" y="55"/>
                    <a:pt x="66" y="54"/>
                  </a:cubicBezTo>
                  <a:close/>
                  <a:moveTo>
                    <a:pt x="39" y="39"/>
                  </a:moveTo>
                  <a:cubicBezTo>
                    <a:pt x="35" y="42"/>
                    <a:pt x="31" y="44"/>
                    <a:pt x="26" y="44"/>
                  </a:cubicBezTo>
                  <a:cubicBezTo>
                    <a:pt x="21" y="44"/>
                    <a:pt x="16" y="42"/>
                    <a:pt x="13" y="39"/>
                  </a:cubicBezTo>
                  <a:cubicBezTo>
                    <a:pt x="10" y="35"/>
                    <a:pt x="8" y="31"/>
                    <a:pt x="8" y="26"/>
                  </a:cubicBezTo>
                  <a:cubicBezTo>
                    <a:pt x="8" y="23"/>
                    <a:pt x="8" y="20"/>
                    <a:pt x="10" y="17"/>
                  </a:cubicBezTo>
                  <a:cubicBezTo>
                    <a:pt x="11" y="16"/>
                    <a:pt x="12" y="14"/>
                    <a:pt x="13" y="13"/>
                  </a:cubicBezTo>
                  <a:cubicBezTo>
                    <a:pt x="13" y="13"/>
                    <a:pt x="13" y="13"/>
                    <a:pt x="14" y="13"/>
                  </a:cubicBezTo>
                  <a:cubicBezTo>
                    <a:pt x="17" y="9"/>
                    <a:pt x="21" y="8"/>
                    <a:pt x="26" y="8"/>
                  </a:cubicBezTo>
                  <a:cubicBezTo>
                    <a:pt x="31" y="8"/>
                    <a:pt x="35" y="10"/>
                    <a:pt x="39" y="13"/>
                  </a:cubicBezTo>
                  <a:cubicBezTo>
                    <a:pt x="39" y="14"/>
                    <a:pt x="40" y="14"/>
                    <a:pt x="40" y="15"/>
                  </a:cubicBezTo>
                  <a:cubicBezTo>
                    <a:pt x="45" y="22"/>
                    <a:pt x="45" y="32"/>
                    <a:pt x="39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39"/>
                    <a:pt x="39" y="3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18"/>
            <p:cNvSpPr>
              <a:spLocks noEditPoints="1"/>
            </p:cNvSpPr>
            <p:nvPr/>
          </p:nvSpPr>
          <p:spPr bwMode="auto">
            <a:xfrm>
              <a:off x="1555751" y="2112964"/>
              <a:ext cx="39688" cy="46038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</a:cxnLst>
              <a:rect l="0" t="0" r="r" b="b"/>
              <a:pathLst>
                <a:path w="5" h="6">
                  <a:moveTo>
                    <a:pt x="5" y="3"/>
                  </a:moveTo>
                  <a:cubicBezTo>
                    <a:pt x="5" y="4"/>
                    <a:pt x="4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5" name="Group 72"/>
          <p:cNvGrpSpPr/>
          <p:nvPr/>
        </p:nvGrpSpPr>
        <p:grpSpPr>
          <a:xfrm>
            <a:off x="1294492" y="2407525"/>
            <a:ext cx="577786" cy="553146"/>
            <a:chOff x="5105401" y="1701801"/>
            <a:chExt cx="873880" cy="836612"/>
          </a:xfrm>
          <a:solidFill>
            <a:schemeClr val="bg1"/>
          </a:solidFill>
        </p:grpSpPr>
        <p:sp>
          <p:nvSpPr>
            <p:cNvPr id="206" name="Freeform 22"/>
            <p:cNvSpPr>
              <a:spLocks noEditPoints="1"/>
            </p:cNvSpPr>
            <p:nvPr/>
          </p:nvSpPr>
          <p:spPr bwMode="auto">
            <a:xfrm>
              <a:off x="5105401" y="1701801"/>
              <a:ext cx="873880" cy="836612"/>
            </a:xfrm>
            <a:custGeom>
              <a:avLst/>
              <a:gdLst/>
              <a:ahLst/>
              <a:cxnLst>
                <a:cxn ang="0">
                  <a:pos x="174" y="144"/>
                </a:cxn>
                <a:cxn ang="0">
                  <a:pos x="230" y="95"/>
                </a:cxn>
                <a:cxn ang="0">
                  <a:pos x="318" y="39"/>
                </a:cxn>
                <a:cxn ang="0">
                  <a:pos x="224" y="91"/>
                </a:cxn>
                <a:cxn ang="0">
                  <a:pos x="174" y="141"/>
                </a:cxn>
                <a:cxn ang="0">
                  <a:pos x="221" y="88"/>
                </a:cxn>
                <a:cxn ang="0">
                  <a:pos x="281" y="76"/>
                </a:cxn>
                <a:cxn ang="0">
                  <a:pos x="223" y="75"/>
                </a:cxn>
                <a:cxn ang="0">
                  <a:pos x="174" y="137"/>
                </a:cxn>
                <a:cxn ang="0">
                  <a:pos x="185" y="96"/>
                </a:cxn>
                <a:cxn ang="0">
                  <a:pos x="165" y="78"/>
                </a:cxn>
                <a:cxn ang="0">
                  <a:pos x="145" y="96"/>
                </a:cxn>
                <a:cxn ang="0">
                  <a:pos x="157" y="137"/>
                </a:cxn>
                <a:cxn ang="0">
                  <a:pos x="108" y="75"/>
                </a:cxn>
                <a:cxn ang="0">
                  <a:pos x="50" y="76"/>
                </a:cxn>
                <a:cxn ang="0">
                  <a:pos x="110" y="88"/>
                </a:cxn>
                <a:cxn ang="0">
                  <a:pos x="157" y="141"/>
                </a:cxn>
                <a:cxn ang="0">
                  <a:pos x="106" y="91"/>
                </a:cxn>
                <a:cxn ang="0">
                  <a:pos x="13" y="39"/>
                </a:cxn>
                <a:cxn ang="0">
                  <a:pos x="101" y="95"/>
                </a:cxn>
                <a:cxn ang="0">
                  <a:pos x="157" y="144"/>
                </a:cxn>
                <a:cxn ang="0">
                  <a:pos x="23" y="87"/>
                </a:cxn>
                <a:cxn ang="0">
                  <a:pos x="38" y="113"/>
                </a:cxn>
                <a:cxn ang="0">
                  <a:pos x="157" y="145"/>
                </a:cxn>
                <a:cxn ang="0">
                  <a:pos x="156" y="193"/>
                </a:cxn>
                <a:cxn ang="0">
                  <a:pos x="151" y="160"/>
                </a:cxn>
                <a:cxn ang="0">
                  <a:pos x="143" y="147"/>
                </a:cxn>
                <a:cxn ang="0">
                  <a:pos x="143" y="197"/>
                </a:cxn>
                <a:cxn ang="0">
                  <a:pos x="144" y="232"/>
                </a:cxn>
                <a:cxn ang="0">
                  <a:pos x="145" y="260"/>
                </a:cxn>
                <a:cxn ang="0">
                  <a:pos x="152" y="289"/>
                </a:cxn>
                <a:cxn ang="0">
                  <a:pos x="157" y="290"/>
                </a:cxn>
                <a:cxn ang="0">
                  <a:pos x="157" y="298"/>
                </a:cxn>
                <a:cxn ang="0">
                  <a:pos x="163" y="316"/>
                </a:cxn>
                <a:cxn ang="0">
                  <a:pos x="169" y="314"/>
                </a:cxn>
                <a:cxn ang="0">
                  <a:pos x="174" y="297"/>
                </a:cxn>
                <a:cxn ang="0">
                  <a:pos x="175" y="290"/>
                </a:cxn>
                <a:cxn ang="0">
                  <a:pos x="190" y="271"/>
                </a:cxn>
                <a:cxn ang="0">
                  <a:pos x="195" y="244"/>
                </a:cxn>
                <a:cxn ang="0">
                  <a:pos x="199" y="210"/>
                </a:cxn>
                <a:cxn ang="0">
                  <a:pos x="202" y="158"/>
                </a:cxn>
                <a:cxn ang="0">
                  <a:pos x="175" y="155"/>
                </a:cxn>
                <a:cxn ang="0">
                  <a:pos x="191" y="163"/>
                </a:cxn>
                <a:cxn ang="0">
                  <a:pos x="174" y="193"/>
                </a:cxn>
                <a:cxn ang="0">
                  <a:pos x="234" y="109"/>
                </a:cxn>
                <a:cxn ang="0">
                  <a:pos x="306" y="90"/>
                </a:cxn>
                <a:cxn ang="0">
                  <a:pos x="232" y="102"/>
                </a:cxn>
                <a:cxn ang="0">
                  <a:pos x="153" y="271"/>
                </a:cxn>
                <a:cxn ang="0">
                  <a:pos x="157" y="277"/>
                </a:cxn>
                <a:cxn ang="0">
                  <a:pos x="148" y="245"/>
                </a:cxn>
                <a:cxn ang="0">
                  <a:pos x="157" y="254"/>
                </a:cxn>
                <a:cxn ang="0">
                  <a:pos x="143" y="212"/>
                </a:cxn>
                <a:cxn ang="0">
                  <a:pos x="157" y="227"/>
                </a:cxn>
                <a:cxn ang="0">
                  <a:pos x="174" y="266"/>
                </a:cxn>
                <a:cxn ang="0">
                  <a:pos x="174" y="277"/>
                </a:cxn>
                <a:cxn ang="0">
                  <a:pos x="174" y="238"/>
                </a:cxn>
                <a:cxn ang="0">
                  <a:pos x="174" y="254"/>
                </a:cxn>
                <a:cxn ang="0">
                  <a:pos x="174" y="227"/>
                </a:cxn>
                <a:cxn ang="0">
                  <a:pos x="188" y="212"/>
                </a:cxn>
                <a:cxn ang="0">
                  <a:pos x="188" y="212"/>
                </a:cxn>
              </a:cxnLst>
              <a:rect l="0" t="0" r="r" b="b"/>
              <a:pathLst>
                <a:path w="330" h="316">
                  <a:moveTo>
                    <a:pt x="232" y="102"/>
                  </a:moveTo>
                  <a:cubicBezTo>
                    <a:pt x="207" y="132"/>
                    <a:pt x="185" y="142"/>
                    <a:pt x="174" y="144"/>
                  </a:cubicBezTo>
                  <a:cubicBezTo>
                    <a:pt x="174" y="141"/>
                    <a:pt x="174" y="141"/>
                    <a:pt x="174" y="141"/>
                  </a:cubicBezTo>
                  <a:cubicBezTo>
                    <a:pt x="209" y="131"/>
                    <a:pt x="230" y="95"/>
                    <a:pt x="230" y="95"/>
                  </a:cubicBezTo>
                  <a:cubicBezTo>
                    <a:pt x="254" y="104"/>
                    <a:pt x="277" y="99"/>
                    <a:pt x="277" y="99"/>
                  </a:cubicBezTo>
                  <a:cubicBezTo>
                    <a:pt x="319" y="88"/>
                    <a:pt x="318" y="39"/>
                    <a:pt x="318" y="39"/>
                  </a:cubicBezTo>
                  <a:cubicBezTo>
                    <a:pt x="299" y="99"/>
                    <a:pt x="233" y="89"/>
                    <a:pt x="229" y="88"/>
                  </a:cubicBezTo>
                  <a:cubicBezTo>
                    <a:pt x="225" y="87"/>
                    <a:pt x="224" y="91"/>
                    <a:pt x="224" y="91"/>
                  </a:cubicBezTo>
                  <a:cubicBezTo>
                    <a:pt x="222" y="95"/>
                    <a:pt x="222" y="95"/>
                    <a:pt x="222" y="95"/>
                  </a:cubicBezTo>
                  <a:cubicBezTo>
                    <a:pt x="207" y="125"/>
                    <a:pt x="186" y="136"/>
                    <a:pt x="174" y="141"/>
                  </a:cubicBezTo>
                  <a:cubicBezTo>
                    <a:pt x="174" y="138"/>
                    <a:pt x="174" y="138"/>
                    <a:pt x="174" y="138"/>
                  </a:cubicBezTo>
                  <a:cubicBezTo>
                    <a:pt x="203" y="125"/>
                    <a:pt x="219" y="92"/>
                    <a:pt x="221" y="88"/>
                  </a:cubicBezTo>
                  <a:cubicBezTo>
                    <a:pt x="223" y="83"/>
                    <a:pt x="225" y="84"/>
                    <a:pt x="225" y="84"/>
                  </a:cubicBezTo>
                  <a:cubicBezTo>
                    <a:pt x="260" y="87"/>
                    <a:pt x="281" y="76"/>
                    <a:pt x="281" y="76"/>
                  </a:cubicBezTo>
                  <a:cubicBezTo>
                    <a:pt x="330" y="51"/>
                    <a:pt x="305" y="0"/>
                    <a:pt x="305" y="0"/>
                  </a:cubicBezTo>
                  <a:cubicBezTo>
                    <a:pt x="306" y="70"/>
                    <a:pt x="229" y="74"/>
                    <a:pt x="223" y="75"/>
                  </a:cubicBezTo>
                  <a:cubicBezTo>
                    <a:pt x="216" y="76"/>
                    <a:pt x="215" y="83"/>
                    <a:pt x="215" y="83"/>
                  </a:cubicBezTo>
                  <a:cubicBezTo>
                    <a:pt x="206" y="115"/>
                    <a:pt x="186" y="130"/>
                    <a:pt x="174" y="137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81" y="110"/>
                    <a:pt x="185" y="104"/>
                    <a:pt x="185" y="96"/>
                  </a:cubicBezTo>
                  <a:cubicBezTo>
                    <a:pt x="185" y="85"/>
                    <a:pt x="175" y="78"/>
                    <a:pt x="165" y="78"/>
                  </a:cubicBezTo>
                  <a:cubicBezTo>
                    <a:pt x="165" y="78"/>
                    <a:pt x="165" y="78"/>
                    <a:pt x="165" y="78"/>
                  </a:cubicBezTo>
                  <a:cubicBezTo>
                    <a:pt x="165" y="78"/>
                    <a:pt x="165" y="78"/>
                    <a:pt x="165" y="78"/>
                  </a:cubicBezTo>
                  <a:cubicBezTo>
                    <a:pt x="155" y="78"/>
                    <a:pt x="145" y="85"/>
                    <a:pt x="145" y="96"/>
                  </a:cubicBezTo>
                  <a:cubicBezTo>
                    <a:pt x="145" y="104"/>
                    <a:pt x="150" y="110"/>
                    <a:pt x="157" y="113"/>
                  </a:cubicBezTo>
                  <a:cubicBezTo>
                    <a:pt x="157" y="137"/>
                    <a:pt x="157" y="137"/>
                    <a:pt x="157" y="137"/>
                  </a:cubicBezTo>
                  <a:cubicBezTo>
                    <a:pt x="145" y="130"/>
                    <a:pt x="125" y="115"/>
                    <a:pt x="115" y="83"/>
                  </a:cubicBezTo>
                  <a:cubicBezTo>
                    <a:pt x="115" y="83"/>
                    <a:pt x="114" y="76"/>
                    <a:pt x="108" y="75"/>
                  </a:cubicBezTo>
                  <a:cubicBezTo>
                    <a:pt x="101" y="74"/>
                    <a:pt x="24" y="70"/>
                    <a:pt x="26" y="0"/>
                  </a:cubicBezTo>
                  <a:cubicBezTo>
                    <a:pt x="26" y="0"/>
                    <a:pt x="0" y="51"/>
                    <a:pt x="50" y="76"/>
                  </a:cubicBezTo>
                  <a:cubicBezTo>
                    <a:pt x="50" y="76"/>
                    <a:pt x="71" y="87"/>
                    <a:pt x="105" y="84"/>
                  </a:cubicBezTo>
                  <a:cubicBezTo>
                    <a:pt x="105" y="84"/>
                    <a:pt x="108" y="83"/>
                    <a:pt x="110" y="88"/>
                  </a:cubicBezTo>
                  <a:cubicBezTo>
                    <a:pt x="111" y="92"/>
                    <a:pt x="128" y="125"/>
                    <a:pt x="157" y="138"/>
                  </a:cubicBezTo>
                  <a:cubicBezTo>
                    <a:pt x="157" y="141"/>
                    <a:pt x="157" y="141"/>
                    <a:pt x="157" y="141"/>
                  </a:cubicBezTo>
                  <a:cubicBezTo>
                    <a:pt x="145" y="136"/>
                    <a:pt x="124" y="125"/>
                    <a:pt x="108" y="95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91"/>
                    <a:pt x="105" y="87"/>
                    <a:pt x="101" y="88"/>
                  </a:cubicBezTo>
                  <a:cubicBezTo>
                    <a:pt x="97" y="89"/>
                    <a:pt x="32" y="99"/>
                    <a:pt x="13" y="39"/>
                  </a:cubicBezTo>
                  <a:cubicBezTo>
                    <a:pt x="13" y="39"/>
                    <a:pt x="12" y="88"/>
                    <a:pt x="54" y="99"/>
                  </a:cubicBezTo>
                  <a:cubicBezTo>
                    <a:pt x="54" y="99"/>
                    <a:pt x="77" y="104"/>
                    <a:pt x="101" y="95"/>
                  </a:cubicBezTo>
                  <a:cubicBezTo>
                    <a:pt x="101" y="95"/>
                    <a:pt x="122" y="131"/>
                    <a:pt x="157" y="141"/>
                  </a:cubicBezTo>
                  <a:cubicBezTo>
                    <a:pt x="157" y="144"/>
                    <a:pt x="157" y="144"/>
                    <a:pt x="157" y="144"/>
                  </a:cubicBezTo>
                  <a:cubicBezTo>
                    <a:pt x="146" y="142"/>
                    <a:pt x="124" y="132"/>
                    <a:pt x="99" y="102"/>
                  </a:cubicBezTo>
                  <a:cubicBezTo>
                    <a:pt x="99" y="102"/>
                    <a:pt x="53" y="118"/>
                    <a:pt x="23" y="87"/>
                  </a:cubicBezTo>
                  <a:cubicBezTo>
                    <a:pt x="23" y="88"/>
                    <a:pt x="24" y="89"/>
                    <a:pt x="24" y="90"/>
                  </a:cubicBezTo>
                  <a:cubicBezTo>
                    <a:pt x="28" y="98"/>
                    <a:pt x="33" y="105"/>
                    <a:pt x="38" y="113"/>
                  </a:cubicBezTo>
                  <a:cubicBezTo>
                    <a:pt x="51" y="121"/>
                    <a:pt x="70" y="124"/>
                    <a:pt x="96" y="109"/>
                  </a:cubicBezTo>
                  <a:cubicBezTo>
                    <a:pt x="96" y="109"/>
                    <a:pt x="132" y="141"/>
                    <a:pt x="157" y="145"/>
                  </a:cubicBezTo>
                  <a:cubicBezTo>
                    <a:pt x="157" y="193"/>
                    <a:pt x="157" y="193"/>
                    <a:pt x="157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36" y="171"/>
                    <a:pt x="139" y="164"/>
                    <a:pt x="139" y="163"/>
                  </a:cubicBezTo>
                  <a:cubicBezTo>
                    <a:pt x="141" y="161"/>
                    <a:pt x="147" y="160"/>
                    <a:pt x="151" y="160"/>
                  </a:cubicBezTo>
                  <a:cubicBezTo>
                    <a:pt x="154" y="161"/>
                    <a:pt x="155" y="158"/>
                    <a:pt x="156" y="155"/>
                  </a:cubicBezTo>
                  <a:cubicBezTo>
                    <a:pt x="156" y="152"/>
                    <a:pt x="146" y="148"/>
                    <a:pt x="143" y="147"/>
                  </a:cubicBezTo>
                  <a:cubicBezTo>
                    <a:pt x="141" y="147"/>
                    <a:pt x="134" y="147"/>
                    <a:pt x="129" y="158"/>
                  </a:cubicBezTo>
                  <a:cubicBezTo>
                    <a:pt x="124" y="167"/>
                    <a:pt x="129" y="179"/>
                    <a:pt x="143" y="197"/>
                  </a:cubicBezTo>
                  <a:cubicBezTo>
                    <a:pt x="138" y="199"/>
                    <a:pt x="133" y="203"/>
                    <a:pt x="131" y="210"/>
                  </a:cubicBezTo>
                  <a:cubicBezTo>
                    <a:pt x="130" y="217"/>
                    <a:pt x="134" y="224"/>
                    <a:pt x="144" y="232"/>
                  </a:cubicBezTo>
                  <a:cubicBezTo>
                    <a:pt x="140" y="235"/>
                    <a:pt x="137" y="239"/>
                    <a:pt x="136" y="244"/>
                  </a:cubicBezTo>
                  <a:cubicBezTo>
                    <a:pt x="135" y="249"/>
                    <a:pt x="139" y="255"/>
                    <a:pt x="145" y="260"/>
                  </a:cubicBezTo>
                  <a:cubicBezTo>
                    <a:pt x="143" y="263"/>
                    <a:pt x="141" y="266"/>
                    <a:pt x="141" y="271"/>
                  </a:cubicBezTo>
                  <a:cubicBezTo>
                    <a:pt x="140" y="277"/>
                    <a:pt x="144" y="283"/>
                    <a:pt x="152" y="289"/>
                  </a:cubicBezTo>
                  <a:cubicBezTo>
                    <a:pt x="153" y="290"/>
                    <a:pt x="154" y="290"/>
                    <a:pt x="156" y="290"/>
                  </a:cubicBezTo>
                  <a:cubicBezTo>
                    <a:pt x="156" y="290"/>
                    <a:pt x="156" y="290"/>
                    <a:pt x="157" y="290"/>
                  </a:cubicBezTo>
                  <a:cubicBezTo>
                    <a:pt x="157" y="297"/>
                    <a:pt x="157" y="297"/>
                    <a:pt x="157" y="297"/>
                  </a:cubicBezTo>
                  <a:cubicBezTo>
                    <a:pt x="157" y="298"/>
                    <a:pt x="157" y="298"/>
                    <a:pt x="157" y="298"/>
                  </a:cubicBezTo>
                  <a:cubicBezTo>
                    <a:pt x="161" y="314"/>
                    <a:pt x="161" y="314"/>
                    <a:pt x="161" y="314"/>
                  </a:cubicBezTo>
                  <a:cubicBezTo>
                    <a:pt x="161" y="315"/>
                    <a:pt x="162" y="316"/>
                    <a:pt x="163" y="316"/>
                  </a:cubicBezTo>
                  <a:cubicBezTo>
                    <a:pt x="167" y="316"/>
                    <a:pt x="167" y="316"/>
                    <a:pt x="167" y="316"/>
                  </a:cubicBezTo>
                  <a:cubicBezTo>
                    <a:pt x="168" y="316"/>
                    <a:pt x="169" y="315"/>
                    <a:pt x="169" y="314"/>
                  </a:cubicBezTo>
                  <a:cubicBezTo>
                    <a:pt x="174" y="298"/>
                    <a:pt x="174" y="298"/>
                    <a:pt x="174" y="298"/>
                  </a:cubicBezTo>
                  <a:cubicBezTo>
                    <a:pt x="174" y="298"/>
                    <a:pt x="174" y="298"/>
                    <a:pt x="174" y="297"/>
                  </a:cubicBezTo>
                  <a:cubicBezTo>
                    <a:pt x="174" y="290"/>
                    <a:pt x="174" y="290"/>
                    <a:pt x="174" y="290"/>
                  </a:cubicBezTo>
                  <a:cubicBezTo>
                    <a:pt x="174" y="290"/>
                    <a:pt x="175" y="290"/>
                    <a:pt x="175" y="290"/>
                  </a:cubicBezTo>
                  <a:cubicBezTo>
                    <a:pt x="176" y="290"/>
                    <a:pt x="177" y="290"/>
                    <a:pt x="178" y="289"/>
                  </a:cubicBezTo>
                  <a:cubicBezTo>
                    <a:pt x="186" y="283"/>
                    <a:pt x="190" y="277"/>
                    <a:pt x="190" y="271"/>
                  </a:cubicBezTo>
                  <a:cubicBezTo>
                    <a:pt x="190" y="266"/>
                    <a:pt x="188" y="263"/>
                    <a:pt x="185" y="260"/>
                  </a:cubicBezTo>
                  <a:cubicBezTo>
                    <a:pt x="192" y="255"/>
                    <a:pt x="195" y="249"/>
                    <a:pt x="195" y="244"/>
                  </a:cubicBezTo>
                  <a:cubicBezTo>
                    <a:pt x="194" y="239"/>
                    <a:pt x="191" y="235"/>
                    <a:pt x="187" y="232"/>
                  </a:cubicBezTo>
                  <a:cubicBezTo>
                    <a:pt x="197" y="224"/>
                    <a:pt x="201" y="217"/>
                    <a:pt x="199" y="210"/>
                  </a:cubicBezTo>
                  <a:cubicBezTo>
                    <a:pt x="198" y="203"/>
                    <a:pt x="193" y="199"/>
                    <a:pt x="187" y="197"/>
                  </a:cubicBezTo>
                  <a:cubicBezTo>
                    <a:pt x="202" y="179"/>
                    <a:pt x="207" y="167"/>
                    <a:pt x="202" y="158"/>
                  </a:cubicBezTo>
                  <a:cubicBezTo>
                    <a:pt x="196" y="147"/>
                    <a:pt x="189" y="147"/>
                    <a:pt x="188" y="147"/>
                  </a:cubicBezTo>
                  <a:cubicBezTo>
                    <a:pt x="184" y="148"/>
                    <a:pt x="175" y="152"/>
                    <a:pt x="175" y="155"/>
                  </a:cubicBezTo>
                  <a:cubicBezTo>
                    <a:pt x="175" y="158"/>
                    <a:pt x="177" y="161"/>
                    <a:pt x="180" y="160"/>
                  </a:cubicBezTo>
                  <a:cubicBezTo>
                    <a:pt x="183" y="160"/>
                    <a:pt x="190" y="161"/>
                    <a:pt x="191" y="163"/>
                  </a:cubicBezTo>
                  <a:cubicBezTo>
                    <a:pt x="192" y="164"/>
                    <a:pt x="194" y="171"/>
                    <a:pt x="175" y="193"/>
                  </a:cubicBezTo>
                  <a:cubicBezTo>
                    <a:pt x="175" y="193"/>
                    <a:pt x="174" y="193"/>
                    <a:pt x="174" y="193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99" y="141"/>
                    <a:pt x="234" y="109"/>
                    <a:pt x="234" y="109"/>
                  </a:cubicBezTo>
                  <a:cubicBezTo>
                    <a:pt x="261" y="124"/>
                    <a:pt x="280" y="121"/>
                    <a:pt x="293" y="113"/>
                  </a:cubicBezTo>
                  <a:cubicBezTo>
                    <a:pt x="298" y="105"/>
                    <a:pt x="302" y="98"/>
                    <a:pt x="306" y="90"/>
                  </a:cubicBezTo>
                  <a:cubicBezTo>
                    <a:pt x="307" y="89"/>
                    <a:pt x="307" y="88"/>
                    <a:pt x="308" y="87"/>
                  </a:cubicBezTo>
                  <a:cubicBezTo>
                    <a:pt x="278" y="118"/>
                    <a:pt x="232" y="102"/>
                    <a:pt x="232" y="102"/>
                  </a:cubicBezTo>
                  <a:close/>
                  <a:moveTo>
                    <a:pt x="157" y="277"/>
                  </a:moveTo>
                  <a:cubicBezTo>
                    <a:pt x="154" y="275"/>
                    <a:pt x="152" y="273"/>
                    <a:pt x="153" y="271"/>
                  </a:cubicBezTo>
                  <a:cubicBezTo>
                    <a:pt x="153" y="269"/>
                    <a:pt x="156" y="267"/>
                    <a:pt x="157" y="266"/>
                  </a:cubicBezTo>
                  <a:lnTo>
                    <a:pt x="157" y="277"/>
                  </a:lnTo>
                  <a:close/>
                  <a:moveTo>
                    <a:pt x="157" y="254"/>
                  </a:moveTo>
                  <a:cubicBezTo>
                    <a:pt x="149" y="249"/>
                    <a:pt x="148" y="246"/>
                    <a:pt x="148" y="245"/>
                  </a:cubicBezTo>
                  <a:cubicBezTo>
                    <a:pt x="148" y="243"/>
                    <a:pt x="153" y="240"/>
                    <a:pt x="157" y="238"/>
                  </a:cubicBezTo>
                  <a:lnTo>
                    <a:pt x="157" y="254"/>
                  </a:lnTo>
                  <a:close/>
                  <a:moveTo>
                    <a:pt x="157" y="227"/>
                  </a:moveTo>
                  <a:cubicBezTo>
                    <a:pt x="143" y="217"/>
                    <a:pt x="143" y="213"/>
                    <a:pt x="143" y="212"/>
                  </a:cubicBezTo>
                  <a:cubicBezTo>
                    <a:pt x="144" y="207"/>
                    <a:pt x="156" y="205"/>
                    <a:pt x="157" y="205"/>
                  </a:cubicBezTo>
                  <a:lnTo>
                    <a:pt x="157" y="227"/>
                  </a:lnTo>
                  <a:close/>
                  <a:moveTo>
                    <a:pt x="174" y="277"/>
                  </a:moveTo>
                  <a:cubicBezTo>
                    <a:pt x="174" y="266"/>
                    <a:pt x="174" y="266"/>
                    <a:pt x="174" y="266"/>
                  </a:cubicBezTo>
                  <a:cubicBezTo>
                    <a:pt x="175" y="267"/>
                    <a:pt x="178" y="269"/>
                    <a:pt x="178" y="271"/>
                  </a:cubicBezTo>
                  <a:cubicBezTo>
                    <a:pt x="178" y="273"/>
                    <a:pt x="177" y="275"/>
                    <a:pt x="174" y="277"/>
                  </a:cubicBezTo>
                  <a:close/>
                  <a:moveTo>
                    <a:pt x="174" y="254"/>
                  </a:moveTo>
                  <a:cubicBezTo>
                    <a:pt x="174" y="238"/>
                    <a:pt x="174" y="238"/>
                    <a:pt x="174" y="238"/>
                  </a:cubicBezTo>
                  <a:cubicBezTo>
                    <a:pt x="178" y="240"/>
                    <a:pt x="183" y="243"/>
                    <a:pt x="183" y="245"/>
                  </a:cubicBezTo>
                  <a:cubicBezTo>
                    <a:pt x="183" y="246"/>
                    <a:pt x="181" y="249"/>
                    <a:pt x="174" y="254"/>
                  </a:cubicBezTo>
                  <a:close/>
                  <a:moveTo>
                    <a:pt x="188" y="212"/>
                  </a:moveTo>
                  <a:cubicBezTo>
                    <a:pt x="188" y="213"/>
                    <a:pt x="188" y="217"/>
                    <a:pt x="174" y="227"/>
                  </a:cubicBezTo>
                  <a:cubicBezTo>
                    <a:pt x="174" y="205"/>
                    <a:pt x="174" y="205"/>
                    <a:pt x="174" y="205"/>
                  </a:cubicBezTo>
                  <a:cubicBezTo>
                    <a:pt x="175" y="205"/>
                    <a:pt x="187" y="207"/>
                    <a:pt x="188" y="212"/>
                  </a:cubicBezTo>
                  <a:close/>
                  <a:moveTo>
                    <a:pt x="188" y="212"/>
                  </a:moveTo>
                  <a:cubicBezTo>
                    <a:pt x="188" y="212"/>
                    <a:pt x="188" y="212"/>
                    <a:pt x="188" y="2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23"/>
            <p:cNvSpPr>
              <a:spLocks noEditPoints="1"/>
            </p:cNvSpPr>
            <p:nvPr/>
          </p:nvSpPr>
          <p:spPr bwMode="auto">
            <a:xfrm>
              <a:off x="5352144" y="2080911"/>
              <a:ext cx="110520" cy="39839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14"/>
                </a:cxn>
                <a:cxn ang="0">
                  <a:pos x="42" y="6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4" y="0"/>
                </a:cxn>
              </a:cxnLst>
              <a:rect l="0" t="0" r="r" b="b"/>
              <a:pathLst>
                <a:path w="42" h="15">
                  <a:moveTo>
                    <a:pt x="14" y="0"/>
                  </a:moveTo>
                  <a:cubicBezTo>
                    <a:pt x="14" y="0"/>
                    <a:pt x="13" y="11"/>
                    <a:pt x="0" y="14"/>
                  </a:cubicBezTo>
                  <a:cubicBezTo>
                    <a:pt x="0" y="14"/>
                    <a:pt x="23" y="15"/>
                    <a:pt x="42" y="6"/>
                  </a:cubicBezTo>
                  <a:lnTo>
                    <a:pt x="14" y="0"/>
                  </a:lnTo>
                  <a:close/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8" name="Freeform 24"/>
            <p:cNvSpPr>
              <a:spLocks noEditPoints="1"/>
            </p:cNvSpPr>
            <p:nvPr/>
          </p:nvSpPr>
          <p:spPr bwMode="auto">
            <a:xfrm>
              <a:off x="5227487" y="2006374"/>
              <a:ext cx="259594" cy="77107"/>
            </a:xfrm>
            <a:custGeom>
              <a:avLst/>
              <a:gdLst/>
              <a:ahLst/>
              <a:cxnLst>
                <a:cxn ang="0">
                  <a:pos x="50" y="9"/>
                </a:cxn>
                <a:cxn ang="0">
                  <a:pos x="98" y="29"/>
                </a:cxn>
                <a:cxn ang="0">
                  <a:pos x="51" y="0"/>
                </a:cxn>
                <a:cxn ang="0">
                  <a:pos x="0" y="10"/>
                </a:cxn>
                <a:cxn ang="0">
                  <a:pos x="13" y="27"/>
                </a:cxn>
                <a:cxn ang="0">
                  <a:pos x="50" y="9"/>
                </a:cxn>
                <a:cxn ang="0">
                  <a:pos x="50" y="9"/>
                </a:cxn>
                <a:cxn ang="0">
                  <a:pos x="50" y="9"/>
                </a:cxn>
              </a:cxnLst>
              <a:rect l="0" t="0" r="r" b="b"/>
              <a:pathLst>
                <a:path w="98" h="29">
                  <a:moveTo>
                    <a:pt x="50" y="9"/>
                  </a:moveTo>
                  <a:cubicBezTo>
                    <a:pt x="50" y="9"/>
                    <a:pt x="89" y="28"/>
                    <a:pt x="98" y="29"/>
                  </a:cubicBezTo>
                  <a:cubicBezTo>
                    <a:pt x="98" y="29"/>
                    <a:pt x="68" y="16"/>
                    <a:pt x="51" y="0"/>
                  </a:cubicBezTo>
                  <a:cubicBezTo>
                    <a:pt x="51" y="0"/>
                    <a:pt x="26" y="16"/>
                    <a:pt x="0" y="10"/>
                  </a:cubicBezTo>
                  <a:cubicBezTo>
                    <a:pt x="4" y="16"/>
                    <a:pt x="9" y="22"/>
                    <a:pt x="13" y="27"/>
                  </a:cubicBezTo>
                  <a:cubicBezTo>
                    <a:pt x="24" y="28"/>
                    <a:pt x="36" y="24"/>
                    <a:pt x="50" y="9"/>
                  </a:cubicBezTo>
                  <a:close/>
                  <a:moveTo>
                    <a:pt x="50" y="9"/>
                  </a:moveTo>
                  <a:cubicBezTo>
                    <a:pt x="50" y="9"/>
                    <a:pt x="50" y="9"/>
                    <a:pt x="50" y="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9" name="Freeform 25"/>
            <p:cNvSpPr>
              <a:spLocks noEditPoints="1"/>
            </p:cNvSpPr>
            <p:nvPr/>
          </p:nvSpPr>
          <p:spPr bwMode="auto">
            <a:xfrm>
              <a:off x="5272466" y="2043642"/>
              <a:ext cx="195338" cy="77107"/>
            </a:xfrm>
            <a:custGeom>
              <a:avLst/>
              <a:gdLst/>
              <a:ahLst/>
              <a:cxnLst>
                <a:cxn ang="0">
                  <a:pos x="39" y="8"/>
                </a:cxn>
                <a:cxn ang="0">
                  <a:pos x="74" y="16"/>
                </a:cxn>
                <a:cxn ang="0">
                  <a:pos x="35" y="0"/>
                </a:cxn>
                <a:cxn ang="0">
                  <a:pos x="0" y="18"/>
                </a:cxn>
                <a:cxn ang="0">
                  <a:pos x="5" y="23"/>
                </a:cxn>
                <a:cxn ang="0">
                  <a:pos x="39" y="8"/>
                </a:cxn>
                <a:cxn ang="0">
                  <a:pos x="39" y="8"/>
                </a:cxn>
                <a:cxn ang="0">
                  <a:pos x="39" y="8"/>
                </a:cxn>
              </a:cxnLst>
              <a:rect l="0" t="0" r="r" b="b"/>
              <a:pathLst>
                <a:path w="74" h="29">
                  <a:moveTo>
                    <a:pt x="39" y="8"/>
                  </a:move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59" y="10"/>
                    <a:pt x="35" y="0"/>
                  </a:cubicBezTo>
                  <a:cubicBezTo>
                    <a:pt x="35" y="0"/>
                    <a:pt x="20" y="18"/>
                    <a:pt x="0" y="18"/>
                  </a:cubicBezTo>
                  <a:cubicBezTo>
                    <a:pt x="2" y="19"/>
                    <a:pt x="3" y="21"/>
                    <a:pt x="5" y="23"/>
                  </a:cubicBezTo>
                  <a:cubicBezTo>
                    <a:pt x="18" y="27"/>
                    <a:pt x="35" y="29"/>
                    <a:pt x="39" y="8"/>
                  </a:cubicBezTo>
                  <a:close/>
                  <a:moveTo>
                    <a:pt x="39" y="8"/>
                  </a:moveTo>
                  <a:cubicBezTo>
                    <a:pt x="39" y="8"/>
                    <a:pt x="39" y="8"/>
                    <a:pt x="39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0" name="Freeform 26"/>
            <p:cNvSpPr>
              <a:spLocks noEditPoints="1"/>
            </p:cNvSpPr>
            <p:nvPr/>
          </p:nvSpPr>
          <p:spPr bwMode="auto">
            <a:xfrm>
              <a:off x="5624589" y="2080911"/>
              <a:ext cx="110520" cy="39839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6"/>
                </a:cxn>
                <a:cxn ang="0">
                  <a:pos x="42" y="14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8" y="0"/>
                </a:cxn>
              </a:cxnLst>
              <a:rect l="0" t="0" r="r" b="b"/>
              <a:pathLst>
                <a:path w="42" h="15">
                  <a:moveTo>
                    <a:pt x="28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9" y="15"/>
                    <a:pt x="42" y="14"/>
                    <a:pt x="42" y="14"/>
                  </a:cubicBezTo>
                  <a:cubicBezTo>
                    <a:pt x="29" y="11"/>
                    <a:pt x="28" y="0"/>
                    <a:pt x="28" y="0"/>
                  </a:cubicBezTo>
                  <a:close/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Freeform 27"/>
            <p:cNvSpPr>
              <a:spLocks noEditPoints="1"/>
            </p:cNvSpPr>
            <p:nvPr/>
          </p:nvSpPr>
          <p:spPr bwMode="auto">
            <a:xfrm>
              <a:off x="5600171" y="2006374"/>
              <a:ext cx="259594" cy="77107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0" y="29"/>
                </a:cxn>
                <a:cxn ang="0">
                  <a:pos x="48" y="9"/>
                </a:cxn>
                <a:cxn ang="0">
                  <a:pos x="85" y="27"/>
                </a:cxn>
                <a:cxn ang="0">
                  <a:pos x="98" y="10"/>
                </a:cxn>
                <a:cxn ang="0">
                  <a:pos x="47" y="0"/>
                </a:cxn>
                <a:cxn ang="0">
                  <a:pos x="47" y="0"/>
                </a:cxn>
                <a:cxn ang="0">
                  <a:pos x="47" y="0"/>
                </a:cxn>
              </a:cxnLst>
              <a:rect l="0" t="0" r="r" b="b"/>
              <a:pathLst>
                <a:path w="98" h="29">
                  <a:moveTo>
                    <a:pt x="47" y="0"/>
                  </a:moveTo>
                  <a:cubicBezTo>
                    <a:pt x="30" y="16"/>
                    <a:pt x="0" y="29"/>
                    <a:pt x="0" y="29"/>
                  </a:cubicBezTo>
                  <a:cubicBezTo>
                    <a:pt x="9" y="28"/>
                    <a:pt x="48" y="9"/>
                    <a:pt x="48" y="9"/>
                  </a:cubicBezTo>
                  <a:cubicBezTo>
                    <a:pt x="61" y="24"/>
                    <a:pt x="74" y="28"/>
                    <a:pt x="85" y="27"/>
                  </a:cubicBezTo>
                  <a:cubicBezTo>
                    <a:pt x="89" y="22"/>
                    <a:pt x="94" y="16"/>
                    <a:pt x="98" y="10"/>
                  </a:cubicBezTo>
                  <a:cubicBezTo>
                    <a:pt x="72" y="16"/>
                    <a:pt x="47" y="0"/>
                    <a:pt x="47" y="0"/>
                  </a:cubicBezTo>
                  <a:close/>
                  <a:moveTo>
                    <a:pt x="47" y="0"/>
                  </a:move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" name="Freeform 28"/>
            <p:cNvSpPr>
              <a:spLocks noEditPoints="1"/>
            </p:cNvSpPr>
            <p:nvPr/>
          </p:nvSpPr>
          <p:spPr bwMode="auto">
            <a:xfrm>
              <a:off x="5619448" y="2043642"/>
              <a:ext cx="195338" cy="77107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0" y="16"/>
                </a:cxn>
                <a:cxn ang="0">
                  <a:pos x="35" y="8"/>
                </a:cxn>
                <a:cxn ang="0">
                  <a:pos x="69" y="23"/>
                </a:cxn>
                <a:cxn ang="0">
                  <a:pos x="74" y="18"/>
                </a:cxn>
                <a:cxn ang="0">
                  <a:pos x="39" y="0"/>
                </a:cxn>
                <a:cxn ang="0">
                  <a:pos x="39" y="0"/>
                </a:cxn>
                <a:cxn ang="0">
                  <a:pos x="39" y="0"/>
                </a:cxn>
              </a:cxnLst>
              <a:rect l="0" t="0" r="r" b="b"/>
              <a:pathLst>
                <a:path w="74" h="29">
                  <a:moveTo>
                    <a:pt x="39" y="0"/>
                  </a:moveTo>
                  <a:cubicBezTo>
                    <a:pt x="14" y="10"/>
                    <a:pt x="0" y="16"/>
                    <a:pt x="0" y="16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8" y="29"/>
                    <a:pt x="56" y="27"/>
                    <a:pt x="69" y="23"/>
                  </a:cubicBezTo>
                  <a:cubicBezTo>
                    <a:pt x="71" y="21"/>
                    <a:pt x="72" y="19"/>
                    <a:pt x="74" y="18"/>
                  </a:cubicBezTo>
                  <a:cubicBezTo>
                    <a:pt x="54" y="18"/>
                    <a:pt x="39" y="0"/>
                    <a:pt x="39" y="0"/>
                  </a:cubicBezTo>
                  <a:close/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5" name="Freeform 226"/>
          <p:cNvSpPr>
            <a:spLocks noEditPoints="1"/>
          </p:cNvSpPr>
          <p:nvPr/>
        </p:nvSpPr>
        <p:spPr bwMode="auto">
          <a:xfrm>
            <a:off x="1310700" y="952866"/>
            <a:ext cx="537258" cy="360078"/>
          </a:xfrm>
          <a:custGeom>
            <a:avLst/>
            <a:gdLst/>
            <a:ahLst/>
            <a:cxnLst>
              <a:cxn ang="0">
                <a:pos x="86" y="15"/>
              </a:cxn>
              <a:cxn ang="0">
                <a:pos x="44" y="29"/>
              </a:cxn>
              <a:cxn ang="0">
                <a:pos x="43" y="29"/>
              </a:cxn>
              <a:cxn ang="0">
                <a:pos x="43" y="29"/>
              </a:cxn>
              <a:cxn ang="0">
                <a:pos x="18" y="21"/>
              </a:cxn>
              <a:cxn ang="0">
                <a:pos x="14" y="32"/>
              </a:cxn>
              <a:cxn ang="0">
                <a:pos x="17" y="36"/>
              </a:cxn>
              <a:cxn ang="0">
                <a:pos x="15" y="40"/>
              </a:cxn>
              <a:cxn ang="0">
                <a:pos x="17" y="56"/>
              </a:cxn>
              <a:cxn ang="0">
                <a:pos x="16" y="57"/>
              </a:cxn>
              <a:cxn ang="0">
                <a:pos x="16" y="58"/>
              </a:cxn>
              <a:cxn ang="0">
                <a:pos x="8" y="58"/>
              </a:cxn>
              <a:cxn ang="0">
                <a:pos x="7" y="57"/>
              </a:cxn>
              <a:cxn ang="0">
                <a:pos x="7" y="56"/>
              </a:cxn>
              <a:cxn ang="0">
                <a:pos x="9" y="40"/>
              </a:cxn>
              <a:cxn ang="0">
                <a:pos x="7" y="36"/>
              </a:cxn>
              <a:cxn ang="0">
                <a:pos x="10" y="32"/>
              </a:cxn>
              <a:cxn ang="0">
                <a:pos x="13" y="19"/>
              </a:cxn>
              <a:cxn ang="0">
                <a:pos x="1" y="15"/>
              </a:cxn>
              <a:cxn ang="0">
                <a:pos x="0" y="14"/>
              </a:cxn>
              <a:cxn ang="0">
                <a:pos x="1" y="13"/>
              </a:cxn>
              <a:cxn ang="0">
                <a:pos x="43" y="0"/>
              </a:cxn>
              <a:cxn ang="0">
                <a:pos x="43" y="0"/>
              </a:cxn>
              <a:cxn ang="0">
                <a:pos x="44" y="0"/>
              </a:cxn>
              <a:cxn ang="0">
                <a:pos x="86" y="13"/>
              </a:cxn>
              <a:cxn ang="0">
                <a:pos x="87" y="14"/>
              </a:cxn>
              <a:cxn ang="0">
                <a:pos x="86" y="15"/>
              </a:cxn>
              <a:cxn ang="0">
                <a:pos x="68" y="38"/>
              </a:cxn>
              <a:cxn ang="0">
                <a:pos x="43" y="48"/>
              </a:cxn>
              <a:cxn ang="0">
                <a:pos x="19" y="38"/>
              </a:cxn>
              <a:cxn ang="0">
                <a:pos x="20" y="26"/>
              </a:cxn>
              <a:cxn ang="0">
                <a:pos x="42" y="33"/>
              </a:cxn>
              <a:cxn ang="0">
                <a:pos x="43" y="34"/>
              </a:cxn>
              <a:cxn ang="0">
                <a:pos x="45" y="33"/>
              </a:cxn>
              <a:cxn ang="0">
                <a:pos x="67" y="26"/>
              </a:cxn>
              <a:cxn ang="0">
                <a:pos x="68" y="38"/>
              </a:cxn>
            </a:cxnLst>
            <a:rect l="0" t="0" r="r" b="b"/>
            <a:pathLst>
              <a:path w="87" h="58">
                <a:moveTo>
                  <a:pt x="86" y="15"/>
                </a:move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18" y="21"/>
                  <a:pt x="18" y="21"/>
                  <a:pt x="18" y="21"/>
                </a:cubicBezTo>
                <a:cubicBezTo>
                  <a:pt x="16" y="23"/>
                  <a:pt x="15" y="27"/>
                  <a:pt x="14" y="32"/>
                </a:cubicBezTo>
                <a:cubicBezTo>
                  <a:pt x="16" y="33"/>
                  <a:pt x="17" y="34"/>
                  <a:pt x="17" y="36"/>
                </a:cubicBezTo>
                <a:cubicBezTo>
                  <a:pt x="17" y="38"/>
                  <a:pt x="16" y="39"/>
                  <a:pt x="15" y="40"/>
                </a:cubicBezTo>
                <a:cubicBezTo>
                  <a:pt x="17" y="56"/>
                  <a:pt x="17" y="56"/>
                  <a:pt x="17" y="56"/>
                </a:cubicBezTo>
                <a:cubicBezTo>
                  <a:pt x="17" y="57"/>
                  <a:pt x="17" y="57"/>
                  <a:pt x="16" y="57"/>
                </a:cubicBezTo>
                <a:cubicBezTo>
                  <a:pt x="16" y="58"/>
                  <a:pt x="16" y="58"/>
                  <a:pt x="16" y="58"/>
                </a:cubicBezTo>
                <a:cubicBezTo>
                  <a:pt x="8" y="58"/>
                  <a:pt x="8" y="58"/>
                  <a:pt x="8" y="58"/>
                </a:cubicBezTo>
                <a:cubicBezTo>
                  <a:pt x="8" y="58"/>
                  <a:pt x="8" y="58"/>
                  <a:pt x="7" y="57"/>
                </a:cubicBezTo>
                <a:cubicBezTo>
                  <a:pt x="7" y="57"/>
                  <a:pt x="7" y="57"/>
                  <a:pt x="7" y="56"/>
                </a:cubicBezTo>
                <a:cubicBezTo>
                  <a:pt x="9" y="40"/>
                  <a:pt x="9" y="40"/>
                  <a:pt x="9" y="40"/>
                </a:cubicBezTo>
                <a:cubicBezTo>
                  <a:pt x="8" y="39"/>
                  <a:pt x="7" y="38"/>
                  <a:pt x="7" y="36"/>
                </a:cubicBezTo>
                <a:cubicBezTo>
                  <a:pt x="7" y="34"/>
                  <a:pt x="8" y="33"/>
                  <a:pt x="10" y="32"/>
                </a:cubicBezTo>
                <a:cubicBezTo>
                  <a:pt x="10" y="27"/>
                  <a:pt x="11" y="23"/>
                  <a:pt x="13" y="19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5"/>
                  <a:pt x="0" y="15"/>
                  <a:pt x="0" y="14"/>
                </a:cubicBezTo>
                <a:cubicBezTo>
                  <a:pt x="0" y="14"/>
                  <a:pt x="0" y="13"/>
                  <a:pt x="1" y="13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86" y="13"/>
                  <a:pt x="86" y="13"/>
                  <a:pt x="86" y="13"/>
                </a:cubicBezTo>
                <a:cubicBezTo>
                  <a:pt x="87" y="13"/>
                  <a:pt x="87" y="14"/>
                  <a:pt x="87" y="14"/>
                </a:cubicBezTo>
                <a:cubicBezTo>
                  <a:pt x="87" y="15"/>
                  <a:pt x="87" y="15"/>
                  <a:pt x="86" y="15"/>
                </a:cubicBezTo>
                <a:close/>
                <a:moveTo>
                  <a:pt x="68" y="38"/>
                </a:moveTo>
                <a:cubicBezTo>
                  <a:pt x="68" y="44"/>
                  <a:pt x="57" y="48"/>
                  <a:pt x="43" y="48"/>
                </a:cubicBezTo>
                <a:cubicBezTo>
                  <a:pt x="30" y="48"/>
                  <a:pt x="19" y="44"/>
                  <a:pt x="19" y="38"/>
                </a:cubicBezTo>
                <a:cubicBezTo>
                  <a:pt x="20" y="26"/>
                  <a:pt x="20" y="26"/>
                  <a:pt x="20" y="26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33"/>
                  <a:pt x="43" y="34"/>
                  <a:pt x="43" y="34"/>
                </a:cubicBezTo>
                <a:cubicBezTo>
                  <a:pt x="44" y="34"/>
                  <a:pt x="45" y="33"/>
                  <a:pt x="45" y="33"/>
                </a:cubicBezTo>
                <a:cubicBezTo>
                  <a:pt x="67" y="26"/>
                  <a:pt x="67" y="26"/>
                  <a:pt x="67" y="26"/>
                </a:cubicBezTo>
                <a:lnTo>
                  <a:pt x="68" y="38"/>
                </a:lnTo>
                <a:close/>
              </a:path>
            </a:pathLst>
          </a:custGeom>
          <a:solidFill>
            <a:sysClr val="window" lastClr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6" name="Freeform 121"/>
          <p:cNvSpPr>
            <a:spLocks noEditPoints="1"/>
          </p:cNvSpPr>
          <p:nvPr/>
        </p:nvSpPr>
        <p:spPr bwMode="auto">
          <a:xfrm>
            <a:off x="10387220" y="795685"/>
            <a:ext cx="484906" cy="557590"/>
          </a:xfrm>
          <a:custGeom>
            <a:avLst/>
            <a:gdLst/>
            <a:ahLst/>
            <a:cxnLst>
              <a:cxn ang="0">
                <a:pos x="227" y="284"/>
              </a:cxn>
              <a:cxn ang="0">
                <a:pos x="214" y="284"/>
              </a:cxn>
              <a:cxn ang="0">
                <a:pos x="264" y="189"/>
              </a:cxn>
              <a:cxn ang="0">
                <a:pos x="179" y="80"/>
              </a:cxn>
              <a:cxn ang="0">
                <a:pos x="200" y="39"/>
              </a:cxn>
              <a:cxn ang="0">
                <a:pos x="196" y="26"/>
              </a:cxn>
              <a:cxn ang="0">
                <a:pos x="145" y="2"/>
              </a:cxn>
              <a:cxn ang="0">
                <a:pos x="138" y="1"/>
              </a:cxn>
              <a:cxn ang="0">
                <a:pos x="132" y="7"/>
              </a:cxn>
              <a:cxn ang="0">
                <a:pos x="72" y="121"/>
              </a:cxn>
              <a:cxn ang="0">
                <a:pos x="80" y="147"/>
              </a:cxn>
              <a:cxn ang="0">
                <a:pos x="72" y="164"/>
              </a:cxn>
              <a:cxn ang="0">
                <a:pos x="106" y="180"/>
              </a:cxn>
              <a:cxn ang="0">
                <a:pos x="114" y="164"/>
              </a:cxn>
              <a:cxn ang="0">
                <a:pos x="114" y="164"/>
              </a:cxn>
              <a:cxn ang="0">
                <a:pos x="140" y="154"/>
              </a:cxn>
              <a:cxn ang="0">
                <a:pos x="161" y="115"/>
              </a:cxn>
              <a:cxn ang="0">
                <a:pos x="227" y="189"/>
              </a:cxn>
              <a:cxn ang="0">
                <a:pos x="151" y="265"/>
              </a:cxn>
              <a:cxn ang="0">
                <a:pos x="95" y="246"/>
              </a:cxn>
              <a:cxn ang="0">
                <a:pos x="95" y="237"/>
              </a:cxn>
              <a:cxn ang="0">
                <a:pos x="104" y="227"/>
              </a:cxn>
              <a:cxn ang="0">
                <a:pos x="151" y="227"/>
              </a:cxn>
              <a:cxn ang="0">
                <a:pos x="151" y="208"/>
              </a:cxn>
              <a:cxn ang="0">
                <a:pos x="79" y="208"/>
              </a:cxn>
              <a:cxn ang="0">
                <a:pos x="40" y="208"/>
              </a:cxn>
              <a:cxn ang="0">
                <a:pos x="0" y="208"/>
              </a:cxn>
              <a:cxn ang="0">
                <a:pos x="0" y="227"/>
              </a:cxn>
              <a:cxn ang="0">
                <a:pos x="45" y="227"/>
              </a:cxn>
              <a:cxn ang="0">
                <a:pos x="48" y="227"/>
              </a:cxn>
              <a:cxn ang="0">
                <a:pos x="57" y="237"/>
              </a:cxn>
              <a:cxn ang="0">
                <a:pos x="57" y="246"/>
              </a:cxn>
              <a:cxn ang="0">
                <a:pos x="57" y="284"/>
              </a:cxn>
              <a:cxn ang="0">
                <a:pos x="19" y="303"/>
              </a:cxn>
              <a:cxn ang="0">
                <a:pos x="264" y="303"/>
              </a:cxn>
              <a:cxn ang="0">
                <a:pos x="227" y="284"/>
              </a:cxn>
              <a:cxn ang="0">
                <a:pos x="161" y="26"/>
              </a:cxn>
              <a:cxn ang="0">
                <a:pos x="155" y="32"/>
              </a:cxn>
              <a:cxn ang="0">
                <a:pos x="111" y="114"/>
              </a:cxn>
              <a:cxn ang="0">
                <a:pos x="95" y="106"/>
              </a:cxn>
              <a:cxn ang="0">
                <a:pos x="96" y="102"/>
              </a:cxn>
              <a:cxn ang="0">
                <a:pos x="137" y="25"/>
              </a:cxn>
              <a:cxn ang="0">
                <a:pos x="143" y="20"/>
              </a:cxn>
              <a:cxn ang="0">
                <a:pos x="150" y="21"/>
              </a:cxn>
              <a:cxn ang="0">
                <a:pos x="161" y="26"/>
              </a:cxn>
              <a:cxn ang="0">
                <a:pos x="161" y="26"/>
              </a:cxn>
            </a:cxnLst>
            <a:rect l="0" t="0" r="r" b="b"/>
            <a:pathLst>
              <a:path w="264" h="303">
                <a:moveTo>
                  <a:pt x="227" y="284"/>
                </a:moveTo>
                <a:cubicBezTo>
                  <a:pt x="214" y="284"/>
                  <a:pt x="214" y="284"/>
                  <a:pt x="214" y="284"/>
                </a:cubicBezTo>
                <a:cubicBezTo>
                  <a:pt x="244" y="263"/>
                  <a:pt x="264" y="229"/>
                  <a:pt x="264" y="189"/>
                </a:cubicBezTo>
                <a:cubicBezTo>
                  <a:pt x="264" y="136"/>
                  <a:pt x="228" y="92"/>
                  <a:pt x="179" y="80"/>
                </a:cubicBezTo>
                <a:cubicBezTo>
                  <a:pt x="200" y="39"/>
                  <a:pt x="200" y="39"/>
                  <a:pt x="200" y="39"/>
                </a:cubicBezTo>
                <a:cubicBezTo>
                  <a:pt x="203" y="34"/>
                  <a:pt x="201" y="29"/>
                  <a:pt x="196" y="26"/>
                </a:cubicBezTo>
                <a:cubicBezTo>
                  <a:pt x="145" y="2"/>
                  <a:pt x="145" y="2"/>
                  <a:pt x="145" y="2"/>
                </a:cubicBezTo>
                <a:cubicBezTo>
                  <a:pt x="143" y="1"/>
                  <a:pt x="140" y="0"/>
                  <a:pt x="138" y="1"/>
                </a:cubicBezTo>
                <a:cubicBezTo>
                  <a:pt x="136" y="2"/>
                  <a:pt x="134" y="4"/>
                  <a:pt x="132" y="7"/>
                </a:cubicBezTo>
                <a:cubicBezTo>
                  <a:pt x="72" y="121"/>
                  <a:pt x="72" y="121"/>
                  <a:pt x="72" y="121"/>
                </a:cubicBezTo>
                <a:cubicBezTo>
                  <a:pt x="67" y="131"/>
                  <a:pt x="71" y="143"/>
                  <a:pt x="80" y="147"/>
                </a:cubicBezTo>
                <a:cubicBezTo>
                  <a:pt x="72" y="164"/>
                  <a:pt x="72" y="164"/>
                  <a:pt x="72" y="164"/>
                </a:cubicBezTo>
                <a:cubicBezTo>
                  <a:pt x="106" y="180"/>
                  <a:pt x="106" y="180"/>
                  <a:pt x="106" y="180"/>
                </a:cubicBezTo>
                <a:cubicBezTo>
                  <a:pt x="114" y="164"/>
                  <a:pt x="114" y="164"/>
                  <a:pt x="114" y="164"/>
                </a:cubicBezTo>
                <a:cubicBezTo>
                  <a:pt x="114" y="164"/>
                  <a:pt x="114" y="164"/>
                  <a:pt x="114" y="164"/>
                </a:cubicBezTo>
                <a:cubicBezTo>
                  <a:pt x="124" y="168"/>
                  <a:pt x="135" y="164"/>
                  <a:pt x="140" y="154"/>
                </a:cubicBezTo>
                <a:cubicBezTo>
                  <a:pt x="161" y="115"/>
                  <a:pt x="161" y="115"/>
                  <a:pt x="161" y="115"/>
                </a:cubicBezTo>
                <a:cubicBezTo>
                  <a:pt x="198" y="119"/>
                  <a:pt x="227" y="151"/>
                  <a:pt x="227" y="189"/>
                </a:cubicBezTo>
                <a:cubicBezTo>
                  <a:pt x="227" y="231"/>
                  <a:pt x="193" y="265"/>
                  <a:pt x="151" y="265"/>
                </a:cubicBezTo>
                <a:cubicBezTo>
                  <a:pt x="132" y="265"/>
                  <a:pt x="108" y="258"/>
                  <a:pt x="95" y="246"/>
                </a:cubicBezTo>
                <a:cubicBezTo>
                  <a:pt x="95" y="237"/>
                  <a:pt x="95" y="237"/>
                  <a:pt x="95" y="237"/>
                </a:cubicBezTo>
                <a:cubicBezTo>
                  <a:pt x="95" y="231"/>
                  <a:pt x="99" y="227"/>
                  <a:pt x="104" y="227"/>
                </a:cubicBezTo>
                <a:cubicBezTo>
                  <a:pt x="151" y="227"/>
                  <a:pt x="151" y="227"/>
                  <a:pt x="151" y="227"/>
                </a:cubicBezTo>
                <a:cubicBezTo>
                  <a:pt x="151" y="208"/>
                  <a:pt x="151" y="208"/>
                  <a:pt x="151" y="208"/>
                </a:cubicBezTo>
                <a:cubicBezTo>
                  <a:pt x="79" y="208"/>
                  <a:pt x="79" y="208"/>
                  <a:pt x="79" y="208"/>
                </a:cubicBezTo>
                <a:cubicBezTo>
                  <a:pt x="40" y="208"/>
                  <a:pt x="40" y="208"/>
                  <a:pt x="40" y="208"/>
                </a:cubicBezTo>
                <a:cubicBezTo>
                  <a:pt x="0" y="208"/>
                  <a:pt x="0" y="208"/>
                  <a:pt x="0" y="208"/>
                </a:cubicBezTo>
                <a:cubicBezTo>
                  <a:pt x="0" y="227"/>
                  <a:pt x="0" y="227"/>
                  <a:pt x="0" y="227"/>
                </a:cubicBezTo>
                <a:cubicBezTo>
                  <a:pt x="45" y="227"/>
                  <a:pt x="45" y="227"/>
                  <a:pt x="45" y="227"/>
                </a:cubicBezTo>
                <a:cubicBezTo>
                  <a:pt x="48" y="227"/>
                  <a:pt x="48" y="227"/>
                  <a:pt x="48" y="227"/>
                </a:cubicBezTo>
                <a:cubicBezTo>
                  <a:pt x="53" y="227"/>
                  <a:pt x="57" y="231"/>
                  <a:pt x="57" y="237"/>
                </a:cubicBezTo>
                <a:cubicBezTo>
                  <a:pt x="57" y="246"/>
                  <a:pt x="57" y="246"/>
                  <a:pt x="57" y="246"/>
                </a:cubicBezTo>
                <a:cubicBezTo>
                  <a:pt x="57" y="284"/>
                  <a:pt x="57" y="284"/>
                  <a:pt x="57" y="284"/>
                </a:cubicBezTo>
                <a:cubicBezTo>
                  <a:pt x="36" y="284"/>
                  <a:pt x="19" y="282"/>
                  <a:pt x="19" y="303"/>
                </a:cubicBezTo>
                <a:cubicBezTo>
                  <a:pt x="264" y="303"/>
                  <a:pt x="264" y="303"/>
                  <a:pt x="264" y="303"/>
                </a:cubicBezTo>
                <a:cubicBezTo>
                  <a:pt x="264" y="282"/>
                  <a:pt x="248" y="284"/>
                  <a:pt x="227" y="284"/>
                </a:cubicBezTo>
                <a:close/>
                <a:moveTo>
                  <a:pt x="161" y="26"/>
                </a:moveTo>
                <a:cubicBezTo>
                  <a:pt x="158" y="27"/>
                  <a:pt x="156" y="29"/>
                  <a:pt x="155" y="32"/>
                </a:cubicBezTo>
                <a:cubicBezTo>
                  <a:pt x="111" y="114"/>
                  <a:pt x="111" y="114"/>
                  <a:pt x="111" y="114"/>
                </a:cubicBezTo>
                <a:cubicBezTo>
                  <a:pt x="95" y="106"/>
                  <a:pt x="95" y="106"/>
                  <a:pt x="95" y="106"/>
                </a:cubicBezTo>
                <a:cubicBezTo>
                  <a:pt x="95" y="105"/>
                  <a:pt x="95" y="103"/>
                  <a:pt x="96" y="102"/>
                </a:cubicBezTo>
                <a:cubicBezTo>
                  <a:pt x="137" y="25"/>
                  <a:pt x="137" y="25"/>
                  <a:pt x="137" y="25"/>
                </a:cubicBezTo>
                <a:cubicBezTo>
                  <a:pt x="138" y="23"/>
                  <a:pt x="140" y="21"/>
                  <a:pt x="143" y="20"/>
                </a:cubicBezTo>
                <a:cubicBezTo>
                  <a:pt x="145" y="19"/>
                  <a:pt x="148" y="19"/>
                  <a:pt x="150" y="21"/>
                </a:cubicBezTo>
                <a:cubicBezTo>
                  <a:pt x="161" y="26"/>
                  <a:pt x="161" y="26"/>
                  <a:pt x="161" y="26"/>
                </a:cubicBezTo>
                <a:cubicBezTo>
                  <a:pt x="161" y="26"/>
                  <a:pt x="161" y="26"/>
                  <a:pt x="161" y="26"/>
                </a:cubicBezTo>
                <a:close/>
              </a:path>
            </a:pathLst>
          </a:custGeom>
          <a:solidFill>
            <a:sysClr val="window" lastClr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1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03822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5241569" y="874475"/>
            <a:ext cx="177984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Линейная регрессия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Lato Bold" panose="020F0502020204030203" pitchFamily="34" charset="0"/>
              <a:ea typeface="Lato Bold" panose="020F0502020204030203" pitchFamily="34" charset="0"/>
              <a:cs typeface="Lato Bold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4206181" y="316392"/>
            <a:ext cx="3850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МЕТОДОЛОГ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64972" y="5437347"/>
            <a:ext cx="4445521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just" defTabSz="1375432"/>
            <a:r>
              <a:rPr lang="ru-RU" sz="1600" b="1" dirty="0">
                <a:solidFill>
                  <a:schemeClr val="bg1">
                    <a:lumMod val="10000"/>
                  </a:schemeClr>
                </a:solidFill>
                <a:latin typeface="Century Gothic" panose="020B0502020202020204" pitchFamily="34" charset="0"/>
              </a:rPr>
              <a:t>Общее определение:</a:t>
            </a:r>
          </a:p>
          <a:p>
            <a:pPr algn="just" defTabSz="1375432"/>
            <a:endParaRPr lang="ru-RU" sz="1600" b="1" dirty="0">
              <a:solidFill>
                <a:schemeClr val="bg1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8" name="Straight Connector 24">
            <a:extLst>
              <a:ext uri="{FF2B5EF4-FFF2-40B4-BE49-F238E27FC236}">
                <a16:creationId xmlns:a16="http://schemas.microsoft.com/office/drawing/2014/main" id="{A8A0193E-C41C-46B0-9C39-BB9B95D912EA}"/>
              </a:ext>
            </a:extLst>
          </p:cNvPr>
          <p:cNvCxnSpPr>
            <a:cxnSpLocks/>
          </p:cNvCxnSpPr>
          <p:nvPr/>
        </p:nvCxnSpPr>
        <p:spPr>
          <a:xfrm flipH="1">
            <a:off x="672662" y="5275064"/>
            <a:ext cx="10975831" cy="0"/>
          </a:xfrm>
          <a:prstGeom prst="line">
            <a:avLst/>
          </a:prstGeom>
          <a:solidFill>
            <a:schemeClr val="tx1">
              <a:lumMod val="95000"/>
              <a:lumOff val="5000"/>
            </a:schemeClr>
          </a:solidFill>
          <a:ln w="31750" cap="rnd">
            <a:solidFill>
              <a:schemeClr val="tx1">
                <a:lumMod val="95000"/>
                <a:lumOff val="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878635" y="5685619"/>
            <a:ext cx="105313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Линейная регрессия - модель зависимости переменной x от одной или нескольких других переменных (факторов, регрессоров, независимых переменных) с линейной функцией зависимости. 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403" y="2378521"/>
            <a:ext cx="3833192" cy="235478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775221" y="1515129"/>
            <a:ext cx="46415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Регрессия между акциями Лукойла </a:t>
            </a:r>
            <a:r>
              <a:rPr lang="ru-RU" sz="1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(</a:t>
            </a: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зависимая </a:t>
            </a:r>
            <a:r>
              <a:rPr lang="ru-RU" sz="16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переменная) </a:t>
            </a: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и Газпрома (незав. Переменная)</a:t>
            </a:r>
            <a:endParaRPr lang="en-US" sz="16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>
            <a:off x="3712140" y="2099903"/>
            <a:ext cx="4704639" cy="0"/>
          </a:xfrm>
          <a:prstGeom prst="straightConnector1">
            <a:avLst/>
          </a:prstGeom>
          <a:ln w="9525">
            <a:solidFill>
              <a:srgbClr val="7F7F7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8601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5106664" y="874475"/>
            <a:ext cx="204966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Регрессионные модели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Lato Bold" panose="020F0502020204030203" pitchFamily="34" charset="0"/>
              <a:ea typeface="Lato Bold" panose="020F0502020204030203" pitchFamily="34" charset="0"/>
              <a:cs typeface="Lato Bold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4206181" y="316392"/>
            <a:ext cx="3850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МЕТОДОЛОГ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Прямоугольник 4"/>
              <p:cNvSpPr/>
              <p:nvPr/>
            </p:nvSpPr>
            <p:spPr>
              <a:xfrm>
                <a:off x="1002890" y="1873928"/>
                <a:ext cx="11002297" cy="63607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indent="540372">
                  <a:lnSpc>
                    <a:spcPct val="150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𝐷𝑒𝑎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𝑠𝑖𝑧𝑒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0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𝑃𝑎𝑡𝑒𝑛𝑡𝑠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𝐵𝑙𝑜𝑐𝑘𝑏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4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𝐷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5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𝑆𝑎𝑙𝑒𝑠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6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𝑄</m:t>
                          </m:r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𝑇𝑜𝑏𝑖𝑛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7</m:t>
                          </m:r>
                        </m:sub>
                      </m:sSub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𝐹𝑖𝑛</m:t>
                          </m:r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𝑒𝑣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5" name="Прямоугольник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2890" y="1873928"/>
                <a:ext cx="11002297" cy="63607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Прямоугольник 5"/>
              <p:cNvSpPr/>
              <p:nvPr/>
            </p:nvSpPr>
            <p:spPr>
              <a:xfrm>
                <a:off x="3793573" y="3187108"/>
                <a:ext cx="5042406" cy="7835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ru-RU" i="1">
                                      <a:latin typeface="Cambria Math" panose="02040503050406030204" pitchFamily="18" charset="0"/>
                                    </a:rPr>
                                    <m:t>𝐸𝐵𝐼𝑇𝐷𝐴</m:t>
                                  </m:r>
                                </m:num>
                                <m:den>
                                  <m:r>
                                    <a:rPr lang="ru-RU" i="1">
                                      <a:latin typeface="Cambria Math" panose="02040503050406030204" pitchFamily="18" charset="0"/>
                                    </a:rPr>
                                    <m:t>𝑆𝑎𝑙𝑒𝑠</m:t>
                                  </m:r>
                                </m:den>
                              </m:f>
                            </m:e>
                          </m:d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𝑎𝑓𝑡𝑒𝑟</m:t>
                          </m:r>
                          <m:r>
                            <a:rPr lang="ru-RU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ru-RU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ru-RU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ru-RU" i="1" smtClean="0">
                          <a:latin typeface="Cambria Math" panose="02040503050406030204" pitchFamily="18" charset="0"/>
                        </a:rPr>
                        <m:t>𝛽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ctrlPr>
                                <a:rPr lang="ru-RU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ru-RU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ru-RU" i="1">
                                      <a:latin typeface="Cambria Math" panose="02040503050406030204" pitchFamily="18" charset="0"/>
                                    </a:rPr>
                                    <m:t>𝐸𝐵𝐼𝑇𝐷𝐴</m:t>
                                  </m:r>
                                </m:num>
                                <m:den>
                                  <m:r>
                                    <a:rPr lang="ru-RU" i="1">
                                      <a:latin typeface="Cambria Math" panose="02040503050406030204" pitchFamily="18" charset="0"/>
                                    </a:rPr>
                                    <m:t>𝑆𝑎𝑙𝑒𝑠</m:t>
                                  </m:r>
                                </m:den>
                              </m:f>
                            </m:e>
                          </m:d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𝑏𝑒𝑓𝑜𝑟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ru-RU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6" name="Прямоугольник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3573" y="3187108"/>
                <a:ext cx="5042406" cy="78354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2001731" y="1535374"/>
            <a:ext cx="8259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Определяющая факторы, влияющие на размер сделок M&amp;A, принимает следующий вид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3589910" y="2848554"/>
            <a:ext cx="50831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Влияние сделок M&amp;A на операционную </a:t>
            </a: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эффективность: </a:t>
            </a:r>
            <a:endParaRPr lang="ru-RU" sz="16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4F05E5-66E5-451A-922E-237FDE35085A}"/>
              </a:ext>
            </a:extLst>
          </p:cNvPr>
          <p:cNvSpPr txBox="1"/>
          <p:nvPr/>
        </p:nvSpPr>
        <p:spPr>
          <a:xfrm>
            <a:off x="4061859" y="4309210"/>
            <a:ext cx="50831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Детерминанты успешности сделок </a:t>
            </a:r>
            <a:r>
              <a:rPr 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M&amp;A</a:t>
            </a:r>
            <a:r>
              <a:rPr lang="ru-RU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Agency FB" panose="020B0503020202020204" pitchFamily="34" charset="0"/>
              </a:rPr>
              <a:t>:</a:t>
            </a:r>
            <a:endParaRPr lang="en-US" sz="1600" b="1" dirty="0">
              <a:solidFill>
                <a:prstClr val="black">
                  <a:lumMod val="95000"/>
                  <a:lumOff val="5000"/>
                </a:prstClr>
              </a:solidFill>
              <a:latin typeface="Agency FB" panose="020B0503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Прямоугольник 11"/>
              <p:cNvSpPr/>
              <p:nvPr/>
            </p:nvSpPr>
            <p:spPr>
              <a:xfrm>
                <a:off x="595909" y="4647764"/>
                <a:ext cx="11071123" cy="14783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indent="540372" algn="just">
                  <a:lnSpc>
                    <a:spcPct val="150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d>
                            <m:dPr>
                              <m:ctrlPr>
                                <a:rPr lang="ru-RU" sz="1400" i="1">
                                  <a:latin typeface="Cambria Math" panose="02040503050406030204" pitchFamily="18" charset="0"/>
                                  <a:ea typeface="MS Mincho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ru-RU" sz="1400" i="1">
                                      <a:latin typeface="Cambria Math" panose="02040503050406030204" pitchFamily="18" charset="0"/>
                                      <a:ea typeface="MS Mincho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ru-RU" sz="1400" i="1">
                                      <a:latin typeface="Cambria Math" panose="02040503050406030204" pitchFamily="18" charset="0"/>
                                      <a:ea typeface="MS Mincho"/>
                                      <a:cs typeface="Times New Roman" panose="02020603050405020304" pitchFamily="18" charset="0"/>
                                    </a:rPr>
                                    <m:t>𝐸𝐵𝐼𝑇𝐷𝐴</m:t>
                                  </m:r>
                                </m:num>
                                <m:den>
                                  <m:r>
                                    <a:rPr lang="ru-RU" sz="1400" i="1">
                                      <a:latin typeface="Cambria Math" panose="02040503050406030204" pitchFamily="18" charset="0"/>
                                      <a:ea typeface="MS Mincho"/>
                                      <a:cs typeface="Times New Roman" panose="02020603050405020304" pitchFamily="18" charset="0"/>
                                    </a:rPr>
                                    <m:t>𝑆𝑎𝑙𝑒𝑠</m:t>
                                  </m:r>
                                </m:den>
                              </m:f>
                            </m:e>
                          </m:d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𝑎𝑓𝑡𝑒𝑟</m:t>
                          </m:r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, </m:t>
                          </m:r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sz="1400" i="1">
                          <a:latin typeface="Cambria Math" panose="02040503050406030204" pitchFamily="18" charset="0"/>
                          <a:ea typeface="MS Mincho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ru-RU" sz="1400" i="1">
                          <a:latin typeface="Cambria Math" panose="02040503050406030204" pitchFamily="18" charset="0"/>
                          <a:ea typeface="MS Mincho"/>
                          <a:cs typeface="Times New Roman" panose="02020603050405020304" pitchFamily="18" charset="0"/>
                        </a:rPr>
                        <m:t>𝛼</m:t>
                      </m:r>
                      <m:r>
                        <a:rPr lang="ru-RU" sz="1400" i="1">
                          <a:latin typeface="Cambria Math" panose="02040503050406030204" pitchFamily="18" charset="0"/>
                          <a:ea typeface="MS Mincho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r>
                        <a:rPr lang="ru-RU" sz="1400" i="1">
                          <a:latin typeface="Cambria Math" panose="02040503050406030204" pitchFamily="18" charset="0"/>
                          <a:ea typeface="MS Mincho"/>
                          <a:cs typeface="Times New Roman" panose="02020603050405020304" pitchFamily="18" charset="0"/>
                        </a:rPr>
                        <m:t>(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f>
                            <m:fPr>
                              <m:ctrlPr>
                                <a:rPr lang="ru-RU" sz="1400" i="1">
                                  <a:latin typeface="Cambria Math" panose="02040503050406030204" pitchFamily="18" charset="0"/>
                                  <a:ea typeface="MS Mincho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1400" i="1">
                                  <a:latin typeface="Cambria Math" panose="02040503050406030204" pitchFamily="18" charset="0"/>
                                  <a:ea typeface="MS Mincho"/>
                                  <a:cs typeface="Times New Roman" panose="02020603050405020304" pitchFamily="18" charset="0"/>
                                </a:rPr>
                                <m:t>𝐸𝐵𝐼𝑇𝐷𝐴</m:t>
                              </m:r>
                            </m:num>
                            <m:den>
                              <m:r>
                                <a:rPr lang="ru-RU" sz="1400" i="1">
                                  <a:latin typeface="Cambria Math" panose="02040503050406030204" pitchFamily="18" charset="0"/>
                                  <a:ea typeface="MS Mincho"/>
                                  <a:cs typeface="Times New Roman" panose="02020603050405020304" pitchFamily="18" charset="0"/>
                                </a:rPr>
                                <m:t>𝑆𝑎𝑙𝑒𝑠</m:t>
                              </m:r>
                            </m:den>
                          </m:f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)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𝑏𝑒𝑓𝑜𝑟𝑒</m:t>
                          </m:r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, </m:t>
                          </m:r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ru-RU" sz="1400" i="1">
                          <a:latin typeface="Cambria Math" panose="02040503050406030204" pitchFamily="18" charset="0"/>
                          <a:ea typeface="MS Mincho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𝑆𝑡𝑎𝑘𝑒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3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𝐷𝑒𝑎𝑙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𝑠𝑖𝑧𝑒</m:t>
                          </m:r>
                        </m:e>
                      </m:d>
                      <m:r>
                        <a:rPr lang="ru-RU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4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𝑆𝐴𝐿𝐸𝑆𝑡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𝑆𝐴𝐿𝐸𝑆𝑎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5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𝑃𝑎𝑟𝑡𝑛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6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𝐵𝑖𝑜𝑡𝑒𝑐h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</m:oMath>
                  </m:oMathPara>
                </a14:m>
                <a:endParaRPr lang="ru-RU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indent="540372" algn="just">
                  <a:lnSpc>
                    <a:spcPct val="150000"/>
                  </a:lnSpc>
                  <a:spcAft>
                    <a:spcPts val="10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7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𝐸𝑚𝑒𝑟𝑔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_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𝑎𝑟𝑘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8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𝐺𝑒𝑛𝑒𝑟𝑖𝑐𝑠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9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𝐸𝑂</m:t>
                          </m:r>
                        </m:e>
                      </m:d>
                      <m:r>
                        <a:rPr lang="en-US" sz="140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10</m:t>
                          </m:r>
                        </m:sub>
                      </m:sSub>
                      <m:d>
                        <m:dPr>
                          <m:ctrlPr>
                            <a:rPr lang="ru-RU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𝑟𝑖𝑠𝑖𝑠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ru-RU" sz="1400" i="1">
                              <a:latin typeface="Cambria Math" panose="02040503050406030204" pitchFamily="18" charset="0"/>
                              <a:ea typeface="MS Mincho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ru-RU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5909" y="4647764"/>
                <a:ext cx="11071123" cy="147835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4833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2" t="1" r="7407" b="37226"/>
          <a:stretch/>
        </p:blipFill>
        <p:spPr>
          <a:xfrm>
            <a:off x="3035085" y="1663582"/>
            <a:ext cx="6121830" cy="470802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5279448" y="894141"/>
            <a:ext cx="217604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Определяющие факторы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Lato Bold" panose="020F0502020204030203" pitchFamily="34" charset="0"/>
              <a:ea typeface="Lato Bold" panose="020F0502020204030203" pitchFamily="34" charset="0"/>
              <a:cs typeface="Lato Bold" panose="020F050202020403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2238573" y="370921"/>
            <a:ext cx="82782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РЕЗУЛЬТАТЫ ЭМПИРИЧЕСКОГО ИССЛЕДОВАН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891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3918337" y="894141"/>
            <a:ext cx="489826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Влияние сделок M&amp;A на операционную эффективность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2238573" y="370921"/>
            <a:ext cx="82782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РЕЗУЛЬТАТЫ ЭМПИРИЧЕСКОГО ИССЛЕДОВАН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3" r="8589" b="14650"/>
          <a:stretch/>
        </p:blipFill>
        <p:spPr>
          <a:xfrm>
            <a:off x="6276812" y="2113881"/>
            <a:ext cx="5579390" cy="326312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6" r="8118" b="13858"/>
          <a:stretch/>
        </p:blipFill>
        <p:spPr>
          <a:xfrm>
            <a:off x="264286" y="2113881"/>
            <a:ext cx="5687062" cy="326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944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8614273-96CB-4AD6-8B85-E224886C611D}"/>
              </a:ext>
            </a:extLst>
          </p:cNvPr>
          <p:cNvSpPr txBox="1"/>
          <p:nvPr/>
        </p:nvSpPr>
        <p:spPr>
          <a:xfrm>
            <a:off x="4610963" y="894141"/>
            <a:ext cx="35130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Детерминанты успешности сделок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M&amp;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01416C-01EF-4102-89B3-73D5308BF43E}"/>
              </a:ext>
            </a:extLst>
          </p:cNvPr>
          <p:cNvSpPr txBox="1"/>
          <p:nvPr/>
        </p:nvSpPr>
        <p:spPr>
          <a:xfrm>
            <a:off x="2238573" y="370921"/>
            <a:ext cx="82782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10000"/>
                  </a:schemeClr>
                </a:solidFill>
                <a:latin typeface="Tw Cen MT" panose="020B0602020104020603" pitchFamily="34" charset="0"/>
              </a:rPr>
              <a:t>РЕЗУЛЬТАТЫ ЭМПИРИЧЕСКОГО ИССЛЕДОВАНИЯ</a:t>
            </a:r>
            <a:endParaRPr lang="ru-RU" sz="2800" b="1" dirty="0">
              <a:solidFill>
                <a:schemeClr val="bg1">
                  <a:lumMod val="10000"/>
                </a:schemeClr>
              </a:solidFill>
              <a:latin typeface="Tw Cen MT" panose="020B06020201040206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37" y="1937377"/>
            <a:ext cx="5461828" cy="395547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7975" y="1937377"/>
            <a:ext cx="5264360" cy="388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86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4&quot;&gt;&lt;elem m_fUsage=&quot;2.06276906916038260675E+00&quot;&gt;&lt;m_msothmcolidx val=&quot;0&quot;/&gt;&lt;m_rgb r=&quot;E8&quot; g=&quot;1D&quot; b=&quot;30&quot;/&gt;&lt;m_nBrightness endver=&quot;26206&quot; val=&quot;0&quot;/&gt;&lt;/elem&gt;&lt;elem m_fUsage=&quot;1.99448531354961056117E+00&quot;&gt;&lt;m_msothmcolidx val=&quot;0&quot;/&gt;&lt;m_rgb r=&quot;DB&quot; g=&quot;DB&quot; b=&quot;DB&quot;/&gt;&lt;m_nBrightness endver=&quot;26206&quot; val=&quot;0&quot;/&gt;&lt;/elem&gt;&lt;elem m_fUsage=&quot;1.70405922619813465779E+00&quot;&gt;&lt;m_msothmcolidx val=&quot;0&quot;/&gt;&lt;m_rgb r=&quot;1A&quot; g=&quot;1E&quot; b=&quot;2A&quot;/&gt;&lt;m_nBrightness endver=&quot;26206&quot; val=&quot;0&quot;/&gt;&lt;/elem&gt;&lt;elem m_fUsage=&quot;1.61624486352443774706E+00&quot;&gt;&lt;m_msothmcolidx val=&quot;0&quot;/&gt;&lt;m_rgb r=&quot;A6&quot; g=&quot;A7&quot; b=&quot;AB&quot;/&gt;&lt;m_nBrightness endver=&quot;26206&quot; val=&quot;0&quot;/&gt;&lt;/elem&gt;&lt;elem m_fUsage=&quot;1.00000000000000000000E+00&quot;&gt;&lt;m_msothmcolidx val=&quot;0&quot;/&gt;&lt;m_rgb r=&quot;C0&quot; g=&quot;00&quot; b=&quot;00&quot;/&gt;&lt;m_nBrightness endver=&quot;26206&quot; val=&quot;0&quot;/&gt;&lt;/elem&gt;&lt;elem m_fUsage=&quot;5.46909430140894547989E-01&quot;&gt;&lt;m_msothmcolidx val=&quot;0&quot;/&gt;&lt;m_rgb r=&quot;F3&quot; g=&quot;F3&quot; b=&quot;F5&quot;/&gt;&lt;m_nBrightness endver=&quot;26206&quot; val=&quot;0&quot;/&gt;&lt;/elem&gt;&lt;elem m_fUsage=&quot;3.04368222313010250435E-01&quot;&gt;&lt;m_msothmcolidx val=&quot;0&quot;/&gt;&lt;m_rgb r=&quot;C4&quot; g=&quot;11&quot; b=&quot;1A&quot;/&gt;&lt;m_nBrightness endver=&quot;26206&quot; val=&quot;0&quot;/&gt;&lt;/elem&gt;&lt;elem m_fUsage=&quot;1.68819334462545322939E-01&quot;&gt;&lt;m_msothmcolidx val=&quot;0&quot;/&gt;&lt;m_rgb r=&quot;E2&quot; g=&quot;E3&quot; b=&quot;E5&quot;/&gt;&lt;m_nBrightness endver=&quot;26206&quot; val=&quot;0&quot;/&gt;&lt;/elem&gt;&lt;elem m_fUsage=&quot;1.35085171767299283552E-01&quot;&gt;&lt;m_msothmcolidx val=&quot;0&quot;/&gt;&lt;m_rgb r=&quot;7F&quot; g=&quot;81&quot; b=&quot;87&quot;/&gt;&lt;m_nBrightness endver=&quot;26206&quot; val=&quot;0&quot;/&gt;&lt;/elem&gt;&lt;elem m_fUsage=&quot;1.14180957044401551470E-01&quot;&gt;&lt;m_msothmcolidx val=&quot;0&quot;/&gt;&lt;m_rgb r=&quot;58&quot; g=&quot;58&quot; b=&quot;5A&quot;/&gt;&lt;m_nBrightness endver=&quot;26206&quot; val=&quot;0&quot;/&gt;&lt;/elem&gt;&lt;elem m_fUsage=&quot;1.02762861339961403262E-01&quot;&gt;&lt;m_msothmcolidx val=&quot;0&quot;/&gt;&lt;m_rgb r=&quot;75&quot; g=&quot;76&quot; b=&quot;7A&quot;/&gt;&lt;m_nBrightness endver=&quot;26206&quot; val=&quot;0&quot;/&gt;&lt;/elem&gt;&lt;elem m_fUsage=&quot;4.28039591353844492416E-02&quot;&gt;&lt;m_msothmcolidx val=&quot;0&quot;/&gt;&lt;m_rgb r=&quot;5F&quot; g=&quot;57&quot; b=&quot;72&quot;/&gt;&lt;m_nBrightness endver=&quot;26206&quot; val=&quot;0&quot;/&gt;&lt;/elem&gt;&lt;elem m_fUsage=&quot;3.46712068996614039551E-02&quot;&gt;&lt;m_msothmcolidx val=&quot;0&quot;/&gt;&lt;m_rgb r=&quot;56&quot; g=&quot;B4&quot; b=&quot;E5&quot;/&gt;&lt;m_nBrightness endver=&quot;26206&quot; val=&quot;0&quot;/&gt;&lt;/elem&gt;&lt;elem m_fUsage=&quot;2.50315550499324440681E-02&quot;&gt;&lt;m_msothmcolidx val=&quot;0&quot;/&gt;&lt;m_rgb r=&quot;F1&quot; g=&quot;85&quot; b=&quot;18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TbUf4N_LRJlC2Fxnc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TAzYKIKlq5lD4.jYTa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7ZC0MFgbIkWSUbAzly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eNQzxBG37CyjvQI2Q_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aVIMbR75azqhtfBMFo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WEyo3fFTFnexnQUSXF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UzE4l9gBc3UGeqn3lT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yu70H5QUt3Ty3iYbfc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5r3h5mAGK_ovqofI8g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vXOhe8C7MCILk92mM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2acypS2PYb8g6ipRUA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PfLRZhI7gAlFOKe2p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HL2JL6KTL16wntNTdX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_kfd4JBIwaZXwOPyi3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TClcdFxPLIRxim4B1b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V3uL9efMKBbdsu8u5W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_5MDjci9c3iTN_Ak2m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6baMbVhz3gs577UZLn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Sn4mW31SLOYPzUYYBj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34rk_99XCBgZ20BPw3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zEYyjnMtFPd3pAOPil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z1Vr7fiCCD.piAhPs3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l4fW_zeZmMiHdzgIL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6sY5_ieq2AU90i68p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Pud2EMQVgiIcnvBuOO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6m4P_uclO4jB8iF4S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vrym51nIGW1wpA7FzS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nmMFsWypeHYRIRxo3u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lMjEWH4hM0uuPESDD1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HY5Z_enST2O2cj9Xk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GSwYNbB_2995oAuyVR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NiJrFd1fPEicPup97A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regooggF0QgiQx.3n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v6CNTY6J.AkW_4SRl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ei0neQj07Td8PoRUhix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4000" dirty="0" smtClean="0">
            <a:solidFill>
              <a:schemeClr val="bg1">
                <a:lumMod val="90000"/>
              </a:schemeClr>
            </a:solidFill>
            <a:latin typeface="Lato Bold" panose="020F0502020204030203" pitchFamily="34" charset="0"/>
            <a:ea typeface="Lato Bold" panose="020F0502020204030203" pitchFamily="34" charset="0"/>
            <a:cs typeface="Lato Bold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The food">
      <a:dk1>
        <a:srgbClr val="4B4B4B"/>
      </a:dk1>
      <a:lt1>
        <a:srgbClr val="F3F3F3"/>
      </a:lt1>
      <a:dk2>
        <a:srgbClr val="1A2028"/>
      </a:dk2>
      <a:lt2>
        <a:srgbClr val="E7E6E6"/>
      </a:lt2>
      <a:accent1>
        <a:srgbClr val="FFC000"/>
      </a:accent1>
      <a:accent2>
        <a:srgbClr val="757070"/>
      </a:accent2>
      <a:accent3>
        <a:srgbClr val="A5A5A5"/>
      </a:accent3>
      <a:accent4>
        <a:srgbClr val="FFC000"/>
      </a:accent4>
      <a:accent5>
        <a:srgbClr val="3C3C3C"/>
      </a:accent5>
      <a:accent6>
        <a:srgbClr val="B7B7B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smtClean="0">
            <a:latin typeface="Lato Medium" panose="020F0502020204030203" pitchFamily="34" charset="0"/>
            <a:ea typeface="Lato Medium" panose="020F0502020204030203" pitchFamily="34" charset="0"/>
            <a:cs typeface="Lato Medium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Right 2">
      <a:dk1>
        <a:sysClr val="windowText" lastClr="000000"/>
      </a:dk1>
      <a:lt1>
        <a:srgbClr val="F7F7F7"/>
      </a:lt1>
      <a:dk2>
        <a:srgbClr val="44546A"/>
      </a:dk2>
      <a:lt2>
        <a:srgbClr val="E7E6E6"/>
      </a:lt2>
      <a:accent1>
        <a:srgbClr val="22B1BF"/>
      </a:accent1>
      <a:accent2>
        <a:srgbClr val="499DCC"/>
      </a:accent2>
      <a:accent3>
        <a:srgbClr val="5E85CA"/>
      </a:accent3>
      <a:accent4>
        <a:srgbClr val="6B71C5"/>
      </a:accent4>
      <a:accent5>
        <a:srgbClr val="4472C4"/>
      </a:accent5>
      <a:accent6>
        <a:srgbClr val="1C568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>
                <a:alpha val="50000"/>
              </a:schemeClr>
            </a:gs>
            <a:gs pos="100000">
              <a:schemeClr val="accent4">
                <a:lumMod val="100000"/>
                <a:alpha val="81000"/>
              </a:schemeClr>
            </a:gs>
          </a:gsLst>
          <a:lin ang="2700000" scaled="0"/>
        </a:gra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3200" smtClean="0">
            <a:solidFill>
              <a:schemeClr val="bg1"/>
            </a:solidFill>
            <a:latin typeface="Open Sans Semibold" panose="020B0706030804020204" pitchFamily="34" charset="0"/>
            <a:ea typeface="Open Sans Semibold" panose="020B0706030804020204" pitchFamily="34" charset="0"/>
            <a:cs typeface="Open Sans Semibold" panose="020B07060308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57</TotalTime>
  <Words>934</Words>
  <Application>Microsoft Office PowerPoint</Application>
  <PresentationFormat>Широкоэкранный</PresentationFormat>
  <Paragraphs>226</Paragraphs>
  <Slides>15</Slides>
  <Notes>0</Notes>
  <HiddenSlides>4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6" baseType="lpstr">
      <vt:lpstr>Agency FB</vt:lpstr>
      <vt:lpstr>Arial</vt:lpstr>
      <vt:lpstr>Calibri</vt:lpstr>
      <vt:lpstr>Calibri Light</vt:lpstr>
      <vt:lpstr>Cambria Math</vt:lpstr>
      <vt:lpstr>Century Gothic</vt:lpstr>
      <vt:lpstr>Gill Sans</vt:lpstr>
      <vt:lpstr>Lato Bold</vt:lpstr>
      <vt:lpstr>MS Mincho</vt:lpstr>
      <vt:lpstr>Open Sans Light</vt:lpstr>
      <vt:lpstr>Roboto Condensed Light</vt:lpstr>
      <vt:lpstr>Roboto Light</vt:lpstr>
      <vt:lpstr>Source Sans Pro</vt:lpstr>
      <vt:lpstr>Tahoma</vt:lpstr>
      <vt:lpstr>Times New Roman</vt:lpstr>
      <vt:lpstr>Titillium</vt:lpstr>
      <vt:lpstr>Tw Cen MT</vt:lpstr>
      <vt:lpstr>1_Тема Office</vt:lpstr>
      <vt:lpstr>Office Theme</vt:lpstr>
      <vt:lpstr>1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щекочихин</dc:creator>
  <cp:lastModifiedBy>илья щекочихин</cp:lastModifiedBy>
  <cp:revision>126</cp:revision>
  <dcterms:created xsi:type="dcterms:W3CDTF">2020-06-21T16:30:09Z</dcterms:created>
  <dcterms:modified xsi:type="dcterms:W3CDTF">2020-07-06T05:54:49Z</dcterms:modified>
</cp:coreProperties>
</file>